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Lst>
  <p:notesMasterIdLst>
    <p:notesMasterId r:id="rId18"/>
  </p:notesMasterIdLst>
  <p:sldIdLst>
    <p:sldId id="718" r:id="rId5"/>
    <p:sldId id="641" r:id="rId6"/>
    <p:sldId id="877" r:id="rId7"/>
    <p:sldId id="871" r:id="rId8"/>
    <p:sldId id="875" r:id="rId9"/>
    <p:sldId id="863" r:id="rId10"/>
    <p:sldId id="715" r:id="rId11"/>
    <p:sldId id="717" r:id="rId12"/>
    <p:sldId id="869" r:id="rId13"/>
    <p:sldId id="866" r:id="rId14"/>
    <p:sldId id="867" r:id="rId15"/>
    <p:sldId id="868" r:id="rId16"/>
    <p:sldId id="873" r:id="rId1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1BCDF"/>
    <a:srgbClr val="004D7A"/>
    <a:srgbClr val="7FA5BD"/>
    <a:srgbClr val="193560"/>
    <a:srgbClr val="000000"/>
    <a:srgbClr val="B2C9D7"/>
    <a:srgbClr val="7FD5F3"/>
    <a:srgbClr val="1079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348"/>
    <p:restoredTop sz="86514"/>
  </p:normalViewPr>
  <p:slideViewPr>
    <p:cSldViewPr snapToGrid="0">
      <p:cViewPr varScale="1">
        <p:scale>
          <a:sx n="96" d="100"/>
          <a:sy n="96" d="100"/>
        </p:scale>
        <p:origin x="176" y="33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91" d="100"/>
          <a:sy n="91" d="100"/>
        </p:scale>
        <p:origin x="3928"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AA8E6A-0F38-F846-A1A5-FE4FCFCADCD2}" type="datetimeFigureOut">
              <a:rPr lang="de-DE" smtClean="0"/>
              <a:t>08.1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17DB79-D4E9-4A40-A0C6-46B904A85AF5}" type="slidenum">
              <a:rPr lang="de-DE" smtClean="0"/>
              <a:t>‹Nr.›</a:t>
            </a:fld>
            <a:endParaRPr lang="de-DE"/>
          </a:p>
        </p:txBody>
      </p:sp>
    </p:spTree>
    <p:extLst>
      <p:ext uri="{BB962C8B-B14F-4D97-AF65-F5344CB8AC3E}">
        <p14:creationId xmlns:p14="http://schemas.microsoft.com/office/powerpoint/2010/main" val="42871396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1</a:t>
            </a:fld>
            <a:endParaRPr lang="de-DE"/>
          </a:p>
        </p:txBody>
      </p:sp>
    </p:spTree>
    <p:extLst>
      <p:ext uri="{BB962C8B-B14F-4D97-AF65-F5344CB8AC3E}">
        <p14:creationId xmlns:p14="http://schemas.microsoft.com/office/powerpoint/2010/main" val="34161161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B</a:t>
            </a:r>
          </a:p>
        </p:txBody>
      </p:sp>
      <p:sp>
        <p:nvSpPr>
          <p:cNvPr id="4" name="Foliennummernplatzhalter 3"/>
          <p:cNvSpPr>
            <a:spLocks noGrp="1"/>
          </p:cNvSpPr>
          <p:nvPr>
            <p:ph type="sldNum" sz="quarter" idx="5"/>
          </p:nvPr>
        </p:nvSpPr>
        <p:spPr/>
        <p:txBody>
          <a:bodyPr/>
          <a:lstStyle/>
          <a:p>
            <a:fld id="{2F17DB79-D4E9-4A40-A0C6-46B904A85AF5}" type="slidenum">
              <a:rPr lang="de-DE" smtClean="0"/>
              <a:t>10</a:t>
            </a:fld>
            <a:endParaRPr lang="de-DE"/>
          </a:p>
        </p:txBody>
      </p:sp>
    </p:spTree>
    <p:extLst>
      <p:ext uri="{BB962C8B-B14F-4D97-AF65-F5344CB8AC3E}">
        <p14:creationId xmlns:p14="http://schemas.microsoft.com/office/powerpoint/2010/main" val="3041028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C</a:t>
            </a:r>
          </a:p>
        </p:txBody>
      </p:sp>
      <p:sp>
        <p:nvSpPr>
          <p:cNvPr id="4" name="Foliennummernplatzhalter 3"/>
          <p:cNvSpPr>
            <a:spLocks noGrp="1"/>
          </p:cNvSpPr>
          <p:nvPr>
            <p:ph type="sldNum" sz="quarter" idx="5"/>
          </p:nvPr>
        </p:nvSpPr>
        <p:spPr/>
        <p:txBody>
          <a:bodyPr/>
          <a:lstStyle/>
          <a:p>
            <a:fld id="{2F17DB79-D4E9-4A40-A0C6-46B904A85AF5}" type="slidenum">
              <a:rPr lang="de-DE" smtClean="0"/>
              <a:t>11</a:t>
            </a:fld>
            <a:endParaRPr lang="de-DE"/>
          </a:p>
        </p:txBody>
      </p:sp>
    </p:spTree>
    <p:extLst>
      <p:ext uri="{BB962C8B-B14F-4D97-AF65-F5344CB8AC3E}">
        <p14:creationId xmlns:p14="http://schemas.microsoft.com/office/powerpoint/2010/main" val="130585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A</a:t>
            </a:r>
          </a:p>
          <a:p>
            <a:pPr algn="l"/>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12</a:t>
            </a:fld>
            <a:endParaRPr lang="de-DE"/>
          </a:p>
        </p:txBody>
      </p:sp>
    </p:spTree>
    <p:extLst>
      <p:ext uri="{BB962C8B-B14F-4D97-AF65-F5344CB8AC3E}">
        <p14:creationId xmlns:p14="http://schemas.microsoft.com/office/powerpoint/2010/main" val="3751688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2</a:t>
            </a:fld>
            <a:endParaRPr lang="de-DE"/>
          </a:p>
        </p:txBody>
      </p:sp>
    </p:spTree>
    <p:extLst>
      <p:ext uri="{BB962C8B-B14F-4D97-AF65-F5344CB8AC3E}">
        <p14:creationId xmlns:p14="http://schemas.microsoft.com/office/powerpoint/2010/main" val="19474041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3</a:t>
            </a:fld>
            <a:endParaRPr lang="de-DE"/>
          </a:p>
        </p:txBody>
      </p:sp>
    </p:spTree>
    <p:extLst>
      <p:ext uri="{BB962C8B-B14F-4D97-AF65-F5344CB8AC3E}">
        <p14:creationId xmlns:p14="http://schemas.microsoft.com/office/powerpoint/2010/main" val="4053337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4</a:t>
            </a:fld>
            <a:endParaRPr lang="de-DE"/>
          </a:p>
        </p:txBody>
      </p:sp>
    </p:spTree>
    <p:extLst>
      <p:ext uri="{BB962C8B-B14F-4D97-AF65-F5344CB8AC3E}">
        <p14:creationId xmlns:p14="http://schemas.microsoft.com/office/powerpoint/2010/main" val="2307594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5</a:t>
            </a:fld>
            <a:endParaRPr lang="de-DE"/>
          </a:p>
        </p:txBody>
      </p:sp>
    </p:spTree>
    <p:extLst>
      <p:ext uri="{BB962C8B-B14F-4D97-AF65-F5344CB8AC3E}">
        <p14:creationId xmlns:p14="http://schemas.microsoft.com/office/powerpoint/2010/main" val="2950905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de-DE" sz="2800" b="0" i="0" u="none" strike="noStrike" dirty="0">
              <a:solidFill>
                <a:srgbClr val="000000"/>
              </a:solidFill>
              <a:effectLst/>
            </a:endParaRPr>
          </a:p>
        </p:txBody>
      </p:sp>
      <p:sp>
        <p:nvSpPr>
          <p:cNvPr id="4" name="Foliennummernplatzhalter 3"/>
          <p:cNvSpPr>
            <a:spLocks noGrp="1"/>
          </p:cNvSpPr>
          <p:nvPr>
            <p:ph type="sldNum" sz="quarter" idx="5"/>
          </p:nvPr>
        </p:nvSpPr>
        <p:spPr/>
        <p:txBody>
          <a:bodyPr/>
          <a:lstStyle/>
          <a:p>
            <a:fld id="{2F17DB79-D4E9-4A40-A0C6-46B904A85AF5}" type="slidenum">
              <a:rPr lang="de-DE" smtClean="0"/>
              <a:t>6</a:t>
            </a:fld>
            <a:endParaRPr lang="de-DE"/>
          </a:p>
        </p:txBody>
      </p:sp>
    </p:spTree>
    <p:extLst>
      <p:ext uri="{BB962C8B-B14F-4D97-AF65-F5344CB8AC3E}">
        <p14:creationId xmlns:p14="http://schemas.microsoft.com/office/powerpoint/2010/main" val="926418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2F17DB79-D4E9-4A40-A0C6-46B904A85AF5}" type="slidenum">
              <a:rPr lang="de-DE" smtClean="0"/>
              <a:t>7</a:t>
            </a:fld>
            <a:endParaRPr lang="de-DE"/>
          </a:p>
        </p:txBody>
      </p:sp>
    </p:spTree>
    <p:extLst>
      <p:ext uri="{BB962C8B-B14F-4D97-AF65-F5344CB8AC3E}">
        <p14:creationId xmlns:p14="http://schemas.microsoft.com/office/powerpoint/2010/main" val="1284541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a:t>
            </a:r>
          </a:p>
        </p:txBody>
      </p:sp>
      <p:sp>
        <p:nvSpPr>
          <p:cNvPr id="4" name="Foliennummernplatzhalter 3"/>
          <p:cNvSpPr>
            <a:spLocks noGrp="1"/>
          </p:cNvSpPr>
          <p:nvPr>
            <p:ph type="sldNum" sz="quarter" idx="5"/>
          </p:nvPr>
        </p:nvSpPr>
        <p:spPr/>
        <p:txBody>
          <a:bodyPr/>
          <a:lstStyle/>
          <a:p>
            <a:fld id="{2F17DB79-D4E9-4A40-A0C6-46B904A85AF5}" type="slidenum">
              <a:rPr lang="de-DE" smtClean="0"/>
              <a:t>8</a:t>
            </a:fld>
            <a:endParaRPr lang="de-DE"/>
          </a:p>
        </p:txBody>
      </p:sp>
    </p:spTree>
    <p:extLst>
      <p:ext uri="{BB962C8B-B14F-4D97-AF65-F5344CB8AC3E}">
        <p14:creationId xmlns:p14="http://schemas.microsoft.com/office/powerpoint/2010/main" val="4104769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C</a:t>
            </a:r>
          </a:p>
        </p:txBody>
      </p:sp>
      <p:sp>
        <p:nvSpPr>
          <p:cNvPr id="4" name="Foliennummernplatzhalter 3"/>
          <p:cNvSpPr>
            <a:spLocks noGrp="1"/>
          </p:cNvSpPr>
          <p:nvPr>
            <p:ph type="sldNum" sz="quarter" idx="5"/>
          </p:nvPr>
        </p:nvSpPr>
        <p:spPr/>
        <p:txBody>
          <a:bodyPr/>
          <a:lstStyle/>
          <a:p>
            <a:fld id="{2F17DB79-D4E9-4A40-A0C6-46B904A85AF5}" type="slidenum">
              <a:rPr lang="de-DE" smtClean="0"/>
              <a:t>9</a:t>
            </a:fld>
            <a:endParaRPr lang="de-DE"/>
          </a:p>
        </p:txBody>
      </p:sp>
    </p:spTree>
    <p:extLst>
      <p:ext uri="{BB962C8B-B14F-4D97-AF65-F5344CB8AC3E}">
        <p14:creationId xmlns:p14="http://schemas.microsoft.com/office/powerpoint/2010/main" val="26015661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gradFill>
          <a:gsLst>
            <a:gs pos="0">
              <a:srgbClr val="1179C5"/>
            </a:gs>
            <a:gs pos="50000">
              <a:srgbClr val="004D7A"/>
            </a:gs>
            <a:gs pos="100000">
              <a:srgbClr val="001024"/>
            </a:gs>
          </a:gsLst>
          <a:lin ang="5400000" scaled="0"/>
        </a:gra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79999" y="1979845"/>
            <a:ext cx="11232000" cy="1410643"/>
          </a:xfrm>
        </p:spPr>
        <p:txBody>
          <a:bodyPr/>
          <a:lstStyle>
            <a:lvl1pPr>
              <a:lnSpc>
                <a:spcPct val="100000"/>
              </a:lnSpc>
              <a:defRPr sz="4800" b="1">
                <a:solidFill>
                  <a:schemeClr val="bg1"/>
                </a:solidFill>
              </a:defRPr>
            </a:lvl1pPr>
          </a:lstStyle>
          <a:p>
            <a:r>
              <a:rPr lang="en-US"/>
              <a:t>Click to edit Master title style</a:t>
            </a:r>
            <a:endParaRPr lang="de-DE" dirty="0"/>
          </a:p>
        </p:txBody>
      </p:sp>
      <p:sp>
        <p:nvSpPr>
          <p:cNvPr id="3" name="Untertitel 2"/>
          <p:cNvSpPr>
            <a:spLocks noGrp="1"/>
          </p:cNvSpPr>
          <p:nvPr>
            <p:ph type="subTitle" idx="1"/>
          </p:nvPr>
        </p:nvSpPr>
        <p:spPr>
          <a:xfrm>
            <a:off x="1" y="-460"/>
            <a:ext cx="48000" cy="48000"/>
          </a:xfrm>
        </p:spPr>
        <p:txBody>
          <a:bodyPr/>
          <a:lstStyle>
            <a:lvl1pPr marL="0" indent="0" algn="l">
              <a:lnSpc>
                <a:spcPct val="100000"/>
              </a:lnSpc>
              <a:spcBef>
                <a:spcPts val="0"/>
              </a:spcBef>
              <a:buNone/>
              <a:defRPr sz="133">
                <a:solidFill>
                  <a:schemeClr val="accent4"/>
                </a:solidFill>
              </a:defRPr>
            </a:lvl1pPr>
            <a:lvl2pPr marL="609454" indent="0" algn="ctr">
              <a:buNone/>
              <a:defRPr>
                <a:solidFill>
                  <a:schemeClr val="tx1">
                    <a:tint val="75000"/>
                  </a:schemeClr>
                </a:solidFill>
              </a:defRPr>
            </a:lvl2pPr>
            <a:lvl3pPr marL="1218910" indent="0" algn="ctr">
              <a:buNone/>
              <a:defRPr>
                <a:solidFill>
                  <a:schemeClr val="tx1">
                    <a:tint val="75000"/>
                  </a:schemeClr>
                </a:solidFill>
              </a:defRPr>
            </a:lvl3pPr>
            <a:lvl4pPr marL="1828362" indent="0" algn="ctr">
              <a:buNone/>
              <a:defRPr>
                <a:solidFill>
                  <a:schemeClr val="tx1">
                    <a:tint val="75000"/>
                  </a:schemeClr>
                </a:solidFill>
              </a:defRPr>
            </a:lvl4pPr>
            <a:lvl5pPr marL="2437818" indent="0" algn="ctr">
              <a:buNone/>
              <a:defRPr>
                <a:solidFill>
                  <a:schemeClr val="tx1">
                    <a:tint val="75000"/>
                  </a:schemeClr>
                </a:solidFill>
              </a:defRPr>
            </a:lvl5pPr>
            <a:lvl6pPr marL="3047272" indent="0" algn="ctr">
              <a:buNone/>
              <a:defRPr>
                <a:solidFill>
                  <a:schemeClr val="tx1">
                    <a:tint val="75000"/>
                  </a:schemeClr>
                </a:solidFill>
              </a:defRPr>
            </a:lvl6pPr>
            <a:lvl7pPr marL="3656727" indent="0" algn="ctr">
              <a:buNone/>
              <a:defRPr>
                <a:solidFill>
                  <a:schemeClr val="tx1">
                    <a:tint val="75000"/>
                  </a:schemeClr>
                </a:solidFill>
              </a:defRPr>
            </a:lvl7pPr>
            <a:lvl8pPr marL="4266181" indent="0" algn="ctr">
              <a:buNone/>
              <a:defRPr>
                <a:solidFill>
                  <a:schemeClr val="tx1">
                    <a:tint val="75000"/>
                  </a:schemeClr>
                </a:solidFill>
              </a:defRPr>
            </a:lvl8pPr>
            <a:lvl9pPr marL="4875635" indent="0" algn="ctr">
              <a:buNone/>
              <a:defRPr>
                <a:solidFill>
                  <a:schemeClr val="tx1">
                    <a:tint val="75000"/>
                  </a:schemeClr>
                </a:solidFill>
              </a:defRPr>
            </a:lvl9pPr>
          </a:lstStyle>
          <a:p>
            <a:r>
              <a:rPr lang="en-US"/>
              <a:t>Click to edit Master subtitle style</a:t>
            </a:r>
            <a:endParaRPr lang="de-DE" dirty="0"/>
          </a:p>
        </p:txBody>
      </p:sp>
      <p:sp>
        <p:nvSpPr>
          <p:cNvPr id="4" name="Fußzeilenplatzhalter 3"/>
          <p:cNvSpPr>
            <a:spLocks noGrp="1"/>
          </p:cNvSpPr>
          <p:nvPr>
            <p:ph type="ftr" sz="quarter" idx="10"/>
          </p:nvPr>
        </p:nvSpPr>
        <p:spPr>
          <a:xfrm>
            <a:off x="479999" y="3639909"/>
            <a:ext cx="11232000" cy="33600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rtlCol="0">
            <a:noAutofit/>
          </a:bodyPr>
          <a:lstStyle>
            <a:lvl1pPr>
              <a:defRPr lang="de-DE" sz="1600" smtClean="0">
                <a:solidFill>
                  <a:schemeClr val="bg1"/>
                </a:solidFill>
              </a:defRPr>
            </a:lvl1pPr>
          </a:lstStyle>
          <a:p>
            <a:endParaRPr lang="de-DE" dirty="0"/>
          </a:p>
        </p:txBody>
      </p:sp>
      <p:pic>
        <p:nvPicPr>
          <p:cNvPr id="7" name="Grafik 6" descr="Ein Bild, das Text, Schrift, Screenshot, Logo enthält.&#10;&#10;Automatisch generierte Beschreibung">
            <a:extLst>
              <a:ext uri="{FF2B5EF4-FFF2-40B4-BE49-F238E27FC236}">
                <a16:creationId xmlns:a16="http://schemas.microsoft.com/office/drawing/2014/main" id="{C65329EF-9A00-8866-38B4-241427F01419}"/>
              </a:ext>
            </a:extLst>
          </p:cNvPr>
          <p:cNvPicPr>
            <a:picLocks noChangeAspect="1"/>
          </p:cNvPicPr>
          <p:nvPr userDrawn="1"/>
        </p:nvPicPr>
        <p:blipFill>
          <a:blip r:embed="rId2">
            <a:clrChange>
              <a:clrFrom>
                <a:srgbClr val="193660"/>
              </a:clrFrom>
              <a:clrTo>
                <a:srgbClr val="193660">
                  <a:alpha val="0"/>
                </a:srgbClr>
              </a:clrTo>
            </a:clrChange>
            <a:alphaModFix/>
          </a:blip>
          <a:stretch>
            <a:fillRect/>
          </a:stretch>
        </p:blipFill>
        <p:spPr>
          <a:xfrm>
            <a:off x="225962" y="5237968"/>
            <a:ext cx="2828830" cy="1410643"/>
          </a:xfrm>
          <a:prstGeom prst="rect">
            <a:avLst/>
          </a:prstGeom>
        </p:spPr>
      </p:pic>
    </p:spTree>
    <p:extLst>
      <p:ext uri="{BB962C8B-B14F-4D97-AF65-F5344CB8AC3E}">
        <p14:creationId xmlns:p14="http://schemas.microsoft.com/office/powerpoint/2010/main" val="4215666525"/>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8" name="Bildplatzhalter 7"/>
          <p:cNvSpPr>
            <a:spLocks noGrp="1"/>
          </p:cNvSpPr>
          <p:nvPr>
            <p:ph type="pic" sz="quarter" idx="12"/>
          </p:nvPr>
        </p:nvSpPr>
        <p:spPr>
          <a:xfrm>
            <a:off x="0" y="1152001"/>
            <a:ext cx="12192000" cy="5040000"/>
          </a:xfrm>
          <a:solidFill>
            <a:schemeClr val="bg2"/>
          </a:solidFill>
        </p:spPr>
        <p:txBody>
          <a:bodyPr vert="horz" lIns="0" tIns="0" rIns="0" bIns="0" rtlCol="0">
            <a:noAutofit/>
          </a:bodyPr>
          <a:lstStyle>
            <a:lvl1pPr>
              <a:defRPr lang="de-DE"/>
            </a:lvl1pPr>
          </a:lstStyle>
          <a:p>
            <a:pPr lvl="0"/>
            <a:r>
              <a:rPr lang="en-US"/>
              <a:t>Click icon to add picture</a:t>
            </a:r>
            <a:endParaRPr lang="de-DE"/>
          </a:p>
        </p:txBody>
      </p:sp>
      <p:sp>
        <p:nvSpPr>
          <p:cNvPr id="11" name="Textfeld 13"/>
          <p:cNvSpPr txBox="1">
            <a:spLocks noChangeArrowheads="1"/>
          </p:cNvSpPr>
          <p:nvPr userDrawn="1"/>
        </p:nvSpPr>
        <p:spPr bwMode="auto">
          <a:xfrm>
            <a:off x="-2918497" y="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Bearbeitungshinweis:</a:t>
            </a:r>
          </a:p>
          <a:p>
            <a:pPr algn="l" eaLnBrk="1" hangingPunct="1">
              <a:spcBef>
                <a:spcPct val="0"/>
              </a:spcBef>
            </a:pPr>
            <a:r>
              <a:rPr lang="de-DE" sz="1067" dirty="0">
                <a:solidFill>
                  <a:schemeClr val="bg1"/>
                </a:solidFill>
                <a:cs typeface="Tahoma" charset="0"/>
              </a:rPr>
              <a:t>Klicken Sie auf das Symbol im Platzhalter und wählen Sie ein Bild aus.</a:t>
            </a:r>
          </a:p>
          <a:p>
            <a:pPr algn="l" eaLnBrk="1" hangingPunct="1">
              <a:spcBef>
                <a:spcPct val="0"/>
              </a:spcBef>
            </a:pPr>
            <a:r>
              <a:rPr lang="de-DE" sz="1067" dirty="0">
                <a:solidFill>
                  <a:schemeClr val="bg1"/>
                </a:solidFill>
                <a:cs typeface="Tahoma" charset="0"/>
              </a:rPr>
              <a:t>Sofern das Bild nicht der Größe des Bildplatzhalters entspricht und somit nicht richtig zugeschnitten ist, gehen Sie bitte wie folgt vor:</a:t>
            </a:r>
          </a:p>
          <a:p>
            <a:pPr algn="l" eaLnBrk="1" hangingPunct="1">
              <a:spcBef>
                <a:spcPct val="0"/>
              </a:spcBef>
              <a:buFont typeface="Tahoma" charset="0"/>
              <a:buNone/>
            </a:pPr>
            <a:r>
              <a:rPr lang="de-DE" sz="1067" dirty="0">
                <a:solidFill>
                  <a:schemeClr val="bg1"/>
                </a:solidFill>
                <a:cs typeface="Tahoma" charset="0"/>
              </a:rPr>
              <a:t>Gehen Sie mit der Maus auf das Bild -</a:t>
            </a:r>
          </a:p>
          <a:p>
            <a:pPr algn="l" eaLnBrk="1" hangingPunct="1">
              <a:spcBef>
                <a:spcPct val="0"/>
              </a:spcBef>
              <a:buFont typeface="Tahoma" charset="0"/>
              <a:buNone/>
            </a:pPr>
            <a:r>
              <a:rPr lang="de-DE" sz="1067" dirty="0">
                <a:solidFill>
                  <a:schemeClr val="bg1"/>
                </a:solidFill>
                <a:cs typeface="Tahoma" charset="0"/>
              </a:rPr>
              <a:t>Klicken Sie auf die rechte Maustaste und wählen Sie „Grafik formatieren“ aus.</a:t>
            </a:r>
          </a:p>
          <a:p>
            <a:pPr algn="l" eaLnBrk="1" hangingPunct="1">
              <a:spcBef>
                <a:spcPct val="0"/>
              </a:spcBef>
              <a:buFont typeface="Tahoma" charset="0"/>
              <a:buNone/>
            </a:pPr>
            <a:r>
              <a:rPr lang="de-DE" sz="1067" dirty="0">
                <a:solidFill>
                  <a:schemeClr val="bg1"/>
                </a:solidFill>
                <a:cs typeface="Tahoma" charset="0"/>
              </a:rPr>
              <a:t>Wählen Sie dann „Zuschneiden“. Unter „Bildposition“ – X-Offset und Y-Offset können Sie nun den gewünschten Ausschnitt bestimmen.</a:t>
            </a:r>
          </a:p>
          <a:p>
            <a:pPr algn="l" eaLnBrk="1" hangingPunct="1">
              <a:spcBef>
                <a:spcPct val="0"/>
              </a:spcBef>
              <a:buFont typeface="Tahoma" charset="0"/>
              <a:buNone/>
            </a:pPr>
            <a:r>
              <a:rPr lang="de-DE" sz="1067" dirty="0">
                <a:solidFill>
                  <a:schemeClr val="bg1"/>
                </a:solidFill>
                <a:cs typeface="Tahoma" charset="0"/>
              </a:rPr>
              <a:t>Mit positiven Werten wird das Bild nach unten bzw. nach rechts verschoben. Mit negativen Werten hingegen nach oben bzw. links.</a:t>
            </a:r>
            <a:endParaRPr lang="en-US" sz="1200" dirty="0">
              <a:solidFill>
                <a:schemeClr val="bg1"/>
              </a:solidFill>
              <a:cs typeface="Tahoma" charset="0"/>
            </a:endParaRPr>
          </a:p>
        </p:txBody>
      </p:sp>
      <p:sp>
        <p:nvSpPr>
          <p:cNvPr id="12" name="Textfeld 14"/>
          <p:cNvSpPr txBox="1">
            <a:spLocks noChangeArrowheads="1"/>
          </p:cNvSpPr>
          <p:nvPr userDrawn="1"/>
        </p:nvSpPr>
        <p:spPr bwMode="auto">
          <a:xfrm>
            <a:off x="-2918497" y="320526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Handling </a:t>
            </a:r>
            <a:r>
              <a:rPr lang="de-DE" sz="1333" b="1" dirty="0" err="1">
                <a:solidFill>
                  <a:schemeClr val="bg1"/>
                </a:solidFill>
                <a:cs typeface="Tahoma" charset="0"/>
              </a:rPr>
              <a:t>instructions</a:t>
            </a:r>
            <a:r>
              <a:rPr lang="de-DE" sz="1333" b="1" dirty="0">
                <a:solidFill>
                  <a:schemeClr val="bg1"/>
                </a:solidFill>
                <a:cs typeface="Tahoma" charset="0"/>
              </a:rPr>
              <a:t>:</a:t>
            </a:r>
          </a:p>
          <a:p>
            <a:pPr algn="l" eaLnBrk="1" hangingPunct="1">
              <a:spcBef>
                <a:spcPct val="0"/>
              </a:spcBef>
            </a:pPr>
            <a:r>
              <a:rPr lang="en-US" sz="1067" dirty="0">
                <a:solidFill>
                  <a:schemeClr val="bg1"/>
                </a:solidFill>
                <a:cs typeface="Tahoma" charset="0"/>
              </a:rPr>
              <a:t>Click on the symbol in the place holder and select an image. If the image does not have the same size as the place holder, please follow this instruction:</a:t>
            </a:r>
          </a:p>
          <a:p>
            <a:pPr algn="l" eaLnBrk="1" hangingPunct="1">
              <a:spcBef>
                <a:spcPct val="0"/>
              </a:spcBef>
            </a:pPr>
            <a:r>
              <a:rPr lang="en-US" sz="1067" dirty="0">
                <a:solidFill>
                  <a:schemeClr val="bg1"/>
                </a:solidFill>
                <a:cs typeface="Tahoma" charset="0"/>
              </a:rPr>
              <a:t>Move the computer mouse on the picture – right-click and choose “Format Picture”. Then select “Crop”. Edit “Picture Position” – Offset X and Offset Y to determine the appropriate section. </a:t>
            </a:r>
          </a:p>
          <a:p>
            <a:pPr algn="l" eaLnBrk="1" hangingPunct="1">
              <a:spcBef>
                <a:spcPct val="0"/>
              </a:spcBef>
            </a:pPr>
            <a:r>
              <a:rPr lang="en-US" sz="1067" dirty="0">
                <a:solidFill>
                  <a:schemeClr val="bg1"/>
                </a:solidFill>
                <a:cs typeface="Tahoma" charset="0"/>
              </a:rPr>
              <a:t>With positive values you can move the picture down and to the right, with negative values up and to the left.</a:t>
            </a:r>
          </a:p>
        </p:txBody>
      </p:sp>
    </p:spTree>
    <p:extLst>
      <p:ext uri="{BB962C8B-B14F-4D97-AF65-F5344CB8AC3E}">
        <p14:creationId xmlns:p14="http://schemas.microsoft.com/office/powerpoint/2010/main" val="1715104668"/>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Tree>
    <p:extLst>
      <p:ext uri="{BB962C8B-B14F-4D97-AF65-F5344CB8AC3E}">
        <p14:creationId xmlns:p14="http://schemas.microsoft.com/office/powerpoint/2010/main" val="1125090092"/>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Tree>
    <p:extLst>
      <p:ext uri="{BB962C8B-B14F-4D97-AF65-F5344CB8AC3E}">
        <p14:creationId xmlns:p14="http://schemas.microsoft.com/office/powerpoint/2010/main" val="200262438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indiviual)">
    <p:bg>
      <p:bgPr>
        <a:gradFill>
          <a:gsLst>
            <a:gs pos="0">
              <a:srgbClr val="1179C5"/>
            </a:gs>
            <a:gs pos="50000">
              <a:srgbClr val="004D7A"/>
            </a:gs>
            <a:gs pos="100000">
              <a:srgbClr val="001024"/>
            </a:gs>
          </a:gsLst>
          <a:lin ang="5400000" scaled="0"/>
        </a:gradFill>
        <a:effectLst/>
      </p:bgPr>
    </p:bg>
    <p:spTree>
      <p:nvGrpSpPr>
        <p:cNvPr id="1" name=""/>
        <p:cNvGrpSpPr/>
        <p:nvPr/>
      </p:nvGrpSpPr>
      <p:grpSpPr>
        <a:xfrm>
          <a:off x="0" y="0"/>
          <a:ext cx="0" cy="0"/>
          <a:chOff x="0" y="0"/>
          <a:chExt cx="0" cy="0"/>
        </a:xfrm>
      </p:grpSpPr>
      <p:grpSp>
        <p:nvGrpSpPr>
          <p:cNvPr id="2" name="Gruppieren 1"/>
          <p:cNvGrpSpPr/>
          <p:nvPr/>
        </p:nvGrpSpPr>
        <p:grpSpPr>
          <a:xfrm>
            <a:off x="480003" y="6296408"/>
            <a:ext cx="11232000" cy="359886"/>
            <a:chOff x="360001" y="4722299"/>
            <a:chExt cx="8424000" cy="269914"/>
          </a:xfrm>
        </p:grpSpPr>
        <p:sp>
          <p:nvSpPr>
            <p:cNvPr id="14" name="Text Box 10"/>
            <p:cNvSpPr txBox="1">
              <a:spLocks noChangeArrowheads="1"/>
            </p:cNvSpPr>
            <p:nvPr userDrawn="1"/>
          </p:nvSpPr>
          <p:spPr bwMode="black">
            <a:xfrm>
              <a:off x="7607032" y="4897091"/>
              <a:ext cx="900000" cy="9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bg1"/>
                  </a:solidFill>
                  <a:latin typeface="Tahoma" panose="020B0604030504040204" pitchFamily="34" charset="0"/>
                </a:rPr>
                <a:t>© AMUSA GmbH</a:t>
              </a:r>
            </a:p>
          </p:txBody>
        </p:sp>
        <p:cxnSp>
          <p:nvCxnSpPr>
            <p:cNvPr id="15" name="Gerade Verbindung 14"/>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sp>
        <p:nvSpPr>
          <p:cNvPr id="23" name="Foliennummernplatzhalter 3"/>
          <p:cNvSpPr>
            <a:spLocks noGrp="1"/>
          </p:cNvSpPr>
          <p:nvPr>
            <p:ph type="sldNum" sz="quarter" idx="11"/>
          </p:nvPr>
        </p:nvSpPr>
        <p:spPr>
          <a:xfrm>
            <a:off x="11472001" y="6520869"/>
            <a:ext cx="240000" cy="144000"/>
          </a:xfrm>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dirty="0"/>
          </a:p>
        </p:txBody>
      </p:sp>
      <p:sp>
        <p:nvSpPr>
          <p:cNvPr id="24" name="Textplatzhalter 13"/>
          <p:cNvSpPr>
            <a:spLocks noGrp="1"/>
          </p:cNvSpPr>
          <p:nvPr>
            <p:ph type="body" sz="quarter" idx="12"/>
          </p:nvPr>
        </p:nvSpPr>
        <p:spPr>
          <a:xfrm>
            <a:off x="480001" y="432856"/>
            <a:ext cx="1706153" cy="1410643"/>
          </a:xfrm>
        </p:spPr>
        <p:txBody>
          <a:bodyPr wrap="none" lIns="0" tIns="0" rIns="0" bIns="0">
            <a:noAutofit/>
          </a:bodyPr>
          <a:lstStyle>
            <a:lvl1pPr>
              <a:defRPr lang="de-DE" sz="9600" b="1" kern="0" dirty="0">
                <a:solidFill>
                  <a:schemeClr val="tx2"/>
                </a:solidFill>
              </a:defRPr>
            </a:lvl1pPr>
          </a:lstStyle>
          <a:p>
            <a:pPr lvl="0"/>
            <a:r>
              <a:rPr lang="en-US"/>
              <a:t>Edit Master text styles</a:t>
            </a:r>
          </a:p>
        </p:txBody>
      </p:sp>
      <p:sp>
        <p:nvSpPr>
          <p:cNvPr id="25" name="Textplatzhalter 12"/>
          <p:cNvSpPr>
            <a:spLocks noGrp="1"/>
          </p:cNvSpPr>
          <p:nvPr>
            <p:ph type="body" sz="quarter" idx="13"/>
          </p:nvPr>
        </p:nvSpPr>
        <p:spPr>
          <a:xfrm>
            <a:off x="479999" y="1784790"/>
            <a:ext cx="7440000" cy="615553"/>
          </a:xfrm>
          <a:noFill/>
        </p:spPr>
        <p:txBody>
          <a:bodyPr wrap="none" lIns="0" tIns="0" rIns="0" bIns="0" rtlCol="0">
            <a:noAutofit/>
          </a:bodyPr>
          <a:lstStyle>
            <a:lvl1pPr>
              <a:defRPr lang="de-DE" sz="4000" b="1" kern="1200" dirty="0">
                <a:solidFill>
                  <a:schemeClr val="bg1"/>
                </a:solidFill>
                <a:latin typeface="Tahoma" charset="0"/>
                <a:ea typeface="Tahoma" charset="0"/>
                <a:cs typeface="Tahoma" charset="0"/>
              </a:defRPr>
            </a:lvl1pPr>
          </a:lstStyle>
          <a:p>
            <a:pPr lvl="0">
              <a:spcBef>
                <a:spcPct val="0"/>
              </a:spcBef>
            </a:pPr>
            <a:r>
              <a:rPr lang="en-US"/>
              <a:t>Edit Master text styles</a:t>
            </a:r>
          </a:p>
        </p:txBody>
      </p:sp>
      <p:pic>
        <p:nvPicPr>
          <p:cNvPr id="5" name="Grafik 4" descr="Ein Bild, das Text, Schrift, Screenshot, Logo enthält.&#10;&#10;Automatisch generierte Beschreibung">
            <a:extLst>
              <a:ext uri="{FF2B5EF4-FFF2-40B4-BE49-F238E27FC236}">
                <a16:creationId xmlns:a16="http://schemas.microsoft.com/office/drawing/2014/main" id="{FEF586C9-B01E-1B27-CA8C-B1346A86FFDF}"/>
              </a:ext>
            </a:extLst>
          </p:cNvPr>
          <p:cNvPicPr>
            <a:picLocks noChangeAspect="1"/>
          </p:cNvPicPr>
          <p:nvPr userDrawn="1"/>
        </p:nvPicPr>
        <p:blipFill>
          <a:blip r:embed="rId2">
            <a:clrChange>
              <a:clrFrom>
                <a:srgbClr val="193660"/>
              </a:clrFrom>
              <a:clrTo>
                <a:srgbClr val="193660">
                  <a:alpha val="0"/>
                </a:srgbClr>
              </a:clrTo>
            </a:clrChange>
          </a:blip>
          <a:stretch>
            <a:fillRect/>
          </a:stretch>
        </p:blipFill>
        <p:spPr>
          <a:xfrm>
            <a:off x="43464" y="6201901"/>
            <a:ext cx="1279281" cy="637935"/>
          </a:xfrm>
          <a:prstGeom prst="rect">
            <a:avLst/>
          </a:prstGeom>
        </p:spPr>
      </p:pic>
    </p:spTree>
    <p:extLst>
      <p:ext uri="{BB962C8B-B14F-4D97-AF65-F5344CB8AC3E}">
        <p14:creationId xmlns:p14="http://schemas.microsoft.com/office/powerpoint/2010/main" val="150807769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und Abschlussfolie">
    <p:bg>
      <p:bgPr>
        <a:gradFill>
          <a:gsLst>
            <a:gs pos="0">
              <a:srgbClr val="1179C5"/>
            </a:gs>
            <a:gs pos="50000">
              <a:srgbClr val="004D7A"/>
            </a:gs>
            <a:gs pos="100000">
              <a:srgbClr val="001024"/>
            </a:gs>
          </a:gsLst>
          <a:lin ang="5400000" scaled="0"/>
        </a:gradFill>
        <a:effectLst/>
      </p:bgPr>
    </p:bg>
    <p:spTree>
      <p:nvGrpSpPr>
        <p:cNvPr id="1" name=""/>
        <p:cNvGrpSpPr/>
        <p:nvPr/>
      </p:nvGrpSpPr>
      <p:grpSpPr>
        <a:xfrm>
          <a:off x="0" y="0"/>
          <a:ext cx="0" cy="0"/>
          <a:chOff x="0" y="0"/>
          <a:chExt cx="0" cy="0"/>
        </a:xfrm>
      </p:grpSpPr>
      <p:sp>
        <p:nvSpPr>
          <p:cNvPr id="18" name="Textplatzhalter 12"/>
          <p:cNvSpPr>
            <a:spLocks noGrp="1"/>
          </p:cNvSpPr>
          <p:nvPr>
            <p:ph type="body" sz="quarter" idx="12"/>
          </p:nvPr>
        </p:nvSpPr>
        <p:spPr>
          <a:xfrm>
            <a:off x="480001" y="584200"/>
            <a:ext cx="8942119" cy="1410643"/>
          </a:xfrm>
        </p:spPr>
        <p:txBody>
          <a:bodyPr/>
          <a:lstStyle>
            <a:lvl1pPr marL="0" indent="0">
              <a:lnSpc>
                <a:spcPct val="100000"/>
              </a:lnSpc>
              <a:spcBef>
                <a:spcPts val="0"/>
              </a:spcBef>
              <a:buFontTx/>
              <a:buNone/>
              <a:defRPr sz="4800" b="1">
                <a:solidFill>
                  <a:schemeClr val="bg1"/>
                </a:solidFill>
              </a:defRPr>
            </a:lvl1pPr>
            <a:lvl2pPr marL="0" indent="0">
              <a:lnSpc>
                <a:spcPct val="100000"/>
              </a:lnSpc>
              <a:spcBef>
                <a:spcPts val="0"/>
              </a:spcBef>
              <a:buFontTx/>
              <a:buNone/>
              <a:defRPr sz="4800">
                <a:solidFill>
                  <a:schemeClr val="bg1"/>
                </a:solidFill>
              </a:defRPr>
            </a:lvl2pPr>
            <a:lvl3pPr marL="0" indent="0">
              <a:lnSpc>
                <a:spcPct val="100000"/>
              </a:lnSpc>
              <a:spcBef>
                <a:spcPts val="0"/>
              </a:spcBef>
              <a:buFontTx/>
              <a:buNone/>
              <a:defRPr sz="4800">
                <a:solidFill>
                  <a:schemeClr val="bg1"/>
                </a:solidFill>
              </a:defRPr>
            </a:lvl3pPr>
            <a:lvl4pPr marL="0" indent="0">
              <a:lnSpc>
                <a:spcPct val="100000"/>
              </a:lnSpc>
              <a:spcBef>
                <a:spcPts val="0"/>
              </a:spcBef>
              <a:buFontTx/>
              <a:buNone/>
              <a:defRPr sz="4800">
                <a:solidFill>
                  <a:schemeClr val="bg1"/>
                </a:solidFill>
              </a:defRPr>
            </a:lvl4pPr>
            <a:lvl5pPr marL="0" indent="0">
              <a:lnSpc>
                <a:spcPct val="100000"/>
              </a:lnSpc>
              <a:spcBef>
                <a:spcPts val="0"/>
              </a:spcBef>
              <a:buFontTx/>
              <a:buNone/>
              <a:defRPr sz="4800">
                <a:solidFill>
                  <a:schemeClr val="bg1"/>
                </a:solidFill>
              </a:defRPr>
            </a:lvl5pPr>
          </a:lstStyle>
          <a:p>
            <a:pPr lvl="0"/>
            <a:r>
              <a:rPr lang="en-US"/>
              <a:t>Edit Master text styles</a:t>
            </a:r>
          </a:p>
        </p:txBody>
      </p:sp>
      <p:sp>
        <p:nvSpPr>
          <p:cNvPr id="12" name="Fußzeilenplatzhalter 2"/>
          <p:cNvSpPr>
            <a:spLocks noGrp="1"/>
          </p:cNvSpPr>
          <p:nvPr>
            <p:ph type="ftr" sz="quarter" idx="10"/>
          </p:nvPr>
        </p:nvSpPr>
        <p:spPr>
          <a:xfrm>
            <a:off x="1239188" y="6520869"/>
            <a:ext cx="6960000" cy="144000"/>
          </a:xfrm>
        </p:spPr>
        <p:txBody>
          <a:bodyPr/>
          <a:lstStyle>
            <a:lvl1pPr>
              <a:defRPr>
                <a:solidFill>
                  <a:schemeClr val="bg1"/>
                </a:solidFill>
              </a:defRPr>
            </a:lvl1pPr>
          </a:lstStyle>
          <a:p>
            <a:pPr>
              <a:lnSpc>
                <a:spcPts val="1067"/>
              </a:lnSpc>
            </a:pPr>
            <a:endParaRPr lang="de-DE" dirty="0"/>
          </a:p>
        </p:txBody>
      </p:sp>
      <p:sp>
        <p:nvSpPr>
          <p:cNvPr id="14" name="Foliennummernplatzhalter 3"/>
          <p:cNvSpPr>
            <a:spLocks noGrp="1"/>
          </p:cNvSpPr>
          <p:nvPr>
            <p:ph type="sldNum" sz="quarter" idx="11"/>
          </p:nvPr>
        </p:nvSpPr>
        <p:spPr>
          <a:xfrm>
            <a:off x="11472001" y="6520869"/>
            <a:ext cx="240000" cy="144000"/>
          </a:xfrm>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dirty="0"/>
          </a:p>
        </p:txBody>
      </p:sp>
      <p:grpSp>
        <p:nvGrpSpPr>
          <p:cNvPr id="16" name="Gruppieren 15"/>
          <p:cNvGrpSpPr/>
          <p:nvPr userDrawn="1"/>
        </p:nvGrpSpPr>
        <p:grpSpPr>
          <a:xfrm>
            <a:off x="480003" y="6296401"/>
            <a:ext cx="11232000" cy="488471"/>
            <a:chOff x="360001" y="4722299"/>
            <a:chExt cx="8424000" cy="366353"/>
          </a:xfrm>
        </p:grpSpPr>
        <p:sp>
          <p:nvSpPr>
            <p:cNvPr id="17" name="Text Box 10"/>
            <p:cNvSpPr txBox="1">
              <a:spLocks noChangeArrowheads="1"/>
            </p:cNvSpPr>
            <p:nvPr userDrawn="1"/>
          </p:nvSpPr>
          <p:spPr bwMode="black">
            <a:xfrm>
              <a:off x="7607032" y="4897091"/>
              <a:ext cx="900000" cy="9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bg1"/>
                  </a:solidFill>
                  <a:latin typeface="Tahoma" panose="020B0604030504040204" pitchFamily="34" charset="0"/>
                </a:rPr>
                <a:t>© ZF Friedrichshafen AG</a:t>
              </a:r>
            </a:p>
          </p:txBody>
        </p:sp>
        <p:cxnSp>
          <p:nvCxnSpPr>
            <p:cNvPr id="20" name="Gerade Verbindung 19"/>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21" name="Grafik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Tree>
    <p:extLst>
      <p:ext uri="{BB962C8B-B14F-4D97-AF65-F5344CB8AC3E}">
        <p14:creationId xmlns:p14="http://schemas.microsoft.com/office/powerpoint/2010/main" val="2042087728"/>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pecial_Slide - Do_not_use!!!">
    <p:bg>
      <p:bgPr>
        <a:gradFill>
          <a:gsLst>
            <a:gs pos="0">
              <a:srgbClr val="1179C5"/>
            </a:gs>
            <a:gs pos="50000">
              <a:srgbClr val="004D7A"/>
            </a:gs>
            <a:gs pos="100000">
              <a:srgbClr val="001024"/>
            </a:gs>
          </a:gsLst>
          <a:lin ang="5400000" scaled="0"/>
        </a:gradFill>
        <a:effectLst/>
      </p:bgPr>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bg1"/>
                </a:solidFill>
              </a:defRPr>
            </a:lvl1pPr>
          </a:lstStyle>
          <a:p>
            <a:pPr>
              <a:lnSpc>
                <a:spcPts val="1067"/>
              </a:lnSpc>
            </a:pPr>
            <a:endParaRPr lang="de-DE" dirty="0"/>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dirty="0"/>
          </a:p>
        </p:txBody>
      </p:sp>
      <p:grpSp>
        <p:nvGrpSpPr>
          <p:cNvPr id="15" name="Gruppieren 14"/>
          <p:cNvGrpSpPr/>
          <p:nvPr userDrawn="1"/>
        </p:nvGrpSpPr>
        <p:grpSpPr>
          <a:xfrm>
            <a:off x="480003" y="6296401"/>
            <a:ext cx="11232000" cy="488471"/>
            <a:chOff x="360001" y="4722299"/>
            <a:chExt cx="8424000" cy="366353"/>
          </a:xfrm>
        </p:grpSpPr>
        <p:sp>
          <p:nvSpPr>
            <p:cNvPr id="16" name="Text Box 10"/>
            <p:cNvSpPr txBox="1">
              <a:spLocks noChangeArrowheads="1"/>
            </p:cNvSpPr>
            <p:nvPr userDrawn="1"/>
          </p:nvSpPr>
          <p:spPr bwMode="black">
            <a:xfrm>
              <a:off x="7607032" y="4897091"/>
              <a:ext cx="900000" cy="9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bg1"/>
                  </a:solidFill>
                  <a:latin typeface="Tahoma" panose="020B0604030504040204" pitchFamily="34" charset="0"/>
                </a:rPr>
                <a:t>© ZF Friedrichshafen AG</a:t>
              </a:r>
            </a:p>
          </p:txBody>
        </p:sp>
        <p:cxnSp>
          <p:nvCxnSpPr>
            <p:cNvPr id="17" name="Gerade Verbindung 16"/>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8" name="Grafik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Tree>
    <p:extLst>
      <p:ext uri="{BB962C8B-B14F-4D97-AF65-F5344CB8AC3E}">
        <p14:creationId xmlns:p14="http://schemas.microsoft.com/office/powerpoint/2010/main" val="381379507"/>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Subtitle">
    <p:bg>
      <p:bgPr>
        <a:solidFill>
          <a:srgbClr val="404C55"/>
        </a:solidFill>
        <a:effectLst/>
      </p:bgPr>
    </p:bg>
    <p:spTree>
      <p:nvGrpSpPr>
        <p:cNvPr id="1" name=""/>
        <p:cNvGrpSpPr/>
        <p:nvPr/>
      </p:nvGrpSpPr>
      <p:grpSpPr>
        <a:xfrm>
          <a:off x="0" y="0"/>
          <a:ext cx="0" cy="0"/>
          <a:chOff x="0" y="0"/>
          <a:chExt cx="0" cy="0"/>
        </a:xfrm>
      </p:grpSpPr>
      <p:sp>
        <p:nvSpPr>
          <p:cNvPr id="3" name="Shape 3"/>
          <p:cNvSpPr/>
          <p:nvPr/>
        </p:nvSpPr>
        <p:spPr>
          <a:xfrm>
            <a:off x="220296" y="6152600"/>
            <a:ext cx="734792" cy="761555"/>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spAutoFit/>
          </a:bodyPr>
          <a:lstStyle>
            <a:lvl1pPr algn="l">
              <a:lnSpc>
                <a:spcPct val="80000"/>
              </a:lnSpc>
              <a:defRPr sz="5600" spc="-112">
                <a:solidFill>
                  <a:srgbClr val="A9C6DB"/>
                </a:solidFill>
                <a:latin typeface="+mj-lt"/>
                <a:ea typeface="+mj-ea"/>
                <a:cs typeface="+mj-cs"/>
                <a:sym typeface="SignPainter-HouseScript"/>
              </a:defRPr>
            </a:lvl1pPr>
          </a:lstStyle>
          <a:p>
            <a:pPr lvl="0">
              <a:defRPr sz="1800" spc="0">
                <a:solidFill>
                  <a:srgbClr val="000000"/>
                </a:solidFill>
              </a:defRPr>
            </a:pPr>
            <a:r>
              <a:rPr sz="2800" spc="-56">
                <a:solidFill>
                  <a:srgbClr val="A9C6DB"/>
                </a:solidFill>
              </a:rPr>
              <a:t>Pitch</a:t>
            </a:r>
          </a:p>
        </p:txBody>
      </p:sp>
      <p:sp>
        <p:nvSpPr>
          <p:cNvPr id="4" name="Picture Placeholder 3"/>
          <p:cNvSpPr>
            <a:spLocks noGrp="1"/>
          </p:cNvSpPr>
          <p:nvPr>
            <p:ph type="pic" sz="quarter" idx="10"/>
          </p:nvPr>
        </p:nvSpPr>
        <p:spPr>
          <a:xfrm>
            <a:off x="0" y="6990014"/>
            <a:ext cx="2008981" cy="2009775"/>
          </a:xfrm>
          <a:prstGeom prst="rect">
            <a:avLst/>
          </a:prstGeom>
        </p:spPr>
        <p:txBody>
          <a:bodyPr/>
          <a:lstStyle/>
          <a:p>
            <a:endParaRPr lang="en-US"/>
          </a:p>
        </p:txBody>
      </p:sp>
      <p:sp>
        <p:nvSpPr>
          <p:cNvPr id="6" name="Picture Placeholder 5"/>
          <p:cNvSpPr>
            <a:spLocks noGrp="1"/>
          </p:cNvSpPr>
          <p:nvPr>
            <p:ph type="pic" sz="quarter" idx="11"/>
          </p:nvPr>
        </p:nvSpPr>
        <p:spPr>
          <a:xfrm>
            <a:off x="2598822" y="7026817"/>
            <a:ext cx="2033588" cy="2032795"/>
          </a:xfrm>
          <a:prstGeom prst="ellipse">
            <a:avLst/>
          </a:prstGeom>
        </p:spPr>
        <p:txBody>
          <a:bodyPr/>
          <a:lstStyle/>
          <a:p>
            <a:endParaRPr lang="en-US"/>
          </a:p>
        </p:txBody>
      </p:sp>
      <p:sp>
        <p:nvSpPr>
          <p:cNvPr id="10" name="Picture Placeholder 8"/>
          <p:cNvSpPr>
            <a:spLocks noGrp="1"/>
          </p:cNvSpPr>
          <p:nvPr>
            <p:ph type="pic" sz="quarter" idx="12"/>
          </p:nvPr>
        </p:nvSpPr>
        <p:spPr>
          <a:xfrm>
            <a:off x="7298611" y="10004120"/>
            <a:ext cx="3079831" cy="1852205"/>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2450" h="4914900">
                <a:moveTo>
                  <a:pt x="2814638" y="0"/>
                </a:moveTo>
                <a:lnTo>
                  <a:pt x="8172450" y="3086100"/>
                </a:lnTo>
                <a:lnTo>
                  <a:pt x="5400675" y="4914900"/>
                </a:lnTo>
                <a:lnTo>
                  <a:pt x="0" y="1828800"/>
                </a:lnTo>
                <a:lnTo>
                  <a:pt x="2814638" y="0"/>
                </a:lnTo>
                <a:close/>
              </a:path>
            </a:pathLst>
          </a:custGeom>
        </p:spPr>
        <p:txBody>
          <a:bodyPr/>
          <a:lstStyle/>
          <a:p>
            <a:endParaRPr lang="en-US"/>
          </a:p>
        </p:txBody>
      </p:sp>
      <p:sp>
        <p:nvSpPr>
          <p:cNvPr id="12" name="Picture Placeholder 8"/>
          <p:cNvSpPr>
            <a:spLocks noGrp="1"/>
          </p:cNvSpPr>
          <p:nvPr>
            <p:ph type="pic" sz="quarter" idx="13"/>
          </p:nvPr>
        </p:nvSpPr>
        <p:spPr>
          <a:xfrm>
            <a:off x="8611157" y="7370453"/>
            <a:ext cx="1329515" cy="263366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1638651 w 6996463"/>
              <a:gd name="connsiteY0" fmla="*/ 644232 h 5559132"/>
              <a:gd name="connsiteX1" fmla="*/ 6996463 w 6996463"/>
              <a:gd name="connsiteY1" fmla="*/ 3730332 h 5559132"/>
              <a:gd name="connsiteX2" fmla="*/ 4224688 w 6996463"/>
              <a:gd name="connsiteY2" fmla="*/ 5559132 h 5559132"/>
              <a:gd name="connsiteX3" fmla="*/ 0 w 6996463"/>
              <a:gd name="connsiteY3" fmla="*/ 0 h 5559132"/>
              <a:gd name="connsiteX4" fmla="*/ 1638651 w 6996463"/>
              <a:gd name="connsiteY4" fmla="*/ 644232 h 5559132"/>
              <a:gd name="connsiteX0" fmla="*/ 1638651 w 6996463"/>
              <a:gd name="connsiteY0" fmla="*/ 644232 h 6596768"/>
              <a:gd name="connsiteX1" fmla="*/ 6996463 w 6996463"/>
              <a:gd name="connsiteY1" fmla="*/ 3730332 h 6596768"/>
              <a:gd name="connsiteX2" fmla="*/ 1250132 w 6996463"/>
              <a:gd name="connsiteY2" fmla="*/ 6596768 h 6596768"/>
              <a:gd name="connsiteX3" fmla="*/ 0 w 6996463"/>
              <a:gd name="connsiteY3" fmla="*/ 0 h 6596768"/>
              <a:gd name="connsiteX4" fmla="*/ 1638651 w 6996463"/>
              <a:gd name="connsiteY4" fmla="*/ 644232 h 6596768"/>
              <a:gd name="connsiteX0" fmla="*/ 1638651 w 3330150"/>
              <a:gd name="connsiteY0" fmla="*/ 644232 h 6596768"/>
              <a:gd name="connsiteX1" fmla="*/ 3330150 w 3330150"/>
              <a:gd name="connsiteY1" fmla="*/ 5511607 h 6596768"/>
              <a:gd name="connsiteX2" fmla="*/ 1250132 w 3330150"/>
              <a:gd name="connsiteY2" fmla="*/ 6596768 h 6596768"/>
              <a:gd name="connsiteX3" fmla="*/ 0 w 3330150"/>
              <a:gd name="connsiteY3" fmla="*/ 0 h 6596768"/>
              <a:gd name="connsiteX4" fmla="*/ 1638651 w 3330150"/>
              <a:gd name="connsiteY4" fmla="*/ 644232 h 6596768"/>
              <a:gd name="connsiteX0" fmla="*/ 2313114 w 3330150"/>
              <a:gd name="connsiteY0" fmla="*/ 246471 h 6596768"/>
              <a:gd name="connsiteX1" fmla="*/ 3330150 w 3330150"/>
              <a:gd name="connsiteY1" fmla="*/ 5511607 h 6596768"/>
              <a:gd name="connsiteX2" fmla="*/ 1250132 w 3330150"/>
              <a:gd name="connsiteY2" fmla="*/ 6596768 h 6596768"/>
              <a:gd name="connsiteX3" fmla="*/ 0 w 3330150"/>
              <a:gd name="connsiteY3" fmla="*/ 0 h 6596768"/>
              <a:gd name="connsiteX4" fmla="*/ 2313114 w 3330150"/>
              <a:gd name="connsiteY4" fmla="*/ 246471 h 65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0150" h="6596768">
                <a:moveTo>
                  <a:pt x="2313114" y="246471"/>
                </a:moveTo>
                <a:lnTo>
                  <a:pt x="3330150" y="5511607"/>
                </a:lnTo>
                <a:lnTo>
                  <a:pt x="1250132" y="6596768"/>
                </a:lnTo>
                <a:lnTo>
                  <a:pt x="0" y="0"/>
                </a:lnTo>
                <a:lnTo>
                  <a:pt x="2313114" y="246471"/>
                </a:lnTo>
                <a:close/>
              </a:path>
            </a:pathLst>
          </a:custGeom>
        </p:spPr>
        <p:txBody>
          <a:bodyPr/>
          <a:lstStyle/>
          <a:p>
            <a:endParaRPr lang="en-US"/>
          </a:p>
        </p:txBody>
      </p:sp>
      <p:sp>
        <p:nvSpPr>
          <p:cNvPr id="14" name="Picture Placeholder 8"/>
          <p:cNvSpPr>
            <a:spLocks noGrp="1"/>
          </p:cNvSpPr>
          <p:nvPr>
            <p:ph type="pic" sz="quarter" idx="14"/>
          </p:nvPr>
        </p:nvSpPr>
        <p:spPr>
          <a:xfrm>
            <a:off x="5349782" y="8292850"/>
            <a:ext cx="3572548" cy="1711271"/>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318" h="8311855">
                <a:moveTo>
                  <a:pt x="9810748" y="0"/>
                </a:moveTo>
                <a:lnTo>
                  <a:pt x="17352318" y="2883900"/>
                </a:lnTo>
                <a:lnTo>
                  <a:pt x="7543992" y="8311855"/>
                </a:lnTo>
                <a:lnTo>
                  <a:pt x="0" y="4740476"/>
                </a:lnTo>
                <a:lnTo>
                  <a:pt x="9810748" y="0"/>
                </a:lnTo>
                <a:close/>
              </a:path>
            </a:pathLst>
          </a:custGeom>
        </p:spPr>
        <p:txBody>
          <a:bodyPr/>
          <a:lstStyle/>
          <a:p>
            <a:endParaRPr lang="en-US"/>
          </a:p>
        </p:txBody>
      </p:sp>
      <p:sp>
        <p:nvSpPr>
          <p:cNvPr id="18" name="Picture Placeholder 8"/>
          <p:cNvSpPr>
            <a:spLocks noGrp="1"/>
          </p:cNvSpPr>
          <p:nvPr>
            <p:ph type="pic" sz="quarter" idx="15"/>
          </p:nvPr>
        </p:nvSpPr>
        <p:spPr>
          <a:xfrm>
            <a:off x="4387963" y="10620462"/>
            <a:ext cx="3572548" cy="1711271"/>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318" h="8311855">
                <a:moveTo>
                  <a:pt x="9810748" y="0"/>
                </a:moveTo>
                <a:lnTo>
                  <a:pt x="17352318" y="2883900"/>
                </a:lnTo>
                <a:lnTo>
                  <a:pt x="7543992" y="8311855"/>
                </a:lnTo>
                <a:lnTo>
                  <a:pt x="0" y="4740476"/>
                </a:lnTo>
                <a:lnTo>
                  <a:pt x="9810748" y="0"/>
                </a:lnTo>
                <a:close/>
              </a:path>
            </a:pathLst>
          </a:custGeom>
        </p:spPr>
        <p:txBody>
          <a:bodyPr/>
          <a:lstStyle/>
          <a:p>
            <a:endParaRPr lang="en-US"/>
          </a:p>
        </p:txBody>
      </p:sp>
      <p:sp>
        <p:nvSpPr>
          <p:cNvPr id="24" name="Picture Placeholder 8"/>
          <p:cNvSpPr>
            <a:spLocks noGrp="1"/>
          </p:cNvSpPr>
          <p:nvPr>
            <p:ph type="pic" sz="quarter" idx="17"/>
          </p:nvPr>
        </p:nvSpPr>
        <p:spPr>
          <a:xfrm>
            <a:off x="10283437" y="7811918"/>
            <a:ext cx="2521792" cy="236324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86659" h="20229495">
                <a:moveTo>
                  <a:pt x="21586659" y="0"/>
                </a:moveTo>
                <a:lnTo>
                  <a:pt x="19727356" y="18206579"/>
                </a:lnTo>
                <a:lnTo>
                  <a:pt x="-1" y="20229495"/>
                </a:lnTo>
                <a:lnTo>
                  <a:pt x="2671128" y="5628747"/>
                </a:lnTo>
                <a:lnTo>
                  <a:pt x="21586659" y="0"/>
                </a:lnTo>
                <a:close/>
              </a:path>
            </a:pathLst>
          </a:custGeom>
        </p:spPr>
        <p:txBody>
          <a:bodyPr/>
          <a:lstStyle/>
          <a:p>
            <a:endParaRPr lang="en-US"/>
          </a:p>
        </p:txBody>
      </p:sp>
      <p:sp>
        <p:nvSpPr>
          <p:cNvPr id="33" name="Picture Placeholder 8"/>
          <p:cNvSpPr>
            <a:spLocks noGrp="1"/>
          </p:cNvSpPr>
          <p:nvPr>
            <p:ph type="pic" sz="quarter" idx="18"/>
          </p:nvPr>
        </p:nvSpPr>
        <p:spPr>
          <a:xfrm>
            <a:off x="10675162" y="10480411"/>
            <a:ext cx="3097607" cy="2904228"/>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9167" h="25013631">
                <a:moveTo>
                  <a:pt x="23282865" y="6807052"/>
                </a:moveTo>
                <a:lnTo>
                  <a:pt x="26679167" y="25013631"/>
                </a:lnTo>
                <a:lnTo>
                  <a:pt x="2288384" y="22447145"/>
                </a:lnTo>
                <a:lnTo>
                  <a:pt x="0" y="0"/>
                </a:lnTo>
                <a:lnTo>
                  <a:pt x="23282865" y="6807052"/>
                </a:lnTo>
                <a:close/>
              </a:path>
            </a:pathLst>
          </a:custGeom>
        </p:spPr>
        <p:txBody>
          <a:bodyPr/>
          <a:lstStyle/>
          <a:p>
            <a:endParaRPr lang="en-US"/>
          </a:p>
        </p:txBody>
      </p:sp>
      <p:sp>
        <p:nvSpPr>
          <p:cNvPr id="34" name="Picture Placeholder 8"/>
          <p:cNvSpPr>
            <a:spLocks noGrp="1"/>
          </p:cNvSpPr>
          <p:nvPr>
            <p:ph type="pic" sz="quarter" idx="16"/>
          </p:nvPr>
        </p:nvSpPr>
        <p:spPr>
          <a:xfrm>
            <a:off x="8165692" y="6858000"/>
            <a:ext cx="5302701" cy="408666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 name="connsiteX0" fmla="*/ 29001318 w 32397620"/>
              <a:gd name="connsiteY0" fmla="*/ 6807052 h 25013631"/>
              <a:gd name="connsiteX1" fmla="*/ 32397620 w 32397620"/>
              <a:gd name="connsiteY1" fmla="*/ 25013631 h 25013631"/>
              <a:gd name="connsiteX2" fmla="*/ 0 w 32397620"/>
              <a:gd name="connsiteY2" fmla="*/ 21922106 h 25013631"/>
              <a:gd name="connsiteX3" fmla="*/ 5718453 w 32397620"/>
              <a:gd name="connsiteY3" fmla="*/ 0 h 25013631"/>
              <a:gd name="connsiteX4" fmla="*/ 29001318 w 32397620"/>
              <a:gd name="connsiteY4" fmla="*/ 6807052 h 25013631"/>
              <a:gd name="connsiteX0" fmla="*/ 29001318 w 39616899"/>
              <a:gd name="connsiteY0" fmla="*/ 6807052 h 21922106"/>
              <a:gd name="connsiteX1" fmla="*/ 39616899 w 39616899"/>
              <a:gd name="connsiteY1" fmla="*/ 21600881 h 21922106"/>
              <a:gd name="connsiteX2" fmla="*/ 0 w 39616899"/>
              <a:gd name="connsiteY2" fmla="*/ 21922106 h 21922106"/>
              <a:gd name="connsiteX3" fmla="*/ 5718453 w 39616899"/>
              <a:gd name="connsiteY3" fmla="*/ 0 h 21922106"/>
              <a:gd name="connsiteX4" fmla="*/ 29001318 w 39616899"/>
              <a:gd name="connsiteY4" fmla="*/ 6807052 h 21922106"/>
              <a:gd name="connsiteX0" fmla="*/ 45671292 w 45671292"/>
              <a:gd name="connsiteY0" fmla="*/ 0 h 35197774"/>
              <a:gd name="connsiteX1" fmla="*/ 39616899 w 45671292"/>
              <a:gd name="connsiteY1" fmla="*/ 34876549 h 35197774"/>
              <a:gd name="connsiteX2" fmla="*/ 0 w 45671292"/>
              <a:gd name="connsiteY2" fmla="*/ 35197774 h 35197774"/>
              <a:gd name="connsiteX3" fmla="*/ 5718453 w 45671292"/>
              <a:gd name="connsiteY3" fmla="*/ 13275668 h 35197774"/>
              <a:gd name="connsiteX4" fmla="*/ 45671292 w 45671292"/>
              <a:gd name="connsiteY4" fmla="*/ 0 h 35197774"/>
              <a:gd name="connsiteX0" fmla="*/ 45671292 w 45671292"/>
              <a:gd name="connsiteY0" fmla="*/ 0 h 35197774"/>
              <a:gd name="connsiteX1" fmla="*/ 39616899 w 45671292"/>
              <a:gd name="connsiteY1" fmla="*/ 3487654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45671292 w 45671292"/>
              <a:gd name="connsiteY0" fmla="*/ 0 h 35197774"/>
              <a:gd name="connsiteX1" fmla="*/ 39879418 w 45671292"/>
              <a:gd name="connsiteY1" fmla="*/ 35007809 h 35197774"/>
              <a:gd name="connsiteX2" fmla="*/ 0 w 45671292"/>
              <a:gd name="connsiteY2" fmla="*/ 35197774 h 35197774"/>
              <a:gd name="connsiteX3" fmla="*/ 6112232 w 45671292"/>
              <a:gd name="connsiteY3" fmla="*/ 5400092 h 35197774"/>
              <a:gd name="connsiteX4" fmla="*/ 45671292 w 45671292"/>
              <a:gd name="connsiteY4" fmla="*/ 0 h 35197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71292" h="35197774">
                <a:moveTo>
                  <a:pt x="45671292" y="0"/>
                </a:moveTo>
                <a:lnTo>
                  <a:pt x="39879418" y="35007809"/>
                </a:lnTo>
                <a:lnTo>
                  <a:pt x="0" y="35197774"/>
                </a:lnTo>
                <a:lnTo>
                  <a:pt x="6112232" y="5400092"/>
                </a:lnTo>
                <a:lnTo>
                  <a:pt x="45671292" y="0"/>
                </a:lnTo>
                <a:close/>
              </a:path>
            </a:pathLst>
          </a:custGeom>
        </p:spPr>
        <p:txBody>
          <a:bodyPr/>
          <a:lstStyle/>
          <a:p>
            <a:endParaRPr lang="en-US"/>
          </a:p>
        </p:txBody>
      </p:sp>
      <p:sp>
        <p:nvSpPr>
          <p:cNvPr id="37" name="Picture Placeholder 8"/>
          <p:cNvSpPr>
            <a:spLocks noGrp="1"/>
          </p:cNvSpPr>
          <p:nvPr>
            <p:ph type="pic" sz="quarter" idx="19"/>
          </p:nvPr>
        </p:nvSpPr>
        <p:spPr>
          <a:xfrm>
            <a:off x="4024330" y="8771531"/>
            <a:ext cx="3900621" cy="3620508"/>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 name="connsiteX0" fmla="*/ 29001318 w 32397620"/>
              <a:gd name="connsiteY0" fmla="*/ 6807052 h 25013631"/>
              <a:gd name="connsiteX1" fmla="*/ 32397620 w 32397620"/>
              <a:gd name="connsiteY1" fmla="*/ 25013631 h 25013631"/>
              <a:gd name="connsiteX2" fmla="*/ 0 w 32397620"/>
              <a:gd name="connsiteY2" fmla="*/ 21922106 h 25013631"/>
              <a:gd name="connsiteX3" fmla="*/ 5718453 w 32397620"/>
              <a:gd name="connsiteY3" fmla="*/ 0 h 25013631"/>
              <a:gd name="connsiteX4" fmla="*/ 29001318 w 32397620"/>
              <a:gd name="connsiteY4" fmla="*/ 6807052 h 25013631"/>
              <a:gd name="connsiteX0" fmla="*/ 29001318 w 39616899"/>
              <a:gd name="connsiteY0" fmla="*/ 6807052 h 21922106"/>
              <a:gd name="connsiteX1" fmla="*/ 39616899 w 39616899"/>
              <a:gd name="connsiteY1" fmla="*/ 21600881 h 21922106"/>
              <a:gd name="connsiteX2" fmla="*/ 0 w 39616899"/>
              <a:gd name="connsiteY2" fmla="*/ 21922106 h 21922106"/>
              <a:gd name="connsiteX3" fmla="*/ 5718453 w 39616899"/>
              <a:gd name="connsiteY3" fmla="*/ 0 h 21922106"/>
              <a:gd name="connsiteX4" fmla="*/ 29001318 w 39616899"/>
              <a:gd name="connsiteY4" fmla="*/ 6807052 h 21922106"/>
              <a:gd name="connsiteX0" fmla="*/ 45671292 w 45671292"/>
              <a:gd name="connsiteY0" fmla="*/ 0 h 35197774"/>
              <a:gd name="connsiteX1" fmla="*/ 39616899 w 45671292"/>
              <a:gd name="connsiteY1" fmla="*/ 34876549 h 35197774"/>
              <a:gd name="connsiteX2" fmla="*/ 0 w 45671292"/>
              <a:gd name="connsiteY2" fmla="*/ 35197774 h 35197774"/>
              <a:gd name="connsiteX3" fmla="*/ 5718453 w 45671292"/>
              <a:gd name="connsiteY3" fmla="*/ 13275668 h 35197774"/>
              <a:gd name="connsiteX4" fmla="*/ 45671292 w 45671292"/>
              <a:gd name="connsiteY4" fmla="*/ 0 h 35197774"/>
              <a:gd name="connsiteX0" fmla="*/ 45671292 w 45671292"/>
              <a:gd name="connsiteY0" fmla="*/ 0 h 35197774"/>
              <a:gd name="connsiteX1" fmla="*/ 39616899 w 45671292"/>
              <a:gd name="connsiteY1" fmla="*/ 3487654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45671292 w 45671292"/>
              <a:gd name="connsiteY0" fmla="*/ 0 h 35197774"/>
              <a:gd name="connsiteX1" fmla="*/ 39879418 w 45671292"/>
              <a:gd name="connsiteY1" fmla="*/ 3500780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55121984 w 55121984"/>
              <a:gd name="connsiteY0" fmla="*/ 0 h 50686411"/>
              <a:gd name="connsiteX1" fmla="*/ 49330110 w 55121984"/>
              <a:gd name="connsiteY1" fmla="*/ 35007809 h 50686411"/>
              <a:gd name="connsiteX2" fmla="*/ 0 w 55121984"/>
              <a:gd name="connsiteY2" fmla="*/ 50686411 h 50686411"/>
              <a:gd name="connsiteX3" fmla="*/ 15562924 w 55121984"/>
              <a:gd name="connsiteY3" fmla="*/ 5400092 h 50686411"/>
              <a:gd name="connsiteX4" fmla="*/ 55121984 w 55121984"/>
              <a:gd name="connsiteY4" fmla="*/ 0 h 50686411"/>
              <a:gd name="connsiteX0" fmla="*/ 55121984 w 55121984"/>
              <a:gd name="connsiteY0" fmla="*/ 0 h 51284000"/>
              <a:gd name="connsiteX1" fmla="*/ 33578957 w 55121984"/>
              <a:gd name="connsiteY1" fmla="*/ 51284000 h 51284000"/>
              <a:gd name="connsiteX2" fmla="*/ 0 w 55121984"/>
              <a:gd name="connsiteY2" fmla="*/ 50686411 h 51284000"/>
              <a:gd name="connsiteX3" fmla="*/ 15562924 w 55121984"/>
              <a:gd name="connsiteY3" fmla="*/ 5400092 h 51284000"/>
              <a:gd name="connsiteX4" fmla="*/ 55121984 w 55121984"/>
              <a:gd name="connsiteY4" fmla="*/ 0 h 51284000"/>
              <a:gd name="connsiteX0" fmla="*/ 33595407 w 33595407"/>
              <a:gd name="connsiteY0" fmla="*/ 19801751 h 45883908"/>
              <a:gd name="connsiteX1" fmla="*/ 33578957 w 33595407"/>
              <a:gd name="connsiteY1" fmla="*/ 45883908 h 45883908"/>
              <a:gd name="connsiteX2" fmla="*/ 0 w 33595407"/>
              <a:gd name="connsiteY2" fmla="*/ 45286319 h 45883908"/>
              <a:gd name="connsiteX3" fmla="*/ 15562924 w 33595407"/>
              <a:gd name="connsiteY3" fmla="*/ 0 h 45883908"/>
              <a:gd name="connsiteX4" fmla="*/ 33595407 w 33595407"/>
              <a:gd name="connsiteY4" fmla="*/ 19801751 h 45883908"/>
              <a:gd name="connsiteX0" fmla="*/ 33595407 w 33595407"/>
              <a:gd name="connsiteY0" fmla="*/ 5100676 h 31182833"/>
              <a:gd name="connsiteX1" fmla="*/ 33578957 w 33595407"/>
              <a:gd name="connsiteY1" fmla="*/ 31182833 h 31182833"/>
              <a:gd name="connsiteX2" fmla="*/ 0 w 33595407"/>
              <a:gd name="connsiteY2" fmla="*/ 30585244 h 31182833"/>
              <a:gd name="connsiteX3" fmla="*/ 74290 w 33595407"/>
              <a:gd name="connsiteY3" fmla="*/ 0 h 31182833"/>
              <a:gd name="connsiteX4" fmla="*/ 33595407 w 33595407"/>
              <a:gd name="connsiteY4" fmla="*/ 5100676 h 3118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5407" h="31182833">
                <a:moveTo>
                  <a:pt x="33595407" y="5100676"/>
                </a:moveTo>
                <a:cubicBezTo>
                  <a:pt x="33589924" y="13794728"/>
                  <a:pt x="33584440" y="22488781"/>
                  <a:pt x="33578957" y="31182833"/>
                </a:cubicBezTo>
                <a:lnTo>
                  <a:pt x="0" y="30585244"/>
                </a:lnTo>
                <a:lnTo>
                  <a:pt x="74290" y="0"/>
                </a:lnTo>
                <a:lnTo>
                  <a:pt x="33595407" y="5100676"/>
                </a:lnTo>
                <a:close/>
              </a:path>
            </a:pathLst>
          </a:custGeom>
        </p:spPr>
        <p:txBody>
          <a:bodyPr/>
          <a:lstStyle/>
          <a:p>
            <a:endParaRPr lang="en-US"/>
          </a:p>
        </p:txBody>
      </p:sp>
    </p:spTree>
    <p:extLst>
      <p:ext uri="{BB962C8B-B14F-4D97-AF65-F5344CB8AC3E}">
        <p14:creationId xmlns:p14="http://schemas.microsoft.com/office/powerpoint/2010/main" val="183390998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5px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90748" y="-1179442"/>
            <a:ext cx="7810503" cy="759023"/>
          </a:xfrm>
        </p:spPr>
        <p:txBody>
          <a:bodyPr tIns="144000" anchor="b">
            <a:noAutofit/>
          </a:bodyPr>
          <a:lstStyle>
            <a:lvl1pPr>
              <a:lnSpc>
                <a:spcPct val="100000"/>
              </a:lnSpc>
              <a:defRPr sz="3164"/>
            </a:lvl1pPr>
          </a:lstStyle>
          <a:p>
            <a:r>
              <a:rPr lang="en-US" dirty="0"/>
              <a:t>title style</a:t>
            </a:r>
          </a:p>
        </p:txBody>
      </p:sp>
      <p:sp>
        <p:nvSpPr>
          <p:cNvPr id="3" name="Rectangle 2"/>
          <p:cNvSpPr/>
          <p:nvPr userDrawn="1"/>
        </p:nvSpPr>
        <p:spPr>
          <a:xfrm>
            <a:off x="1264082" y="3251820"/>
            <a:ext cx="9663839" cy="245389"/>
          </a:xfrm>
          <a:prstGeom prst="rect">
            <a:avLst/>
          </a:prstGeom>
          <a:solidFill>
            <a:schemeClr val="bg1"/>
          </a:solidFill>
          <a:ln w="3175" cap="flat">
            <a:noFill/>
            <a:miter lim="400000"/>
          </a:ln>
          <a:effectLst>
            <a:outerShdw dir="5400000" rotWithShape="0">
              <a:schemeClr val="bg1">
                <a:alpha val="56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288" tIns="14288" rIns="14288" bIns="14288" numCol="1" spcCol="38100" rtlCol="0" anchor="ctr">
            <a:spAutoFit/>
          </a:bodyPr>
          <a:lstStyle/>
          <a:p>
            <a:pPr marL="0" marR="0" indent="0" algn="ctr" defTabSz="412724" rtl="0" fontAlgn="auto" latinLnBrk="0" hangingPunct="0">
              <a:lnSpc>
                <a:spcPct val="100000"/>
              </a:lnSpc>
              <a:spcBef>
                <a:spcPts val="0"/>
              </a:spcBef>
              <a:spcAft>
                <a:spcPts val="0"/>
              </a:spcAft>
              <a:buClrTx/>
              <a:buSzTx/>
              <a:buFontTx/>
              <a:buNone/>
              <a:tabLst/>
            </a:pPr>
            <a:endParaRPr kumimoji="0" lang="en-US" sz="1407"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Tree>
    <p:extLst>
      <p:ext uri="{BB962C8B-B14F-4D97-AF65-F5344CB8AC3E}">
        <p14:creationId xmlns:p14="http://schemas.microsoft.com/office/powerpoint/2010/main" val="2825643606"/>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A747517-FF7D-46F7-98B5-3D735865180F}" type="datetime1">
              <a:rPr lang="en-GB" smtClean="0"/>
              <a:t>08/10/2025</a:t>
            </a:fld>
            <a:endParaRPr lang="en-GB"/>
          </a:p>
        </p:txBody>
      </p:sp>
      <p:sp>
        <p:nvSpPr>
          <p:cNvPr id="5" name="Footer Placeholder 4"/>
          <p:cNvSpPr>
            <a:spLocks noGrp="1"/>
          </p:cNvSpPr>
          <p:nvPr>
            <p:ph type="ftr" sz="quarter" idx="11"/>
          </p:nvPr>
        </p:nvSpPr>
        <p:spPr/>
        <p:txBody>
          <a:bodyPr/>
          <a:lstStyle/>
          <a:p>
            <a:endParaRPr lang="en-GB"/>
          </a:p>
        </p:txBody>
      </p:sp>
      <p:sp>
        <p:nvSpPr>
          <p:cNvPr id="7" name="Slide Number Placeholder 4"/>
          <p:cNvSpPr>
            <a:spLocks noGrp="1"/>
          </p:cNvSpPr>
          <p:nvPr>
            <p:ph type="sldNum" sz="quarter" idx="12"/>
          </p:nvPr>
        </p:nvSpPr>
        <p:spPr>
          <a:xfrm>
            <a:off x="11552935" y="6379400"/>
            <a:ext cx="434380" cy="387433"/>
          </a:xfrm>
        </p:spPr>
        <p:txBody>
          <a:bodyPr/>
          <a:lstStyle>
            <a:lvl1pPr algn="ctr">
              <a:defRPr sz="1600">
                <a:solidFill>
                  <a:schemeClr val="tx2">
                    <a:lumMod val="60000"/>
                    <a:lumOff val="40000"/>
                  </a:schemeClr>
                </a:solidFill>
              </a:defRPr>
            </a:lvl1pPr>
          </a:lstStyle>
          <a:p>
            <a:fld id="{70C262CF-5CC9-4929-99CD-9F101191856B}" type="slidenum">
              <a:rPr lang="en-GB" smtClean="0"/>
              <a:pPr/>
              <a:t>‹Nr.›</a:t>
            </a:fld>
            <a:endParaRPr lang="en-GB"/>
          </a:p>
        </p:txBody>
      </p:sp>
      <p:sp>
        <p:nvSpPr>
          <p:cNvPr id="8" name="Flowchart: Off-page Connector 7"/>
          <p:cNvSpPr/>
          <p:nvPr userDrawn="1"/>
        </p:nvSpPr>
        <p:spPr>
          <a:xfrm>
            <a:off x="11579922" y="6400719"/>
            <a:ext cx="380407" cy="380407"/>
          </a:xfrm>
          <a:prstGeom prst="flowChartOffpageConnector">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Tree>
    <p:extLst>
      <p:ext uri="{BB962C8B-B14F-4D97-AF65-F5344CB8AC3E}">
        <p14:creationId xmlns:p14="http://schemas.microsoft.com/office/powerpoint/2010/main" val="3855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tart-Compan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31471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lick to edit Master title style</a:t>
            </a:r>
            <a:endParaRPr lang="de-DE" dirty="0"/>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Textplatzhalter 3"/>
          <p:cNvSpPr>
            <a:spLocks noGrp="1"/>
          </p:cNvSpPr>
          <p:nvPr>
            <p:ph idx="1"/>
          </p:nvPr>
        </p:nvSpPr>
        <p:spPr bwMode="gray">
          <a:xfrm>
            <a:off x="480003" y="1152001"/>
            <a:ext cx="11232000" cy="5040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808858141"/>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White">
    <p:spTree>
      <p:nvGrpSpPr>
        <p:cNvPr id="1" name=""/>
        <p:cNvGrpSpPr/>
        <p:nvPr/>
      </p:nvGrpSpPr>
      <p:grpSpPr>
        <a:xfrm>
          <a:off x="0" y="0"/>
          <a:ext cx="0" cy="0"/>
          <a:chOff x="0" y="0"/>
          <a:chExt cx="0" cy="0"/>
        </a:xfrm>
      </p:grpSpPr>
      <p:grpSp>
        <p:nvGrpSpPr>
          <p:cNvPr id="5" name="Group 4"/>
          <p:cNvGrpSpPr/>
          <p:nvPr userDrawn="1"/>
        </p:nvGrpSpPr>
        <p:grpSpPr>
          <a:xfrm>
            <a:off x="328168" y="6237312"/>
            <a:ext cx="439241" cy="439240"/>
            <a:chOff x="186858" y="6096003"/>
            <a:chExt cx="580550" cy="580549"/>
          </a:xfrm>
          <a:solidFill>
            <a:schemeClr val="bg1">
              <a:lumMod val="95000"/>
            </a:schemeClr>
          </a:solidFill>
        </p:grpSpPr>
        <p:sp>
          <p:nvSpPr>
            <p:cNvPr id="14" name="Rectangle 13"/>
            <p:cNvSpPr/>
            <p:nvPr userDrawn="1"/>
          </p:nvSpPr>
          <p:spPr>
            <a:xfrm>
              <a:off x="186859" y="6096003"/>
              <a:ext cx="580549" cy="580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latin typeface="GeosansLight" panose="02000603020000020003"/>
              </a:endParaRPr>
            </a:p>
          </p:txBody>
        </p:sp>
        <p:sp>
          <p:nvSpPr>
            <p:cNvPr id="15" name="Rectangle 14"/>
            <p:cNvSpPr/>
            <p:nvPr userDrawn="1"/>
          </p:nvSpPr>
          <p:spPr>
            <a:xfrm>
              <a:off x="186858" y="6612049"/>
              <a:ext cx="580549" cy="645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3600"/>
            </a:p>
          </p:txBody>
        </p:sp>
      </p:grpSp>
      <p:sp>
        <p:nvSpPr>
          <p:cNvPr id="3" name="Sous-titre 2"/>
          <p:cNvSpPr>
            <a:spLocks noGrp="1"/>
          </p:cNvSpPr>
          <p:nvPr>
            <p:ph type="subTitle" idx="1"/>
          </p:nvPr>
        </p:nvSpPr>
        <p:spPr>
          <a:xfrm>
            <a:off x="1991545" y="620688"/>
            <a:ext cx="9590856" cy="288032"/>
          </a:xfrm>
        </p:spPr>
        <p:txBody>
          <a:bodyPr anchor="ctr">
            <a:noAutofit/>
          </a:bodyPr>
          <a:lstStyle>
            <a:lvl1pPr marL="0" indent="0" algn="r">
              <a:buNone/>
              <a:defRPr sz="1600" cap="small" baseline="0">
                <a:solidFill>
                  <a:srgbClr val="2F3A46"/>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dirty="0"/>
              <a:t>Modifiez le style des sous-titres du masque</a:t>
            </a:r>
            <a:endParaRPr lang="en-US" dirty="0"/>
          </a:p>
        </p:txBody>
      </p:sp>
      <p:sp>
        <p:nvSpPr>
          <p:cNvPr id="7" name="Espace réservé du titre 1"/>
          <p:cNvSpPr>
            <a:spLocks noGrp="1"/>
          </p:cNvSpPr>
          <p:nvPr>
            <p:ph type="title"/>
          </p:nvPr>
        </p:nvSpPr>
        <p:spPr>
          <a:xfrm>
            <a:off x="1991545" y="3077"/>
            <a:ext cx="9590856" cy="617612"/>
          </a:xfrm>
          <a:prstGeom prst="rect">
            <a:avLst/>
          </a:prstGeom>
        </p:spPr>
        <p:txBody>
          <a:bodyPr vert="horz" lIns="91440" tIns="45720" rIns="91440" bIns="45720" rtlCol="0" anchor="ctr">
            <a:normAutofit/>
          </a:bodyPr>
          <a:lstStyle>
            <a:lvl1pPr>
              <a:defRPr>
                <a:solidFill>
                  <a:srgbClr val="2F3A46"/>
                </a:solidFill>
              </a:defRPr>
            </a:lvl1pPr>
          </a:lstStyle>
          <a:p>
            <a:r>
              <a:rPr lang="fr-FR" dirty="0"/>
              <a:t>Modifiez le style du titre</a:t>
            </a:r>
            <a:endParaRPr lang="en-US" dirty="0"/>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18500" b="19391"/>
          <a:stretch/>
        </p:blipFill>
        <p:spPr>
          <a:xfrm>
            <a:off x="11096512" y="5774480"/>
            <a:ext cx="1095488" cy="1083520"/>
          </a:xfrm>
          <a:prstGeom prst="rect">
            <a:avLst/>
          </a:prstGeom>
        </p:spPr>
      </p:pic>
      <p:pic>
        <p:nvPicPr>
          <p:cNvPr id="13" name="Picture 12"/>
          <p:cNvPicPr>
            <a:picLocks noChangeAspect="1"/>
          </p:cNvPicPr>
          <p:nvPr userDrawn="1"/>
        </p:nvPicPr>
        <p:blipFill>
          <a:blip r:embed="rId3"/>
          <a:stretch>
            <a:fillRect/>
          </a:stretch>
        </p:blipFill>
        <p:spPr>
          <a:xfrm>
            <a:off x="156796" y="100098"/>
            <a:ext cx="1627773" cy="451143"/>
          </a:xfrm>
          <a:prstGeom prst="rect">
            <a:avLst/>
          </a:prstGeom>
        </p:spPr>
      </p:pic>
      <p:sp>
        <p:nvSpPr>
          <p:cNvPr id="16" name="Slide Number Placeholder 5"/>
          <p:cNvSpPr>
            <a:spLocks noGrp="1"/>
          </p:cNvSpPr>
          <p:nvPr>
            <p:ph type="sldNum" sz="quarter" idx="12"/>
          </p:nvPr>
        </p:nvSpPr>
        <p:spPr>
          <a:xfrm>
            <a:off x="263352" y="6237312"/>
            <a:ext cx="576064" cy="390437"/>
          </a:xfrm>
          <a:prstGeom prst="rect">
            <a:avLst/>
          </a:prstGeom>
        </p:spPr>
        <p:txBody>
          <a:bodyPr anchor="ctr"/>
          <a:lstStyle>
            <a:lvl1pPr algn="ctr">
              <a:defRPr sz="1400">
                <a:solidFill>
                  <a:srgbClr val="2F3A46"/>
                </a:solidFill>
              </a:defRPr>
            </a:lvl1pPr>
          </a:lstStyle>
          <a:p>
            <a:fld id="{F68327C5-B821-4FE9-A59A-A60D9EB59A9A}" type="slidenum">
              <a:rPr lang="en-US" smtClean="0"/>
              <a:pPr/>
              <a:t>‹Nr.›</a:t>
            </a:fld>
            <a:endParaRPr lang="en-US" dirty="0"/>
          </a:p>
        </p:txBody>
      </p:sp>
    </p:spTree>
    <p:extLst>
      <p:ext uri="{BB962C8B-B14F-4D97-AF65-F5344CB8AC3E}">
        <p14:creationId xmlns:p14="http://schemas.microsoft.com/office/powerpoint/2010/main" val="276858163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59264BD-2108-401F-B7DD-0622C3C01D54}"/>
              </a:ext>
            </a:extLst>
          </p:cNvPr>
          <p:cNvGrpSpPr/>
          <p:nvPr userDrawn="1"/>
        </p:nvGrpSpPr>
        <p:grpSpPr>
          <a:xfrm>
            <a:off x="0" y="6794501"/>
            <a:ext cx="12195176" cy="63500"/>
            <a:chOff x="-723900" y="1040009"/>
            <a:chExt cx="5295900" cy="52191"/>
          </a:xfrm>
        </p:grpSpPr>
        <p:sp>
          <p:nvSpPr>
            <p:cNvPr id="13" name="Rectangle 12">
              <a:extLst>
                <a:ext uri="{FF2B5EF4-FFF2-40B4-BE49-F238E27FC236}">
                  <a16:creationId xmlns:a16="http://schemas.microsoft.com/office/drawing/2014/main" id="{876C5082-4997-4E65-8420-4D5D936F0708}"/>
                </a:ext>
              </a:extLst>
            </p:cNvPr>
            <p:cNvSpPr/>
            <p:nvPr userDrawn="1"/>
          </p:nvSpPr>
          <p:spPr>
            <a:xfrm>
              <a:off x="1041400" y="1040009"/>
              <a:ext cx="1765300" cy="521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4" name="Rectangle 13">
              <a:extLst>
                <a:ext uri="{FF2B5EF4-FFF2-40B4-BE49-F238E27FC236}">
                  <a16:creationId xmlns:a16="http://schemas.microsoft.com/office/drawing/2014/main" id="{FF85F784-DC5C-4E68-BC02-CCF2F401E203}"/>
                </a:ext>
              </a:extLst>
            </p:cNvPr>
            <p:cNvSpPr/>
            <p:nvPr userDrawn="1"/>
          </p:nvSpPr>
          <p:spPr>
            <a:xfrm>
              <a:off x="2806700" y="1040009"/>
              <a:ext cx="1765300" cy="521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5" name="Rectangle 14">
              <a:extLst>
                <a:ext uri="{FF2B5EF4-FFF2-40B4-BE49-F238E27FC236}">
                  <a16:creationId xmlns:a16="http://schemas.microsoft.com/office/drawing/2014/main" id="{4861E494-C684-4E36-B355-111C9D35265A}"/>
                </a:ext>
              </a:extLst>
            </p:cNvPr>
            <p:cNvSpPr/>
            <p:nvPr userDrawn="1"/>
          </p:nvSpPr>
          <p:spPr>
            <a:xfrm>
              <a:off x="-723900" y="1040009"/>
              <a:ext cx="1765300" cy="521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sp>
        <p:nvSpPr>
          <p:cNvPr id="9" name="Slide Number Placeholder 5">
            <a:extLst>
              <a:ext uri="{FF2B5EF4-FFF2-40B4-BE49-F238E27FC236}">
                <a16:creationId xmlns:a16="http://schemas.microsoft.com/office/drawing/2014/main" id="{6F840202-73D3-4D1E-99C4-5658A767FE1E}"/>
              </a:ext>
            </a:extLst>
          </p:cNvPr>
          <p:cNvSpPr txBox="1">
            <a:spLocks/>
          </p:cNvSpPr>
          <p:nvPr userDrawn="1"/>
        </p:nvSpPr>
        <p:spPr>
          <a:xfrm>
            <a:off x="11616521" y="6336583"/>
            <a:ext cx="350183" cy="288331"/>
          </a:xfrm>
          <a:prstGeom prst="hexagon">
            <a:avLst/>
          </a:prstGeom>
          <a:solidFill>
            <a:schemeClr val="accent3"/>
          </a:solidFill>
          <a:ln>
            <a:noFill/>
          </a:ln>
        </p:spPr>
        <p:txBody>
          <a:bodyPr lIns="0" tIns="0" rIns="0" bIns="0" anchor="ctr"/>
          <a:lstStyle>
            <a:defPPr>
              <a:defRPr lang="en-US"/>
            </a:defPPr>
            <a:lvl1pPr marL="0" algn="ctr" defTabSz="1218987" rtl="0" eaLnBrk="1" latinLnBrk="0" hangingPunct="1">
              <a:defRPr sz="1000" b="1" kern="1200">
                <a:solidFill>
                  <a:schemeClr val="bg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080B596-281A-4010-8ADA-74D6CB3791DF}" type="slidenum">
              <a:rPr lang="en-US" sz="800" smtClean="0"/>
              <a:pPr/>
              <a:t>‹Nr.›</a:t>
            </a:fld>
            <a:endParaRPr lang="en-US" sz="800" dirty="0"/>
          </a:p>
        </p:txBody>
      </p:sp>
    </p:spTree>
    <p:extLst>
      <p:ext uri="{BB962C8B-B14F-4D97-AF65-F5344CB8AC3E}">
        <p14:creationId xmlns:p14="http://schemas.microsoft.com/office/powerpoint/2010/main" val="3660883629"/>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4400" y="1452423"/>
            <a:ext cx="10363200" cy="4627563"/>
          </a:xfrm>
        </p:spPr>
        <p:txBody>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914400" y="933451"/>
            <a:ext cx="10363200" cy="406400"/>
          </a:xfrm>
        </p:spPr>
        <p:txBody>
          <a:bodyPr>
            <a:normAutofit/>
          </a:bodyPr>
          <a:lstStyle>
            <a:lvl1pPr marL="0" indent="0" algn="ctr">
              <a:lnSpc>
                <a:spcPct val="86000"/>
              </a:lnSpc>
              <a:spcBef>
                <a:spcPts val="0"/>
              </a:spcBef>
              <a:buNone/>
              <a:defRPr sz="1351" baseline="0"/>
            </a:lvl1pPr>
          </a:lstStyle>
          <a:p>
            <a:pPr lvl="0"/>
            <a:r>
              <a:rPr lang="en-US" dirty="0"/>
              <a:t>Click here to edit subtitle</a:t>
            </a:r>
          </a:p>
        </p:txBody>
      </p:sp>
    </p:spTree>
    <p:extLst>
      <p:ext uri="{BB962C8B-B14F-4D97-AF65-F5344CB8AC3E}">
        <p14:creationId xmlns:p14="http://schemas.microsoft.com/office/powerpoint/2010/main" val="236746294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5_Blank">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3007021"/>
            <a:ext cx="12192000" cy="3850979"/>
          </a:xfrm>
          <a:custGeom>
            <a:avLst/>
            <a:gdLst>
              <a:gd name="connsiteX0" fmla="*/ 6096001 w 12192000"/>
              <a:gd name="connsiteY0" fmla="*/ 0 h 3850978"/>
              <a:gd name="connsiteX1" fmla="*/ 12192000 w 12192000"/>
              <a:gd name="connsiteY1" fmla="*/ 1158491 h 3850978"/>
              <a:gd name="connsiteX2" fmla="*/ 12192000 w 12192000"/>
              <a:gd name="connsiteY2" fmla="*/ 3696238 h 3850978"/>
              <a:gd name="connsiteX3" fmla="*/ 12192000 w 12192000"/>
              <a:gd name="connsiteY3" fmla="*/ 3850978 h 3850978"/>
              <a:gd name="connsiteX4" fmla="*/ 0 w 12192000"/>
              <a:gd name="connsiteY4" fmla="*/ 3850978 h 3850978"/>
              <a:gd name="connsiteX5" fmla="*/ 0 w 12192000"/>
              <a:gd name="connsiteY5" fmla="*/ 3802634 h 3850978"/>
              <a:gd name="connsiteX6" fmla="*/ 0 w 12192000"/>
              <a:gd name="connsiteY6" fmla="*/ 1158491 h 3850978"/>
              <a:gd name="connsiteX7" fmla="*/ 6096001 w 12192000"/>
              <a:gd name="connsiteY7" fmla="*/ 0 h 385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850978">
                <a:moveTo>
                  <a:pt x="6096001" y="0"/>
                </a:moveTo>
                <a:cubicBezTo>
                  <a:pt x="8322469" y="0"/>
                  <a:pt x="10408444" y="424303"/>
                  <a:pt x="12192000" y="1158491"/>
                </a:cubicBezTo>
                <a:cubicBezTo>
                  <a:pt x="12192000" y="1158491"/>
                  <a:pt x="12192000" y="1158491"/>
                  <a:pt x="12192000" y="3696238"/>
                </a:cubicBezTo>
                <a:lnTo>
                  <a:pt x="12192000" y="3850978"/>
                </a:lnTo>
                <a:lnTo>
                  <a:pt x="0" y="3850978"/>
                </a:lnTo>
                <a:lnTo>
                  <a:pt x="0" y="3802634"/>
                </a:lnTo>
                <a:cubicBezTo>
                  <a:pt x="0" y="3557302"/>
                  <a:pt x="0" y="2903081"/>
                  <a:pt x="0" y="1158491"/>
                </a:cubicBezTo>
                <a:cubicBezTo>
                  <a:pt x="1783557" y="424303"/>
                  <a:pt x="3869532" y="0"/>
                  <a:pt x="6096001" y="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5"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Tree>
    <p:extLst>
      <p:ext uri="{BB962C8B-B14F-4D97-AF65-F5344CB8AC3E}">
        <p14:creationId xmlns:p14="http://schemas.microsoft.com/office/powerpoint/2010/main" val="598648376"/>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s">
    <p:bg>
      <p:bgPr>
        <a:solidFill>
          <a:srgbClr val="19232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25417"/>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o footer">
    <p:spTree>
      <p:nvGrpSpPr>
        <p:cNvPr id="1" name=""/>
        <p:cNvGrpSpPr/>
        <p:nvPr/>
      </p:nvGrpSpPr>
      <p:grpSpPr>
        <a:xfrm>
          <a:off x="0" y="0"/>
          <a:ext cx="0" cy="0"/>
          <a:chOff x="0" y="0"/>
          <a:chExt cx="0" cy="0"/>
        </a:xfrm>
      </p:grpSpPr>
      <p:sp>
        <p:nvSpPr>
          <p:cNvPr id="2" name="Rectangle 1"/>
          <p:cNvSpPr/>
          <p:nvPr userDrawn="1"/>
        </p:nvSpPr>
        <p:spPr>
          <a:xfrm>
            <a:off x="3736632" y="6166624"/>
            <a:ext cx="4562037" cy="691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595"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06539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Subtitle copy">
    <p:bg>
      <p:bgPr>
        <a:solidFill>
          <a:srgbClr val="404C55"/>
        </a:solidFill>
        <a:effectLst/>
      </p:bgPr>
    </p:bg>
    <p:spTree>
      <p:nvGrpSpPr>
        <p:cNvPr id="1" name=""/>
        <p:cNvGrpSpPr/>
        <p:nvPr/>
      </p:nvGrpSpPr>
      <p:grpSpPr>
        <a:xfrm>
          <a:off x="0" y="0"/>
          <a:ext cx="0" cy="0"/>
          <a:chOff x="0" y="0"/>
          <a:chExt cx="0" cy="0"/>
        </a:xfrm>
      </p:grpSpPr>
      <p:sp>
        <p:nvSpPr>
          <p:cNvPr id="5" name="Shape 5"/>
          <p:cNvSpPr/>
          <p:nvPr/>
        </p:nvSpPr>
        <p:spPr>
          <a:xfrm>
            <a:off x="220296" y="6152600"/>
            <a:ext cx="734792" cy="761555"/>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spAutoFit/>
          </a:bodyPr>
          <a:lstStyle>
            <a:lvl1pPr algn="l">
              <a:lnSpc>
                <a:spcPct val="80000"/>
              </a:lnSpc>
              <a:defRPr sz="5600" spc="-112">
                <a:solidFill>
                  <a:srgbClr val="A9C6DB"/>
                </a:solidFill>
                <a:latin typeface="+mj-lt"/>
                <a:ea typeface="+mj-ea"/>
                <a:cs typeface="+mj-cs"/>
                <a:sym typeface="SignPainter-HouseScript"/>
              </a:defRPr>
            </a:lvl1pPr>
          </a:lstStyle>
          <a:p>
            <a:pPr lvl="0">
              <a:defRPr sz="1800" spc="0">
                <a:solidFill>
                  <a:srgbClr val="000000"/>
                </a:solidFill>
              </a:defRPr>
            </a:pPr>
            <a:r>
              <a:rPr sz="2800" spc="-56">
                <a:solidFill>
                  <a:srgbClr val="A9C6DB"/>
                </a:solidFill>
              </a:rPr>
              <a:t>Pitch</a:t>
            </a:r>
          </a:p>
        </p:txBody>
      </p:sp>
      <p:sp>
        <p:nvSpPr>
          <p:cNvPr id="6" name="Shape 6"/>
          <p:cNvSpPr/>
          <p:nvPr/>
        </p:nvSpPr>
        <p:spPr>
          <a:xfrm>
            <a:off x="885079" y="6472795"/>
            <a:ext cx="5149076" cy="18466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lgn="l">
              <a:defRPr sz="2400">
                <a:latin typeface="Lato Regular"/>
                <a:ea typeface="Lato Regular"/>
                <a:cs typeface="Lato Regular"/>
                <a:sym typeface="Lato Regular"/>
              </a:defRPr>
            </a:lvl1pPr>
          </a:lstStyle>
          <a:p>
            <a:pPr lvl="0">
              <a:defRPr sz="1800">
                <a:solidFill>
                  <a:srgbClr val="000000"/>
                </a:solidFill>
              </a:defRPr>
            </a:pPr>
            <a:r>
              <a:rPr sz="1200">
                <a:solidFill>
                  <a:srgbClr val="FFFFFF"/>
                </a:solidFill>
              </a:rPr>
              <a:t>Good Keynote for Great Pitch</a:t>
            </a:r>
          </a:p>
        </p:txBody>
      </p:sp>
      <p:sp>
        <p:nvSpPr>
          <p:cNvPr id="7" name="Shape 7"/>
          <p:cNvSpPr/>
          <p:nvPr/>
        </p:nvSpPr>
        <p:spPr>
          <a:xfrm>
            <a:off x="265088" y="374144"/>
            <a:ext cx="219821" cy="1"/>
          </a:xfrm>
          <a:prstGeom prst="line">
            <a:avLst/>
          </a:prstGeom>
          <a:ln w="38100">
            <a:solidFill>
              <a:srgbClr val="FFFFFF"/>
            </a:solidFill>
            <a:miter lim="400000"/>
          </a:ln>
        </p:spPr>
        <p:txBody>
          <a:bodyPr lIns="0" tIns="0" rIns="0" bIns="0" anchor="ctr"/>
          <a:lstStyle/>
          <a:p>
            <a:pPr lvl="0" algn="l">
              <a:lnSpc>
                <a:spcPct val="110000"/>
              </a:lnSpc>
              <a:defRPr sz="2700">
                <a:latin typeface="Lato Regular"/>
                <a:ea typeface="Lato Regular"/>
                <a:cs typeface="Lato Regular"/>
                <a:sym typeface="Lato Regular"/>
              </a:defRPr>
            </a:pPr>
            <a:endParaRPr sz="1351"/>
          </a:p>
        </p:txBody>
      </p:sp>
      <p:sp>
        <p:nvSpPr>
          <p:cNvPr id="8" name="Shape 8"/>
          <p:cNvSpPr/>
          <p:nvPr/>
        </p:nvSpPr>
        <p:spPr>
          <a:xfrm>
            <a:off x="265088" y="475149"/>
            <a:ext cx="219821" cy="1"/>
          </a:xfrm>
          <a:prstGeom prst="line">
            <a:avLst/>
          </a:prstGeom>
          <a:ln w="38100">
            <a:solidFill>
              <a:srgbClr val="FFFFFF"/>
            </a:solidFill>
            <a:miter lim="400000"/>
          </a:ln>
        </p:spPr>
        <p:txBody>
          <a:bodyPr lIns="0" tIns="0" rIns="0" bIns="0" anchor="ctr"/>
          <a:lstStyle/>
          <a:p>
            <a:pPr lvl="0" algn="l">
              <a:lnSpc>
                <a:spcPct val="110000"/>
              </a:lnSpc>
              <a:defRPr sz="2700">
                <a:latin typeface="Lato Regular"/>
                <a:ea typeface="Lato Regular"/>
                <a:cs typeface="Lato Regular"/>
                <a:sym typeface="Lato Regular"/>
              </a:defRPr>
            </a:pPr>
            <a:endParaRPr sz="1351"/>
          </a:p>
        </p:txBody>
      </p:sp>
      <p:sp>
        <p:nvSpPr>
          <p:cNvPr id="9" name="Shape 9"/>
          <p:cNvSpPr/>
          <p:nvPr/>
        </p:nvSpPr>
        <p:spPr>
          <a:xfrm>
            <a:off x="265088" y="576153"/>
            <a:ext cx="219821" cy="1"/>
          </a:xfrm>
          <a:prstGeom prst="line">
            <a:avLst/>
          </a:prstGeom>
          <a:ln w="38100">
            <a:solidFill>
              <a:srgbClr val="FFFFFF"/>
            </a:solidFill>
            <a:miter lim="400000"/>
          </a:ln>
        </p:spPr>
        <p:txBody>
          <a:bodyPr lIns="0" tIns="0" rIns="0" bIns="0" anchor="ctr"/>
          <a:lstStyle/>
          <a:p>
            <a:pPr lvl="0" algn="l">
              <a:lnSpc>
                <a:spcPct val="110000"/>
              </a:lnSpc>
              <a:defRPr sz="2700">
                <a:latin typeface="Lato Regular"/>
                <a:ea typeface="Lato Regular"/>
                <a:cs typeface="Lato Regular"/>
                <a:sym typeface="Lato Regular"/>
              </a:defRPr>
            </a:pPr>
            <a:endParaRPr sz="1351"/>
          </a:p>
        </p:txBody>
      </p:sp>
      <p:sp>
        <p:nvSpPr>
          <p:cNvPr id="10" name="Picture Placeholder 3"/>
          <p:cNvSpPr>
            <a:spLocks noGrp="1"/>
          </p:cNvSpPr>
          <p:nvPr>
            <p:ph type="pic" sz="quarter" idx="10"/>
          </p:nvPr>
        </p:nvSpPr>
        <p:spPr>
          <a:xfrm>
            <a:off x="0" y="6990014"/>
            <a:ext cx="2008981" cy="2009775"/>
          </a:xfrm>
          <a:prstGeom prst="rect">
            <a:avLst/>
          </a:prstGeom>
        </p:spPr>
        <p:txBody>
          <a:bodyPr/>
          <a:lstStyle/>
          <a:p>
            <a:endParaRPr lang="en-US"/>
          </a:p>
        </p:txBody>
      </p:sp>
      <p:sp>
        <p:nvSpPr>
          <p:cNvPr id="11" name="Picture Placeholder 5"/>
          <p:cNvSpPr>
            <a:spLocks noGrp="1"/>
          </p:cNvSpPr>
          <p:nvPr>
            <p:ph type="pic" sz="quarter" idx="11"/>
          </p:nvPr>
        </p:nvSpPr>
        <p:spPr>
          <a:xfrm>
            <a:off x="2598822" y="7026817"/>
            <a:ext cx="2033588" cy="2032795"/>
          </a:xfrm>
          <a:prstGeom prst="ellipse">
            <a:avLst/>
          </a:prstGeom>
        </p:spPr>
        <p:txBody>
          <a:bodyPr/>
          <a:lstStyle/>
          <a:p>
            <a:endParaRPr lang="en-US"/>
          </a:p>
        </p:txBody>
      </p:sp>
      <p:sp>
        <p:nvSpPr>
          <p:cNvPr id="12" name="Picture Placeholder 8"/>
          <p:cNvSpPr>
            <a:spLocks noGrp="1"/>
          </p:cNvSpPr>
          <p:nvPr>
            <p:ph type="pic" sz="quarter" idx="12"/>
          </p:nvPr>
        </p:nvSpPr>
        <p:spPr>
          <a:xfrm>
            <a:off x="7298611" y="10004120"/>
            <a:ext cx="3079831" cy="1852205"/>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2450" h="4914900">
                <a:moveTo>
                  <a:pt x="2814638" y="0"/>
                </a:moveTo>
                <a:lnTo>
                  <a:pt x="8172450" y="3086100"/>
                </a:lnTo>
                <a:lnTo>
                  <a:pt x="5400675" y="4914900"/>
                </a:lnTo>
                <a:lnTo>
                  <a:pt x="0" y="1828800"/>
                </a:lnTo>
                <a:lnTo>
                  <a:pt x="2814638" y="0"/>
                </a:lnTo>
                <a:close/>
              </a:path>
            </a:pathLst>
          </a:custGeom>
        </p:spPr>
        <p:txBody>
          <a:bodyPr/>
          <a:lstStyle/>
          <a:p>
            <a:endParaRPr lang="en-US"/>
          </a:p>
        </p:txBody>
      </p:sp>
      <p:sp>
        <p:nvSpPr>
          <p:cNvPr id="13" name="Picture Placeholder 8"/>
          <p:cNvSpPr>
            <a:spLocks noGrp="1"/>
          </p:cNvSpPr>
          <p:nvPr>
            <p:ph type="pic" sz="quarter" idx="13"/>
          </p:nvPr>
        </p:nvSpPr>
        <p:spPr>
          <a:xfrm>
            <a:off x="8611157" y="7370453"/>
            <a:ext cx="1329515" cy="263366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1638651 w 6996463"/>
              <a:gd name="connsiteY0" fmla="*/ 644232 h 5559132"/>
              <a:gd name="connsiteX1" fmla="*/ 6996463 w 6996463"/>
              <a:gd name="connsiteY1" fmla="*/ 3730332 h 5559132"/>
              <a:gd name="connsiteX2" fmla="*/ 4224688 w 6996463"/>
              <a:gd name="connsiteY2" fmla="*/ 5559132 h 5559132"/>
              <a:gd name="connsiteX3" fmla="*/ 0 w 6996463"/>
              <a:gd name="connsiteY3" fmla="*/ 0 h 5559132"/>
              <a:gd name="connsiteX4" fmla="*/ 1638651 w 6996463"/>
              <a:gd name="connsiteY4" fmla="*/ 644232 h 5559132"/>
              <a:gd name="connsiteX0" fmla="*/ 1638651 w 6996463"/>
              <a:gd name="connsiteY0" fmla="*/ 644232 h 6596768"/>
              <a:gd name="connsiteX1" fmla="*/ 6996463 w 6996463"/>
              <a:gd name="connsiteY1" fmla="*/ 3730332 h 6596768"/>
              <a:gd name="connsiteX2" fmla="*/ 1250132 w 6996463"/>
              <a:gd name="connsiteY2" fmla="*/ 6596768 h 6596768"/>
              <a:gd name="connsiteX3" fmla="*/ 0 w 6996463"/>
              <a:gd name="connsiteY3" fmla="*/ 0 h 6596768"/>
              <a:gd name="connsiteX4" fmla="*/ 1638651 w 6996463"/>
              <a:gd name="connsiteY4" fmla="*/ 644232 h 6596768"/>
              <a:gd name="connsiteX0" fmla="*/ 1638651 w 3330150"/>
              <a:gd name="connsiteY0" fmla="*/ 644232 h 6596768"/>
              <a:gd name="connsiteX1" fmla="*/ 3330150 w 3330150"/>
              <a:gd name="connsiteY1" fmla="*/ 5511607 h 6596768"/>
              <a:gd name="connsiteX2" fmla="*/ 1250132 w 3330150"/>
              <a:gd name="connsiteY2" fmla="*/ 6596768 h 6596768"/>
              <a:gd name="connsiteX3" fmla="*/ 0 w 3330150"/>
              <a:gd name="connsiteY3" fmla="*/ 0 h 6596768"/>
              <a:gd name="connsiteX4" fmla="*/ 1638651 w 3330150"/>
              <a:gd name="connsiteY4" fmla="*/ 644232 h 6596768"/>
              <a:gd name="connsiteX0" fmla="*/ 2313114 w 3330150"/>
              <a:gd name="connsiteY0" fmla="*/ 246471 h 6596768"/>
              <a:gd name="connsiteX1" fmla="*/ 3330150 w 3330150"/>
              <a:gd name="connsiteY1" fmla="*/ 5511607 h 6596768"/>
              <a:gd name="connsiteX2" fmla="*/ 1250132 w 3330150"/>
              <a:gd name="connsiteY2" fmla="*/ 6596768 h 6596768"/>
              <a:gd name="connsiteX3" fmla="*/ 0 w 3330150"/>
              <a:gd name="connsiteY3" fmla="*/ 0 h 6596768"/>
              <a:gd name="connsiteX4" fmla="*/ 2313114 w 3330150"/>
              <a:gd name="connsiteY4" fmla="*/ 246471 h 65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0150" h="6596768">
                <a:moveTo>
                  <a:pt x="2313114" y="246471"/>
                </a:moveTo>
                <a:lnTo>
                  <a:pt x="3330150" y="5511607"/>
                </a:lnTo>
                <a:lnTo>
                  <a:pt x="1250132" y="6596768"/>
                </a:lnTo>
                <a:lnTo>
                  <a:pt x="0" y="0"/>
                </a:lnTo>
                <a:lnTo>
                  <a:pt x="2313114" y="246471"/>
                </a:lnTo>
                <a:close/>
              </a:path>
            </a:pathLst>
          </a:custGeom>
        </p:spPr>
        <p:txBody>
          <a:bodyPr/>
          <a:lstStyle/>
          <a:p>
            <a:endParaRPr lang="en-US"/>
          </a:p>
        </p:txBody>
      </p:sp>
      <p:sp>
        <p:nvSpPr>
          <p:cNvPr id="14" name="Picture Placeholder 8"/>
          <p:cNvSpPr>
            <a:spLocks noGrp="1"/>
          </p:cNvSpPr>
          <p:nvPr>
            <p:ph type="pic" sz="quarter" idx="14"/>
          </p:nvPr>
        </p:nvSpPr>
        <p:spPr>
          <a:xfrm>
            <a:off x="5349782" y="8292850"/>
            <a:ext cx="3572548" cy="1711271"/>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318" h="8311855">
                <a:moveTo>
                  <a:pt x="9810748" y="0"/>
                </a:moveTo>
                <a:lnTo>
                  <a:pt x="17352318" y="2883900"/>
                </a:lnTo>
                <a:lnTo>
                  <a:pt x="7543992" y="8311855"/>
                </a:lnTo>
                <a:lnTo>
                  <a:pt x="0" y="4740476"/>
                </a:lnTo>
                <a:lnTo>
                  <a:pt x="9810748" y="0"/>
                </a:lnTo>
                <a:close/>
              </a:path>
            </a:pathLst>
          </a:custGeom>
        </p:spPr>
        <p:txBody>
          <a:bodyPr/>
          <a:lstStyle/>
          <a:p>
            <a:endParaRPr lang="en-US"/>
          </a:p>
        </p:txBody>
      </p:sp>
      <p:sp>
        <p:nvSpPr>
          <p:cNvPr id="15" name="Picture Placeholder 8"/>
          <p:cNvSpPr>
            <a:spLocks noGrp="1"/>
          </p:cNvSpPr>
          <p:nvPr>
            <p:ph type="pic" sz="quarter" idx="15"/>
          </p:nvPr>
        </p:nvSpPr>
        <p:spPr>
          <a:xfrm>
            <a:off x="4387963" y="10620462"/>
            <a:ext cx="3572548" cy="1711271"/>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318" h="8311855">
                <a:moveTo>
                  <a:pt x="9810748" y="0"/>
                </a:moveTo>
                <a:lnTo>
                  <a:pt x="17352318" y="2883900"/>
                </a:lnTo>
                <a:lnTo>
                  <a:pt x="7543992" y="8311855"/>
                </a:lnTo>
                <a:lnTo>
                  <a:pt x="0" y="4740476"/>
                </a:lnTo>
                <a:lnTo>
                  <a:pt x="9810748" y="0"/>
                </a:lnTo>
                <a:close/>
              </a:path>
            </a:pathLst>
          </a:custGeom>
        </p:spPr>
        <p:txBody>
          <a:bodyPr/>
          <a:lstStyle/>
          <a:p>
            <a:endParaRPr lang="en-US"/>
          </a:p>
        </p:txBody>
      </p:sp>
      <p:sp>
        <p:nvSpPr>
          <p:cNvPr id="16" name="Picture Placeholder 8"/>
          <p:cNvSpPr>
            <a:spLocks noGrp="1"/>
          </p:cNvSpPr>
          <p:nvPr>
            <p:ph type="pic" sz="quarter" idx="17"/>
          </p:nvPr>
        </p:nvSpPr>
        <p:spPr>
          <a:xfrm>
            <a:off x="10283437" y="7811918"/>
            <a:ext cx="2521792" cy="236324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86659" h="20229495">
                <a:moveTo>
                  <a:pt x="21586659" y="0"/>
                </a:moveTo>
                <a:lnTo>
                  <a:pt x="19727356" y="18206579"/>
                </a:lnTo>
                <a:lnTo>
                  <a:pt x="-1" y="20229495"/>
                </a:lnTo>
                <a:lnTo>
                  <a:pt x="2671128" y="5628747"/>
                </a:lnTo>
                <a:lnTo>
                  <a:pt x="21586659" y="0"/>
                </a:lnTo>
                <a:close/>
              </a:path>
            </a:pathLst>
          </a:custGeom>
        </p:spPr>
        <p:txBody>
          <a:bodyPr/>
          <a:lstStyle/>
          <a:p>
            <a:endParaRPr lang="en-US"/>
          </a:p>
        </p:txBody>
      </p:sp>
      <p:sp>
        <p:nvSpPr>
          <p:cNvPr id="17" name="Picture Placeholder 8"/>
          <p:cNvSpPr>
            <a:spLocks noGrp="1"/>
          </p:cNvSpPr>
          <p:nvPr>
            <p:ph type="pic" sz="quarter" idx="18"/>
          </p:nvPr>
        </p:nvSpPr>
        <p:spPr>
          <a:xfrm>
            <a:off x="10675162" y="10480411"/>
            <a:ext cx="3097607" cy="2904228"/>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9167" h="25013631">
                <a:moveTo>
                  <a:pt x="23282865" y="6807052"/>
                </a:moveTo>
                <a:lnTo>
                  <a:pt x="26679167" y="25013631"/>
                </a:lnTo>
                <a:lnTo>
                  <a:pt x="2288384" y="22447145"/>
                </a:lnTo>
                <a:lnTo>
                  <a:pt x="0" y="0"/>
                </a:lnTo>
                <a:lnTo>
                  <a:pt x="23282865" y="6807052"/>
                </a:lnTo>
                <a:close/>
              </a:path>
            </a:pathLst>
          </a:custGeom>
        </p:spPr>
        <p:txBody>
          <a:bodyPr/>
          <a:lstStyle/>
          <a:p>
            <a:endParaRPr lang="en-US"/>
          </a:p>
        </p:txBody>
      </p:sp>
      <p:sp>
        <p:nvSpPr>
          <p:cNvPr id="18" name="Picture Placeholder 8"/>
          <p:cNvSpPr>
            <a:spLocks noGrp="1"/>
          </p:cNvSpPr>
          <p:nvPr>
            <p:ph type="pic" sz="quarter" idx="16"/>
          </p:nvPr>
        </p:nvSpPr>
        <p:spPr>
          <a:xfrm>
            <a:off x="8165692" y="6858000"/>
            <a:ext cx="5302701" cy="4086667"/>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 name="connsiteX0" fmla="*/ 29001318 w 32397620"/>
              <a:gd name="connsiteY0" fmla="*/ 6807052 h 25013631"/>
              <a:gd name="connsiteX1" fmla="*/ 32397620 w 32397620"/>
              <a:gd name="connsiteY1" fmla="*/ 25013631 h 25013631"/>
              <a:gd name="connsiteX2" fmla="*/ 0 w 32397620"/>
              <a:gd name="connsiteY2" fmla="*/ 21922106 h 25013631"/>
              <a:gd name="connsiteX3" fmla="*/ 5718453 w 32397620"/>
              <a:gd name="connsiteY3" fmla="*/ 0 h 25013631"/>
              <a:gd name="connsiteX4" fmla="*/ 29001318 w 32397620"/>
              <a:gd name="connsiteY4" fmla="*/ 6807052 h 25013631"/>
              <a:gd name="connsiteX0" fmla="*/ 29001318 w 39616899"/>
              <a:gd name="connsiteY0" fmla="*/ 6807052 h 21922106"/>
              <a:gd name="connsiteX1" fmla="*/ 39616899 w 39616899"/>
              <a:gd name="connsiteY1" fmla="*/ 21600881 h 21922106"/>
              <a:gd name="connsiteX2" fmla="*/ 0 w 39616899"/>
              <a:gd name="connsiteY2" fmla="*/ 21922106 h 21922106"/>
              <a:gd name="connsiteX3" fmla="*/ 5718453 w 39616899"/>
              <a:gd name="connsiteY3" fmla="*/ 0 h 21922106"/>
              <a:gd name="connsiteX4" fmla="*/ 29001318 w 39616899"/>
              <a:gd name="connsiteY4" fmla="*/ 6807052 h 21922106"/>
              <a:gd name="connsiteX0" fmla="*/ 45671292 w 45671292"/>
              <a:gd name="connsiteY0" fmla="*/ 0 h 35197774"/>
              <a:gd name="connsiteX1" fmla="*/ 39616899 w 45671292"/>
              <a:gd name="connsiteY1" fmla="*/ 34876549 h 35197774"/>
              <a:gd name="connsiteX2" fmla="*/ 0 w 45671292"/>
              <a:gd name="connsiteY2" fmla="*/ 35197774 h 35197774"/>
              <a:gd name="connsiteX3" fmla="*/ 5718453 w 45671292"/>
              <a:gd name="connsiteY3" fmla="*/ 13275668 h 35197774"/>
              <a:gd name="connsiteX4" fmla="*/ 45671292 w 45671292"/>
              <a:gd name="connsiteY4" fmla="*/ 0 h 35197774"/>
              <a:gd name="connsiteX0" fmla="*/ 45671292 w 45671292"/>
              <a:gd name="connsiteY0" fmla="*/ 0 h 35197774"/>
              <a:gd name="connsiteX1" fmla="*/ 39616899 w 45671292"/>
              <a:gd name="connsiteY1" fmla="*/ 3487654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45671292 w 45671292"/>
              <a:gd name="connsiteY0" fmla="*/ 0 h 35197774"/>
              <a:gd name="connsiteX1" fmla="*/ 39879418 w 45671292"/>
              <a:gd name="connsiteY1" fmla="*/ 35007809 h 35197774"/>
              <a:gd name="connsiteX2" fmla="*/ 0 w 45671292"/>
              <a:gd name="connsiteY2" fmla="*/ 35197774 h 35197774"/>
              <a:gd name="connsiteX3" fmla="*/ 6112232 w 45671292"/>
              <a:gd name="connsiteY3" fmla="*/ 5400092 h 35197774"/>
              <a:gd name="connsiteX4" fmla="*/ 45671292 w 45671292"/>
              <a:gd name="connsiteY4" fmla="*/ 0 h 35197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71292" h="35197774">
                <a:moveTo>
                  <a:pt x="45671292" y="0"/>
                </a:moveTo>
                <a:lnTo>
                  <a:pt x="39879418" y="35007809"/>
                </a:lnTo>
                <a:lnTo>
                  <a:pt x="0" y="35197774"/>
                </a:lnTo>
                <a:lnTo>
                  <a:pt x="6112232" y="5400092"/>
                </a:lnTo>
                <a:lnTo>
                  <a:pt x="45671292" y="0"/>
                </a:lnTo>
                <a:close/>
              </a:path>
            </a:pathLst>
          </a:custGeom>
        </p:spPr>
        <p:txBody>
          <a:bodyPr/>
          <a:lstStyle/>
          <a:p>
            <a:endParaRPr lang="en-US"/>
          </a:p>
        </p:txBody>
      </p:sp>
      <p:sp>
        <p:nvSpPr>
          <p:cNvPr id="19" name="Picture Placeholder 8"/>
          <p:cNvSpPr>
            <a:spLocks noGrp="1"/>
          </p:cNvSpPr>
          <p:nvPr>
            <p:ph type="pic" sz="quarter" idx="19"/>
          </p:nvPr>
        </p:nvSpPr>
        <p:spPr>
          <a:xfrm>
            <a:off x="4024330" y="8771531"/>
            <a:ext cx="3900621" cy="3620508"/>
          </a:xfrm>
          <a:custGeom>
            <a:avLst/>
            <a:gdLst>
              <a:gd name="connsiteX0" fmla="*/ 0 w 8258175"/>
              <a:gd name="connsiteY0" fmla="*/ 0 h 4943475"/>
              <a:gd name="connsiteX1" fmla="*/ 8258175 w 8258175"/>
              <a:gd name="connsiteY1" fmla="*/ 0 h 4943475"/>
              <a:gd name="connsiteX2" fmla="*/ 8258175 w 8258175"/>
              <a:gd name="connsiteY2" fmla="*/ 4943475 h 4943475"/>
              <a:gd name="connsiteX3" fmla="*/ 0 w 8258175"/>
              <a:gd name="connsiteY3" fmla="*/ 4943475 h 4943475"/>
              <a:gd name="connsiteX4" fmla="*/ 0 w 8258175"/>
              <a:gd name="connsiteY4" fmla="*/ 0 h 4943475"/>
              <a:gd name="connsiteX0" fmla="*/ 0 w 8258175"/>
              <a:gd name="connsiteY0" fmla="*/ 0 h 4943475"/>
              <a:gd name="connsiteX1" fmla="*/ 8258175 w 8258175"/>
              <a:gd name="connsiteY1" fmla="*/ 0 h 4943475"/>
              <a:gd name="connsiteX2" fmla="*/ 5429250 w 8258175"/>
              <a:gd name="connsiteY2" fmla="*/ 4914900 h 4943475"/>
              <a:gd name="connsiteX3" fmla="*/ 0 w 8258175"/>
              <a:gd name="connsiteY3" fmla="*/ 4943475 h 4943475"/>
              <a:gd name="connsiteX4" fmla="*/ 0 w 8258175"/>
              <a:gd name="connsiteY4" fmla="*/ 0 h 4943475"/>
              <a:gd name="connsiteX0" fmla="*/ 0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0 w 8201025"/>
              <a:gd name="connsiteY4" fmla="*/ 0 h 4943475"/>
              <a:gd name="connsiteX0" fmla="*/ 2843213 w 8201025"/>
              <a:gd name="connsiteY0" fmla="*/ 0 h 4943475"/>
              <a:gd name="connsiteX1" fmla="*/ 8201025 w 8201025"/>
              <a:gd name="connsiteY1" fmla="*/ 3086100 h 4943475"/>
              <a:gd name="connsiteX2" fmla="*/ 5429250 w 8201025"/>
              <a:gd name="connsiteY2" fmla="*/ 4914900 h 4943475"/>
              <a:gd name="connsiteX3" fmla="*/ 0 w 8201025"/>
              <a:gd name="connsiteY3" fmla="*/ 4943475 h 4943475"/>
              <a:gd name="connsiteX4" fmla="*/ 2843213 w 8201025"/>
              <a:gd name="connsiteY4" fmla="*/ 0 h 4943475"/>
              <a:gd name="connsiteX0" fmla="*/ 2814638 w 8172450"/>
              <a:gd name="connsiteY0" fmla="*/ 0 h 4914900"/>
              <a:gd name="connsiteX1" fmla="*/ 8172450 w 8172450"/>
              <a:gd name="connsiteY1" fmla="*/ 3086100 h 4914900"/>
              <a:gd name="connsiteX2" fmla="*/ 5400675 w 8172450"/>
              <a:gd name="connsiteY2" fmla="*/ 4914900 h 4914900"/>
              <a:gd name="connsiteX3" fmla="*/ 0 w 8172450"/>
              <a:gd name="connsiteY3" fmla="*/ 1828800 h 4914900"/>
              <a:gd name="connsiteX4" fmla="*/ 2814638 w 8172450"/>
              <a:gd name="connsiteY4" fmla="*/ 0 h 4914900"/>
              <a:gd name="connsiteX0" fmla="*/ 2814638 w 8172450"/>
              <a:gd name="connsiteY0" fmla="*/ 0 h 5400179"/>
              <a:gd name="connsiteX1" fmla="*/ 8172450 w 8172450"/>
              <a:gd name="connsiteY1" fmla="*/ 3086100 h 5400179"/>
              <a:gd name="connsiteX2" fmla="*/ 7543992 w 8172450"/>
              <a:gd name="connsiteY2" fmla="*/ 5400179 h 5400179"/>
              <a:gd name="connsiteX3" fmla="*/ 0 w 8172450"/>
              <a:gd name="connsiteY3" fmla="*/ 1828800 h 5400179"/>
              <a:gd name="connsiteX4" fmla="*/ 2814638 w 8172450"/>
              <a:gd name="connsiteY4" fmla="*/ 0 h 5400179"/>
              <a:gd name="connsiteX0" fmla="*/ 2814638 w 17352318"/>
              <a:gd name="connsiteY0" fmla="*/ 27776 h 5427955"/>
              <a:gd name="connsiteX1" fmla="*/ 17352318 w 17352318"/>
              <a:gd name="connsiteY1" fmla="*/ 0 h 5427955"/>
              <a:gd name="connsiteX2" fmla="*/ 7543992 w 17352318"/>
              <a:gd name="connsiteY2" fmla="*/ 5427955 h 5427955"/>
              <a:gd name="connsiteX3" fmla="*/ 0 w 17352318"/>
              <a:gd name="connsiteY3" fmla="*/ 1856576 h 5427955"/>
              <a:gd name="connsiteX4" fmla="*/ 2814638 w 17352318"/>
              <a:gd name="connsiteY4" fmla="*/ 27776 h 5427955"/>
              <a:gd name="connsiteX0" fmla="*/ 9810748 w 17352318"/>
              <a:gd name="connsiteY0" fmla="*/ 0 h 8311855"/>
              <a:gd name="connsiteX1" fmla="*/ 17352318 w 17352318"/>
              <a:gd name="connsiteY1" fmla="*/ 2883900 h 8311855"/>
              <a:gd name="connsiteX2" fmla="*/ 7543992 w 17352318"/>
              <a:gd name="connsiteY2" fmla="*/ 8311855 h 8311855"/>
              <a:gd name="connsiteX3" fmla="*/ 0 w 17352318"/>
              <a:gd name="connsiteY3" fmla="*/ 4740476 h 8311855"/>
              <a:gd name="connsiteX4" fmla="*/ 9810748 w 17352318"/>
              <a:gd name="connsiteY4" fmla="*/ 0 h 8311855"/>
              <a:gd name="connsiteX0" fmla="*/ 9810748 w 27049281"/>
              <a:gd name="connsiteY0" fmla="*/ 0 h 8311855"/>
              <a:gd name="connsiteX1" fmla="*/ 27049281 w 27049281"/>
              <a:gd name="connsiteY1" fmla="*/ 6362962 h 8311855"/>
              <a:gd name="connsiteX2" fmla="*/ 7543992 w 27049281"/>
              <a:gd name="connsiteY2" fmla="*/ 8311855 h 8311855"/>
              <a:gd name="connsiteX3" fmla="*/ 0 w 27049281"/>
              <a:gd name="connsiteY3" fmla="*/ 4740476 h 8311855"/>
              <a:gd name="connsiteX4" fmla="*/ 9810748 w 27049281"/>
              <a:gd name="connsiteY4" fmla="*/ 0 h 8311855"/>
              <a:gd name="connsiteX0" fmla="*/ 29130652 w 29130652"/>
              <a:gd name="connsiteY0" fmla="*/ 0 h 20229495"/>
              <a:gd name="connsiteX1" fmla="*/ 27049281 w 29130652"/>
              <a:gd name="connsiteY1" fmla="*/ 18280602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9130652 w 29130652"/>
              <a:gd name="connsiteY0" fmla="*/ 0 h 20229495"/>
              <a:gd name="connsiteX1" fmla="*/ 27271349 w 29130652"/>
              <a:gd name="connsiteY1" fmla="*/ 18206579 h 20229495"/>
              <a:gd name="connsiteX2" fmla="*/ 7543992 w 29130652"/>
              <a:gd name="connsiteY2" fmla="*/ 20229495 h 20229495"/>
              <a:gd name="connsiteX3" fmla="*/ 0 w 29130652"/>
              <a:gd name="connsiteY3" fmla="*/ 16658116 h 20229495"/>
              <a:gd name="connsiteX4" fmla="*/ 29130652 w 29130652"/>
              <a:gd name="connsiteY4" fmla="*/ 0 h 20229495"/>
              <a:gd name="connsiteX0" fmla="*/ 21586659 w 21586659"/>
              <a:gd name="connsiteY0" fmla="*/ 0 h 20229495"/>
              <a:gd name="connsiteX1" fmla="*/ 19727356 w 21586659"/>
              <a:gd name="connsiteY1" fmla="*/ 18206579 h 20229495"/>
              <a:gd name="connsiteX2" fmla="*/ -1 w 21586659"/>
              <a:gd name="connsiteY2" fmla="*/ 20229495 h 20229495"/>
              <a:gd name="connsiteX3" fmla="*/ 2671128 w 21586659"/>
              <a:gd name="connsiteY3" fmla="*/ 5628747 h 20229495"/>
              <a:gd name="connsiteX4" fmla="*/ 21586659 w 21586659"/>
              <a:gd name="connsiteY4" fmla="*/ 0 h 20229495"/>
              <a:gd name="connsiteX0" fmla="*/ 21586659 w 24316758"/>
              <a:gd name="connsiteY0" fmla="*/ 0 h 22944026"/>
              <a:gd name="connsiteX1" fmla="*/ 24316758 w 24316758"/>
              <a:gd name="connsiteY1" fmla="*/ 22944026 h 22944026"/>
              <a:gd name="connsiteX2" fmla="*/ -1 w 24316758"/>
              <a:gd name="connsiteY2" fmla="*/ 20229495 h 22944026"/>
              <a:gd name="connsiteX3" fmla="*/ 2671128 w 24316758"/>
              <a:gd name="connsiteY3" fmla="*/ 5628747 h 22944026"/>
              <a:gd name="connsiteX4" fmla="*/ 21586659 w 24316758"/>
              <a:gd name="connsiteY4" fmla="*/ 0 h 22944026"/>
              <a:gd name="connsiteX0" fmla="*/ 25725611 w 28455710"/>
              <a:gd name="connsiteY0" fmla="*/ 3550057 h 26494083"/>
              <a:gd name="connsiteX1" fmla="*/ 28455710 w 28455710"/>
              <a:gd name="connsiteY1" fmla="*/ 26494083 h 26494083"/>
              <a:gd name="connsiteX2" fmla="*/ 4138951 w 28455710"/>
              <a:gd name="connsiteY2" fmla="*/ 23779552 h 26494083"/>
              <a:gd name="connsiteX3" fmla="*/ 0 w 28455710"/>
              <a:gd name="connsiteY3" fmla="*/ 0 h 26494083"/>
              <a:gd name="connsiteX4" fmla="*/ 25725611 w 28455710"/>
              <a:gd name="connsiteY4" fmla="*/ 3550057 h 26494083"/>
              <a:gd name="connsiteX0" fmla="*/ 24911362 w 27641461"/>
              <a:gd name="connsiteY0" fmla="*/ 2735808 h 25679834"/>
              <a:gd name="connsiteX1" fmla="*/ 27641461 w 27641461"/>
              <a:gd name="connsiteY1" fmla="*/ 25679834 h 25679834"/>
              <a:gd name="connsiteX2" fmla="*/ 3324702 w 27641461"/>
              <a:gd name="connsiteY2" fmla="*/ 22965303 h 25679834"/>
              <a:gd name="connsiteX3" fmla="*/ 0 w 27641461"/>
              <a:gd name="connsiteY3" fmla="*/ 0 h 25679834"/>
              <a:gd name="connsiteX4" fmla="*/ 24911362 w 27641461"/>
              <a:gd name="connsiteY4" fmla="*/ 2735808 h 25679834"/>
              <a:gd name="connsiteX0" fmla="*/ 23949068 w 26679167"/>
              <a:gd name="connsiteY0" fmla="*/ 2069605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949068 w 26679167"/>
              <a:gd name="connsiteY4" fmla="*/ 2069605 h 25013631"/>
              <a:gd name="connsiteX0" fmla="*/ 23282865 w 26679167"/>
              <a:gd name="connsiteY0" fmla="*/ 6807052 h 25013631"/>
              <a:gd name="connsiteX1" fmla="*/ 26679167 w 26679167"/>
              <a:gd name="connsiteY1" fmla="*/ 25013631 h 25013631"/>
              <a:gd name="connsiteX2" fmla="*/ 2362408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362407 w 26679167"/>
              <a:gd name="connsiteY2" fmla="*/ 22299100 h 25013631"/>
              <a:gd name="connsiteX3" fmla="*/ 0 w 26679167"/>
              <a:gd name="connsiteY3" fmla="*/ 0 h 25013631"/>
              <a:gd name="connsiteX4" fmla="*/ 23282865 w 26679167"/>
              <a:gd name="connsiteY4" fmla="*/ 6807052 h 25013631"/>
              <a:gd name="connsiteX0" fmla="*/ 23282865 w 26679167"/>
              <a:gd name="connsiteY0" fmla="*/ 6807052 h 25013631"/>
              <a:gd name="connsiteX1" fmla="*/ 26679167 w 26679167"/>
              <a:gd name="connsiteY1" fmla="*/ 25013631 h 25013631"/>
              <a:gd name="connsiteX2" fmla="*/ 2288384 w 26679167"/>
              <a:gd name="connsiteY2" fmla="*/ 22447145 h 25013631"/>
              <a:gd name="connsiteX3" fmla="*/ 0 w 26679167"/>
              <a:gd name="connsiteY3" fmla="*/ 0 h 25013631"/>
              <a:gd name="connsiteX4" fmla="*/ 23282865 w 26679167"/>
              <a:gd name="connsiteY4" fmla="*/ 6807052 h 25013631"/>
              <a:gd name="connsiteX0" fmla="*/ 29001318 w 32397620"/>
              <a:gd name="connsiteY0" fmla="*/ 6807052 h 25013631"/>
              <a:gd name="connsiteX1" fmla="*/ 32397620 w 32397620"/>
              <a:gd name="connsiteY1" fmla="*/ 25013631 h 25013631"/>
              <a:gd name="connsiteX2" fmla="*/ 0 w 32397620"/>
              <a:gd name="connsiteY2" fmla="*/ 21922106 h 25013631"/>
              <a:gd name="connsiteX3" fmla="*/ 5718453 w 32397620"/>
              <a:gd name="connsiteY3" fmla="*/ 0 h 25013631"/>
              <a:gd name="connsiteX4" fmla="*/ 29001318 w 32397620"/>
              <a:gd name="connsiteY4" fmla="*/ 6807052 h 25013631"/>
              <a:gd name="connsiteX0" fmla="*/ 29001318 w 39616899"/>
              <a:gd name="connsiteY0" fmla="*/ 6807052 h 21922106"/>
              <a:gd name="connsiteX1" fmla="*/ 39616899 w 39616899"/>
              <a:gd name="connsiteY1" fmla="*/ 21600881 h 21922106"/>
              <a:gd name="connsiteX2" fmla="*/ 0 w 39616899"/>
              <a:gd name="connsiteY2" fmla="*/ 21922106 h 21922106"/>
              <a:gd name="connsiteX3" fmla="*/ 5718453 w 39616899"/>
              <a:gd name="connsiteY3" fmla="*/ 0 h 21922106"/>
              <a:gd name="connsiteX4" fmla="*/ 29001318 w 39616899"/>
              <a:gd name="connsiteY4" fmla="*/ 6807052 h 21922106"/>
              <a:gd name="connsiteX0" fmla="*/ 45671292 w 45671292"/>
              <a:gd name="connsiteY0" fmla="*/ 0 h 35197774"/>
              <a:gd name="connsiteX1" fmla="*/ 39616899 w 45671292"/>
              <a:gd name="connsiteY1" fmla="*/ 34876549 h 35197774"/>
              <a:gd name="connsiteX2" fmla="*/ 0 w 45671292"/>
              <a:gd name="connsiteY2" fmla="*/ 35197774 h 35197774"/>
              <a:gd name="connsiteX3" fmla="*/ 5718453 w 45671292"/>
              <a:gd name="connsiteY3" fmla="*/ 13275668 h 35197774"/>
              <a:gd name="connsiteX4" fmla="*/ 45671292 w 45671292"/>
              <a:gd name="connsiteY4" fmla="*/ 0 h 35197774"/>
              <a:gd name="connsiteX0" fmla="*/ 45671292 w 45671292"/>
              <a:gd name="connsiteY0" fmla="*/ 0 h 35197774"/>
              <a:gd name="connsiteX1" fmla="*/ 39616899 w 45671292"/>
              <a:gd name="connsiteY1" fmla="*/ 3487654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45671292 w 45671292"/>
              <a:gd name="connsiteY0" fmla="*/ 0 h 35197774"/>
              <a:gd name="connsiteX1" fmla="*/ 39879418 w 45671292"/>
              <a:gd name="connsiteY1" fmla="*/ 35007809 h 35197774"/>
              <a:gd name="connsiteX2" fmla="*/ 0 w 45671292"/>
              <a:gd name="connsiteY2" fmla="*/ 35197774 h 35197774"/>
              <a:gd name="connsiteX3" fmla="*/ 6112232 w 45671292"/>
              <a:gd name="connsiteY3" fmla="*/ 5400092 h 35197774"/>
              <a:gd name="connsiteX4" fmla="*/ 45671292 w 45671292"/>
              <a:gd name="connsiteY4" fmla="*/ 0 h 35197774"/>
              <a:gd name="connsiteX0" fmla="*/ 55121984 w 55121984"/>
              <a:gd name="connsiteY0" fmla="*/ 0 h 50686411"/>
              <a:gd name="connsiteX1" fmla="*/ 49330110 w 55121984"/>
              <a:gd name="connsiteY1" fmla="*/ 35007809 h 50686411"/>
              <a:gd name="connsiteX2" fmla="*/ 0 w 55121984"/>
              <a:gd name="connsiteY2" fmla="*/ 50686411 h 50686411"/>
              <a:gd name="connsiteX3" fmla="*/ 15562924 w 55121984"/>
              <a:gd name="connsiteY3" fmla="*/ 5400092 h 50686411"/>
              <a:gd name="connsiteX4" fmla="*/ 55121984 w 55121984"/>
              <a:gd name="connsiteY4" fmla="*/ 0 h 50686411"/>
              <a:gd name="connsiteX0" fmla="*/ 55121984 w 55121984"/>
              <a:gd name="connsiteY0" fmla="*/ 0 h 51284000"/>
              <a:gd name="connsiteX1" fmla="*/ 33578957 w 55121984"/>
              <a:gd name="connsiteY1" fmla="*/ 51284000 h 51284000"/>
              <a:gd name="connsiteX2" fmla="*/ 0 w 55121984"/>
              <a:gd name="connsiteY2" fmla="*/ 50686411 h 51284000"/>
              <a:gd name="connsiteX3" fmla="*/ 15562924 w 55121984"/>
              <a:gd name="connsiteY3" fmla="*/ 5400092 h 51284000"/>
              <a:gd name="connsiteX4" fmla="*/ 55121984 w 55121984"/>
              <a:gd name="connsiteY4" fmla="*/ 0 h 51284000"/>
              <a:gd name="connsiteX0" fmla="*/ 33595407 w 33595407"/>
              <a:gd name="connsiteY0" fmla="*/ 19801751 h 45883908"/>
              <a:gd name="connsiteX1" fmla="*/ 33578957 w 33595407"/>
              <a:gd name="connsiteY1" fmla="*/ 45883908 h 45883908"/>
              <a:gd name="connsiteX2" fmla="*/ 0 w 33595407"/>
              <a:gd name="connsiteY2" fmla="*/ 45286319 h 45883908"/>
              <a:gd name="connsiteX3" fmla="*/ 15562924 w 33595407"/>
              <a:gd name="connsiteY3" fmla="*/ 0 h 45883908"/>
              <a:gd name="connsiteX4" fmla="*/ 33595407 w 33595407"/>
              <a:gd name="connsiteY4" fmla="*/ 19801751 h 45883908"/>
              <a:gd name="connsiteX0" fmla="*/ 33595407 w 33595407"/>
              <a:gd name="connsiteY0" fmla="*/ 5100676 h 31182833"/>
              <a:gd name="connsiteX1" fmla="*/ 33578957 w 33595407"/>
              <a:gd name="connsiteY1" fmla="*/ 31182833 h 31182833"/>
              <a:gd name="connsiteX2" fmla="*/ 0 w 33595407"/>
              <a:gd name="connsiteY2" fmla="*/ 30585244 h 31182833"/>
              <a:gd name="connsiteX3" fmla="*/ 74290 w 33595407"/>
              <a:gd name="connsiteY3" fmla="*/ 0 h 31182833"/>
              <a:gd name="connsiteX4" fmla="*/ 33595407 w 33595407"/>
              <a:gd name="connsiteY4" fmla="*/ 5100676 h 3118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5407" h="31182833">
                <a:moveTo>
                  <a:pt x="33595407" y="5100676"/>
                </a:moveTo>
                <a:cubicBezTo>
                  <a:pt x="33589924" y="13794728"/>
                  <a:pt x="33584440" y="22488781"/>
                  <a:pt x="33578957" y="31182833"/>
                </a:cubicBezTo>
                <a:lnTo>
                  <a:pt x="0" y="30585244"/>
                </a:lnTo>
                <a:lnTo>
                  <a:pt x="74290" y="0"/>
                </a:lnTo>
                <a:lnTo>
                  <a:pt x="33595407" y="5100676"/>
                </a:lnTo>
                <a:close/>
              </a:path>
            </a:pathLst>
          </a:custGeom>
        </p:spPr>
        <p:txBody>
          <a:bodyPr/>
          <a:lstStyle/>
          <a:p>
            <a:endParaRPr lang="en-US"/>
          </a:p>
        </p:txBody>
      </p:sp>
    </p:spTree>
    <p:extLst>
      <p:ext uri="{BB962C8B-B14F-4D97-AF65-F5344CB8AC3E}">
        <p14:creationId xmlns:p14="http://schemas.microsoft.com/office/powerpoint/2010/main" val="492344697"/>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452423"/>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452423"/>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10" hasCustomPrompt="1"/>
          </p:nvPr>
        </p:nvSpPr>
        <p:spPr>
          <a:xfrm>
            <a:off x="914400" y="933451"/>
            <a:ext cx="10363200" cy="406400"/>
          </a:xfrm>
        </p:spPr>
        <p:txBody>
          <a:bodyPr>
            <a:normAutofit/>
          </a:bodyPr>
          <a:lstStyle>
            <a:lvl1pPr marL="0" indent="0" algn="ctr">
              <a:lnSpc>
                <a:spcPct val="86000"/>
              </a:lnSpc>
              <a:spcBef>
                <a:spcPts val="0"/>
              </a:spcBef>
              <a:buNone/>
              <a:defRPr sz="1351" baseline="0"/>
            </a:lvl1pPr>
          </a:lstStyle>
          <a:p>
            <a:pPr lvl="0"/>
            <a:r>
              <a:rPr lang="en-US" dirty="0"/>
              <a:t>Click here to edit subtitle</a:t>
            </a:r>
          </a:p>
        </p:txBody>
      </p:sp>
    </p:spTree>
    <p:extLst>
      <p:ext uri="{BB962C8B-B14F-4D97-AF65-F5344CB8AC3E}">
        <p14:creationId xmlns:p14="http://schemas.microsoft.com/office/powerpoint/2010/main" val="9200237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ig Image Placeholder">
    <p:spTree>
      <p:nvGrpSpPr>
        <p:cNvPr id="1" name=""/>
        <p:cNvGrpSpPr/>
        <p:nvPr/>
      </p:nvGrpSpPr>
      <p:grpSpPr>
        <a:xfrm>
          <a:off x="0" y="0"/>
          <a:ext cx="0" cy="0"/>
          <a:chOff x="0" y="0"/>
          <a:chExt cx="0" cy="0"/>
        </a:xfrm>
      </p:grpSpPr>
      <p:sp>
        <p:nvSpPr>
          <p:cNvPr id="17" name="Picture Placeholder 13"/>
          <p:cNvSpPr>
            <a:spLocks noGrp="1" noChangeAspect="1"/>
          </p:cNvSpPr>
          <p:nvPr>
            <p:ph type="pic" sz="quarter" idx="13"/>
          </p:nvPr>
        </p:nvSpPr>
        <p:spPr>
          <a:xfrm>
            <a:off x="-1587" y="0"/>
            <a:ext cx="12192000" cy="6858000"/>
          </a:xfrm>
          <a:effectLst/>
        </p:spPr>
        <p:txBody>
          <a:bodyPr>
            <a:normAutofit/>
          </a:bodyPr>
          <a:lstStyle>
            <a:lvl1pPr marL="0" indent="0">
              <a:buNone/>
              <a:defRPr sz="1575">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4048618986"/>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spd="slow" advClick="0" advTm="3000">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09_Picture">
    <p:spTree>
      <p:nvGrpSpPr>
        <p:cNvPr id="1" name=""/>
        <p:cNvGrpSpPr/>
        <p:nvPr/>
      </p:nvGrpSpPr>
      <p:grpSpPr>
        <a:xfrm>
          <a:off x="0" y="0"/>
          <a:ext cx="0" cy="0"/>
          <a:chOff x="0" y="0"/>
          <a:chExt cx="0" cy="0"/>
        </a:xfrm>
      </p:grpSpPr>
      <p:sp>
        <p:nvSpPr>
          <p:cNvPr id="9" name="TextBox 8"/>
          <p:cNvSpPr txBox="1"/>
          <p:nvPr userDrawn="1"/>
        </p:nvSpPr>
        <p:spPr>
          <a:xfrm>
            <a:off x="399052" y="6394263"/>
            <a:ext cx="1308692" cy="230832"/>
          </a:xfrm>
          <a:prstGeom prst="rect">
            <a:avLst/>
          </a:prstGeom>
          <a:noFill/>
        </p:spPr>
        <p:txBody>
          <a:bodyPr wrap="none" rtlCol="0">
            <a:spAutoFit/>
          </a:bodyPr>
          <a:lstStyle/>
          <a:p>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
        <p:nvSpPr>
          <p:cNvPr id="3" name="Picture Placeholder 2"/>
          <p:cNvSpPr>
            <a:spLocks noGrp="1"/>
          </p:cNvSpPr>
          <p:nvPr>
            <p:ph type="pic" sz="quarter" idx="10"/>
          </p:nvPr>
        </p:nvSpPr>
        <p:spPr>
          <a:xfrm>
            <a:off x="0" y="1"/>
            <a:ext cx="12192000" cy="4010297"/>
          </a:xfr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219980806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Inhaltsplatzhalter 1"/>
          <p:cNvSpPr>
            <a:spLocks noGrp="1"/>
          </p:cNvSpPr>
          <p:nvPr>
            <p:ph idx="1"/>
          </p:nvPr>
        </p:nvSpPr>
        <p:spPr bwMode="gray">
          <a:xfrm>
            <a:off x="480002" y="1152001"/>
            <a:ext cx="5496983" cy="504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2"/>
          <p:cNvSpPr>
            <a:spLocks noGrp="1"/>
          </p:cNvSpPr>
          <p:nvPr>
            <p:ph idx="13"/>
          </p:nvPr>
        </p:nvSpPr>
        <p:spPr bwMode="gray">
          <a:xfrm>
            <a:off x="6214795" y="1152001"/>
            <a:ext cx="5496000" cy="504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544288710"/>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iPad_Martik-feat">
    <p:spTree>
      <p:nvGrpSpPr>
        <p:cNvPr id="1" name=""/>
        <p:cNvGrpSpPr/>
        <p:nvPr/>
      </p:nvGrpSpPr>
      <p:grpSpPr>
        <a:xfrm>
          <a:off x="0" y="0"/>
          <a:ext cx="0" cy="0"/>
          <a:chOff x="0" y="0"/>
          <a:chExt cx="0" cy="0"/>
        </a:xfrm>
      </p:grpSpPr>
      <p:sp>
        <p:nvSpPr>
          <p:cNvPr id="18" name="Picture Placeholder 13"/>
          <p:cNvSpPr>
            <a:spLocks noGrp="1"/>
          </p:cNvSpPr>
          <p:nvPr>
            <p:ph type="pic" sz="quarter" idx="14"/>
          </p:nvPr>
        </p:nvSpPr>
        <p:spPr>
          <a:xfrm>
            <a:off x="6954067" y="1493887"/>
            <a:ext cx="3169191" cy="3976372"/>
          </a:xfrm>
          <a:prstGeom prst="rect">
            <a:avLst/>
          </a:prstGeom>
          <a:effectLst/>
        </p:spPr>
        <p:txBody>
          <a:bodyPr>
            <a:norm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215699148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21907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540073" y="432000"/>
            <a:ext cx="11111047" cy="1080000"/>
          </a:xfrm>
        </p:spPr>
        <p:txBody>
          <a:bodyPr/>
          <a:lstStyle/>
          <a:p>
            <a:r>
              <a:rPr lang="en-US" dirty="0"/>
              <a:t>Click to edit Master title style</a:t>
            </a:r>
          </a:p>
        </p:txBody>
      </p:sp>
      <p:sp>
        <p:nvSpPr>
          <p:cNvPr id="8" name="Subline"/>
          <p:cNvSpPr>
            <a:spLocks noGrp="1"/>
          </p:cNvSpPr>
          <p:nvPr>
            <p:ph type="body" sz="quarter" idx="13" hasCustomPrompt="1"/>
          </p:nvPr>
        </p:nvSpPr>
        <p:spPr>
          <a:xfrm>
            <a:off x="540073"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Content 1"/>
          <p:cNvSpPr>
            <a:spLocks noGrp="1"/>
          </p:cNvSpPr>
          <p:nvPr>
            <p:ph sz="half" idx="1"/>
          </p:nvPr>
        </p:nvSpPr>
        <p:spPr>
          <a:xfrm>
            <a:off x="540071" y="1512000"/>
            <a:ext cx="5346696" cy="4298400"/>
          </a:xfrm>
        </p:spPr>
        <p:txBody>
          <a:bodyPr/>
          <a:lstStyle>
            <a:lvl1pPr>
              <a:defRPr sz="1651"/>
            </a:lvl1pPr>
            <a:lvl2pPr>
              <a:defRPr sz="1500"/>
            </a:lvl2pPr>
            <a:lvl3pPr>
              <a:defRPr sz="1351"/>
            </a:lvl3pPr>
            <a:lvl4pPr>
              <a:defRPr sz="1200"/>
            </a:lvl4pPr>
            <a:lvl5pPr>
              <a:defRPr sz="1200"/>
            </a:lvl5pPr>
            <a:lvl6pPr>
              <a:defRPr sz="1351"/>
            </a:lvl6pPr>
            <a:lvl7pPr>
              <a:defRPr sz="1351"/>
            </a:lvl7pPr>
            <a:lvl8pPr>
              <a:defRPr sz="1351"/>
            </a:lvl8pPr>
            <a:lvl9pPr>
              <a:defRPr sz="135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2"/>
          <p:cNvSpPr>
            <a:spLocks noGrp="1"/>
          </p:cNvSpPr>
          <p:nvPr>
            <p:ph sz="half" idx="2"/>
          </p:nvPr>
        </p:nvSpPr>
        <p:spPr>
          <a:xfrm>
            <a:off x="6304420" y="1512000"/>
            <a:ext cx="5346696" cy="4298400"/>
          </a:xfrm>
        </p:spPr>
        <p:txBody>
          <a:bodyPr/>
          <a:lstStyle>
            <a:lvl1pPr>
              <a:defRPr sz="1651"/>
            </a:lvl1pPr>
            <a:lvl2pPr>
              <a:defRPr sz="1500"/>
            </a:lvl2pPr>
            <a:lvl3pPr>
              <a:defRPr sz="1351"/>
            </a:lvl3pPr>
            <a:lvl4pPr>
              <a:defRPr sz="1200"/>
            </a:lvl4pPr>
            <a:lvl5pPr>
              <a:defRPr sz="1200"/>
            </a:lvl5pPr>
            <a:lvl6pPr>
              <a:defRPr sz="1351"/>
            </a:lvl6pPr>
            <a:lvl7pPr>
              <a:defRPr sz="1351"/>
            </a:lvl7pPr>
            <a:lvl8pPr>
              <a:defRPr sz="1351"/>
            </a:lvl8pPr>
            <a:lvl9pPr>
              <a:defRPr sz="135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p:txBody>
          <a:bodyPr/>
          <a:lstStyle/>
          <a:p>
            <a:fld id="{27FC3DAB-407D-4279-8EB6-232635B61438}" type="datetimeFigureOut">
              <a:rPr lang="en-US" smtClean="0"/>
              <a:t>10/8/25</a:t>
            </a:fld>
            <a:endParaRPr lang="en-US" dirty="0"/>
          </a:p>
        </p:txBody>
      </p:sp>
      <p:sp>
        <p:nvSpPr>
          <p:cNvPr id="6" name="Footer"/>
          <p:cNvSpPr>
            <a:spLocks noGrp="1"/>
          </p:cNvSpPr>
          <p:nvPr>
            <p:ph type="ftr" sz="quarter" idx="11"/>
          </p:nvPr>
        </p:nvSpPr>
        <p:spPr/>
        <p:txBody>
          <a:bodyPr/>
          <a:lstStyle/>
          <a:p>
            <a:endParaRPr lang="en-US" dirty="0"/>
          </a:p>
        </p:txBody>
      </p:sp>
      <p:sp>
        <p:nvSpPr>
          <p:cNvPr id="7"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217913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ig_Picture_place-holder">
    <p:spTree>
      <p:nvGrpSpPr>
        <p:cNvPr id="1" name=""/>
        <p:cNvGrpSpPr/>
        <p:nvPr/>
      </p:nvGrpSpPr>
      <p:grpSpPr>
        <a:xfrm>
          <a:off x="0" y="0"/>
          <a:ext cx="0" cy="0"/>
          <a:chOff x="0" y="0"/>
          <a:chExt cx="0" cy="0"/>
        </a:xfrm>
      </p:grpSpPr>
      <p:sp>
        <p:nvSpPr>
          <p:cNvPr id="9" name="Picture Placeholder 22"/>
          <p:cNvSpPr>
            <a:spLocks noGrp="1"/>
          </p:cNvSpPr>
          <p:nvPr>
            <p:ph type="pic" sz="quarter" idx="13"/>
          </p:nvPr>
        </p:nvSpPr>
        <p:spPr>
          <a:xfrm>
            <a:off x="0" y="-1"/>
            <a:ext cx="12203144" cy="6858001"/>
          </a:xfrm>
        </p:spPr>
        <p:txBody>
          <a:bodyPr>
            <a:normAutofit/>
          </a:bodyPr>
          <a:lstStyle>
            <a:lvl1pPr marL="0" indent="0">
              <a:buNone/>
              <a:defRPr sz="1200">
                <a:latin typeface="Lato Light"/>
                <a:cs typeface="Lato Light"/>
              </a:defRPr>
            </a:lvl1pPr>
          </a:lstStyle>
          <a:p>
            <a:endParaRPr lang="id-ID" dirty="0"/>
          </a:p>
        </p:txBody>
      </p:sp>
    </p:spTree>
    <p:extLst>
      <p:ext uri="{BB962C8B-B14F-4D97-AF65-F5344CB8AC3E}">
        <p14:creationId xmlns:p14="http://schemas.microsoft.com/office/powerpoint/2010/main" val="1053490653"/>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7_Title Slide">
    <p:spTree>
      <p:nvGrpSpPr>
        <p:cNvPr id="1" name=""/>
        <p:cNvGrpSpPr/>
        <p:nvPr/>
      </p:nvGrpSpPr>
      <p:grpSpPr>
        <a:xfrm>
          <a:off x="0" y="0"/>
          <a:ext cx="0" cy="0"/>
          <a:chOff x="0" y="0"/>
          <a:chExt cx="0" cy="0"/>
        </a:xfrm>
      </p:grpSpPr>
      <p:sp>
        <p:nvSpPr>
          <p:cNvPr id="9" name="Picture Placeholder 2"/>
          <p:cNvSpPr>
            <a:spLocks noGrp="1" noChangeAspect="1"/>
          </p:cNvSpPr>
          <p:nvPr>
            <p:ph type="pic" sz="quarter" idx="25"/>
          </p:nvPr>
        </p:nvSpPr>
        <p:spPr>
          <a:xfrm>
            <a:off x="4218188" y="2304959"/>
            <a:ext cx="3340603" cy="1531908"/>
          </a:xfrm>
        </p:spPr>
        <p:txBody>
          <a:bodyPr anchor="t">
            <a:normAutofit/>
          </a:bodyPr>
          <a:lstStyle>
            <a:lvl1pPr marL="0" indent="0" algn="ctr">
              <a:buNone/>
              <a:defRPr sz="825">
                <a:latin typeface="Lato Light"/>
                <a:cs typeface="Lato Light"/>
              </a:defRPr>
            </a:lvl1pPr>
          </a:lstStyle>
          <a:p>
            <a:endParaRPr lang="id-ID" dirty="0"/>
          </a:p>
        </p:txBody>
      </p:sp>
      <p:sp>
        <p:nvSpPr>
          <p:cNvPr id="17" name="Picture Placeholder 2"/>
          <p:cNvSpPr>
            <a:spLocks noGrp="1" noChangeAspect="1"/>
          </p:cNvSpPr>
          <p:nvPr>
            <p:ph type="pic" sz="quarter" idx="22"/>
          </p:nvPr>
        </p:nvSpPr>
        <p:spPr>
          <a:xfrm>
            <a:off x="2697764" y="3825764"/>
            <a:ext cx="458888" cy="651283"/>
          </a:xfrm>
        </p:spPr>
        <p:txBody>
          <a:bodyPr anchor="t">
            <a:normAutofit/>
          </a:bodyPr>
          <a:lstStyle>
            <a:lvl1pPr marL="0" indent="0" algn="ctr">
              <a:lnSpc>
                <a:spcPct val="50000"/>
              </a:lnSpc>
              <a:buNone/>
              <a:defRPr sz="395">
                <a:latin typeface="Lato Light"/>
                <a:cs typeface="Lato Light"/>
              </a:defRPr>
            </a:lvl1pPr>
          </a:lstStyle>
          <a:p>
            <a:endParaRPr lang="id-ID" dirty="0"/>
          </a:p>
        </p:txBody>
      </p:sp>
      <p:sp>
        <p:nvSpPr>
          <p:cNvPr id="10" name="Picture Placeholder 2"/>
          <p:cNvSpPr>
            <a:spLocks noGrp="1" noChangeAspect="1"/>
          </p:cNvSpPr>
          <p:nvPr>
            <p:ph type="pic" sz="quarter" idx="26"/>
          </p:nvPr>
        </p:nvSpPr>
        <p:spPr>
          <a:xfrm>
            <a:off x="7080920" y="3381184"/>
            <a:ext cx="2127997" cy="1077213"/>
          </a:xfrm>
        </p:spPr>
        <p:txBody>
          <a:bodyPr anchor="t">
            <a:normAutofit/>
          </a:bodyPr>
          <a:lstStyle>
            <a:lvl1pPr marL="0" indent="0" algn="ctr">
              <a:buNone/>
              <a:defRPr sz="751">
                <a:latin typeface="Lato Light"/>
                <a:cs typeface="Lato Light"/>
              </a:defRPr>
            </a:lvl1pPr>
          </a:lstStyle>
          <a:p>
            <a:endParaRPr lang="id-ID" dirty="0"/>
          </a:p>
        </p:txBody>
      </p:sp>
      <p:sp>
        <p:nvSpPr>
          <p:cNvPr id="8" name="Picture Placeholder 2"/>
          <p:cNvSpPr>
            <a:spLocks noGrp="1" noChangeAspect="1"/>
          </p:cNvSpPr>
          <p:nvPr>
            <p:ph type="pic" sz="quarter" idx="24"/>
          </p:nvPr>
        </p:nvSpPr>
        <p:spPr>
          <a:xfrm>
            <a:off x="3328413" y="3290009"/>
            <a:ext cx="1120827" cy="1168387"/>
          </a:xfrm>
        </p:spPr>
        <p:txBody>
          <a:bodyPr anchor="t">
            <a:normAutofit/>
          </a:bodyPr>
          <a:lstStyle>
            <a:lvl1pPr marL="0" indent="0" algn="ctr">
              <a:buNone/>
              <a:defRPr sz="751">
                <a:latin typeface="Lato Light"/>
                <a:cs typeface="Lato Light"/>
              </a:defRPr>
            </a:lvl1pPr>
          </a:lstStyle>
          <a:p>
            <a:endParaRPr lang="id-ID" dirty="0"/>
          </a:p>
        </p:txBody>
      </p:sp>
    </p:spTree>
    <p:extLst>
      <p:ext uri="{BB962C8B-B14F-4D97-AF65-F5344CB8AC3E}">
        <p14:creationId xmlns:p14="http://schemas.microsoft.com/office/powerpoint/2010/main" val="2481168755"/>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Facebook vs Twitter Desktop">
    <p:spTree>
      <p:nvGrpSpPr>
        <p:cNvPr id="1" name=""/>
        <p:cNvGrpSpPr/>
        <p:nvPr/>
      </p:nvGrpSpPr>
      <p:grpSpPr>
        <a:xfrm>
          <a:off x="0" y="0"/>
          <a:ext cx="0" cy="0"/>
          <a:chOff x="0" y="0"/>
          <a:chExt cx="0" cy="0"/>
        </a:xfrm>
      </p:grpSpPr>
      <p:sp>
        <p:nvSpPr>
          <p:cNvPr id="17" name="Picture Placeholder 13"/>
          <p:cNvSpPr>
            <a:spLocks noGrp="1"/>
          </p:cNvSpPr>
          <p:nvPr>
            <p:ph type="pic" sz="quarter" idx="22"/>
          </p:nvPr>
        </p:nvSpPr>
        <p:spPr>
          <a:xfrm>
            <a:off x="6787380" y="2499505"/>
            <a:ext cx="4134989" cy="2310056"/>
          </a:xfrm>
          <a:prstGeom prst="rect">
            <a:avLst/>
          </a:prstGeom>
          <a:effectLst/>
        </p:spPr>
        <p:txBody>
          <a:bodyPr>
            <a:normAutofit/>
          </a:bodyPr>
          <a:lstStyle>
            <a:lvl1pPr marL="0" indent="0">
              <a:buNone/>
              <a:defRPr sz="975" b="0" i="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2341829673"/>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iPad App Compares">
    <p:spTree>
      <p:nvGrpSpPr>
        <p:cNvPr id="1" name=""/>
        <p:cNvGrpSpPr/>
        <p:nvPr/>
      </p:nvGrpSpPr>
      <p:grpSpPr>
        <a:xfrm>
          <a:off x="0" y="0"/>
          <a:ext cx="0" cy="0"/>
          <a:chOff x="0" y="0"/>
          <a:chExt cx="0" cy="0"/>
        </a:xfrm>
      </p:grpSpPr>
      <p:sp>
        <p:nvSpPr>
          <p:cNvPr id="18" name="Picture Placeholder 13"/>
          <p:cNvSpPr>
            <a:spLocks noGrp="1"/>
          </p:cNvSpPr>
          <p:nvPr>
            <p:ph type="pic" sz="quarter" idx="22"/>
          </p:nvPr>
        </p:nvSpPr>
        <p:spPr>
          <a:xfrm>
            <a:off x="4756952" y="2166311"/>
            <a:ext cx="2739365" cy="3448361"/>
          </a:xfrm>
          <a:prstGeom prst="rect">
            <a:avLst/>
          </a:prstGeom>
          <a:effectLst/>
        </p:spPr>
        <p:txBody>
          <a:bodyPr>
            <a:normAutofit/>
          </a:bodyPr>
          <a:lstStyle>
            <a:lvl1pPr marL="0" indent="0">
              <a:buNone/>
              <a:defRPr sz="975" b="0" i="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36874046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2" name="TextBox 1"/>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3" name="TextBox 2"/>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
        <p:nvSpPr>
          <p:cNvPr id="9" name="Picture Placeholder 8"/>
          <p:cNvSpPr>
            <a:spLocks noGrp="1"/>
          </p:cNvSpPr>
          <p:nvPr>
            <p:ph type="pic" sz="quarter" idx="10"/>
          </p:nvPr>
        </p:nvSpPr>
        <p:spPr>
          <a:xfrm>
            <a:off x="1093681" y="506862"/>
            <a:ext cx="10825551" cy="3811116"/>
          </a:xfrm>
          <a:custGeom>
            <a:avLst/>
            <a:gdLst>
              <a:gd name="connsiteX0" fmla="*/ 10101831 w 10825551"/>
              <a:gd name="connsiteY0" fmla="*/ 3554463 h 3811116"/>
              <a:gd name="connsiteX1" fmla="*/ 10092648 w 10825551"/>
              <a:gd name="connsiteY1" fmla="*/ 3557042 h 3811116"/>
              <a:gd name="connsiteX2" fmla="*/ 10088531 w 10825551"/>
              <a:gd name="connsiteY2" fmla="*/ 3557463 h 3811116"/>
              <a:gd name="connsiteX3" fmla="*/ 10461895 w 10825551"/>
              <a:gd name="connsiteY3" fmla="*/ 3478800 h 3811116"/>
              <a:gd name="connsiteX4" fmla="*/ 10454783 w 10825551"/>
              <a:gd name="connsiteY4" fmla="*/ 3483091 h 3811116"/>
              <a:gd name="connsiteX5" fmla="*/ 10443294 w 10825551"/>
              <a:gd name="connsiteY5" fmla="*/ 3487614 h 3811116"/>
              <a:gd name="connsiteX6" fmla="*/ 10151772 w 10825551"/>
              <a:gd name="connsiteY6" fmla="*/ 3552611 h 3811116"/>
              <a:gd name="connsiteX7" fmla="*/ 10155870 w 10825551"/>
              <a:gd name="connsiteY7" fmla="*/ 3542270 h 3811116"/>
              <a:gd name="connsiteX8" fmla="*/ 10101831 w 10825551"/>
              <a:gd name="connsiteY8" fmla="*/ 3554463 h 3811116"/>
              <a:gd name="connsiteX9" fmla="*/ 10112039 w 10825551"/>
              <a:gd name="connsiteY9" fmla="*/ 3551595 h 3811116"/>
              <a:gd name="connsiteX10" fmla="*/ 10128357 w 10825551"/>
              <a:gd name="connsiteY10" fmla="*/ 3542270 h 3811116"/>
              <a:gd name="connsiteX11" fmla="*/ 10384170 w 10825551"/>
              <a:gd name="connsiteY11" fmla="*/ 3487614 h 3811116"/>
              <a:gd name="connsiteX12" fmla="*/ 10425440 w 10825551"/>
              <a:gd name="connsiteY12" fmla="*/ 3484753 h 3811116"/>
              <a:gd name="connsiteX13" fmla="*/ 10463198 w 10825551"/>
              <a:gd name="connsiteY13" fmla="*/ 3478013 h 3811116"/>
              <a:gd name="connsiteX14" fmla="*/ 10466711 w 10825551"/>
              <a:gd name="connsiteY14" fmla="*/ 3478013 h 3811116"/>
              <a:gd name="connsiteX15" fmla="*/ 10461895 w 10825551"/>
              <a:gd name="connsiteY15" fmla="*/ 3478800 h 3811116"/>
              <a:gd name="connsiteX16" fmla="*/ 9751777 w 10825551"/>
              <a:gd name="connsiteY16" fmla="*/ 3437743 h 3811116"/>
              <a:gd name="connsiteX17" fmla="*/ 9698464 w 10825551"/>
              <a:gd name="connsiteY17" fmla="*/ 3446254 h 3811116"/>
              <a:gd name="connsiteX18" fmla="*/ 9691082 w 10825551"/>
              <a:gd name="connsiteY18" fmla="*/ 3447236 h 3811116"/>
              <a:gd name="connsiteX19" fmla="*/ 9744124 w 10825551"/>
              <a:gd name="connsiteY19" fmla="*/ 3438683 h 3811116"/>
              <a:gd name="connsiteX20" fmla="*/ 9842632 w 10825551"/>
              <a:gd name="connsiteY20" fmla="*/ 3423237 h 3811116"/>
              <a:gd name="connsiteX21" fmla="*/ 9832735 w 10825551"/>
              <a:gd name="connsiteY21" fmla="*/ 3427789 h 3811116"/>
              <a:gd name="connsiteX22" fmla="*/ 9751777 w 10825551"/>
              <a:gd name="connsiteY22" fmla="*/ 3437743 h 3811116"/>
              <a:gd name="connsiteX23" fmla="*/ 9860834 w 10825551"/>
              <a:gd name="connsiteY23" fmla="*/ 3418187 h 3811116"/>
              <a:gd name="connsiteX24" fmla="*/ 9864437 w 10825551"/>
              <a:gd name="connsiteY24" fmla="*/ 3419756 h 3811116"/>
              <a:gd name="connsiteX25" fmla="*/ 9842632 w 10825551"/>
              <a:gd name="connsiteY25" fmla="*/ 3423237 h 3811116"/>
              <a:gd name="connsiteX26" fmla="*/ 9846786 w 10825551"/>
              <a:gd name="connsiteY26" fmla="*/ 3421327 h 3811116"/>
              <a:gd name="connsiteX27" fmla="*/ 9860834 w 10825551"/>
              <a:gd name="connsiteY27" fmla="*/ 3418187 h 3811116"/>
              <a:gd name="connsiteX28" fmla="*/ 10049478 w 10825551"/>
              <a:gd name="connsiteY28" fmla="*/ 3387324 h 3811116"/>
              <a:gd name="connsiteX29" fmla="*/ 10045524 w 10825551"/>
              <a:gd name="connsiteY29" fmla="*/ 3389198 h 3811116"/>
              <a:gd name="connsiteX30" fmla="*/ 10030014 w 10825551"/>
              <a:gd name="connsiteY30" fmla="*/ 3398246 h 3811116"/>
              <a:gd name="connsiteX31" fmla="*/ 9946887 w 10825551"/>
              <a:gd name="connsiteY31" fmla="*/ 3413017 h 3811116"/>
              <a:gd name="connsiteX32" fmla="*/ 9887763 w 10825551"/>
              <a:gd name="connsiteY32" fmla="*/ 3423358 h 3811116"/>
              <a:gd name="connsiteX33" fmla="*/ 9871225 w 10825551"/>
              <a:gd name="connsiteY33" fmla="*/ 3422712 h 3811116"/>
              <a:gd name="connsiteX34" fmla="*/ 9864437 w 10825551"/>
              <a:gd name="connsiteY34" fmla="*/ 3419756 h 3811116"/>
              <a:gd name="connsiteX35" fmla="*/ 9966790 w 10825551"/>
              <a:gd name="connsiteY35" fmla="*/ 3403415 h 3811116"/>
              <a:gd name="connsiteX36" fmla="*/ 10076795 w 10825551"/>
              <a:gd name="connsiteY36" fmla="*/ 3382009 h 3811116"/>
              <a:gd name="connsiteX37" fmla="*/ 10049478 w 10825551"/>
              <a:gd name="connsiteY37" fmla="*/ 3387324 h 3811116"/>
              <a:gd name="connsiteX38" fmla="*/ 10054051 w 10825551"/>
              <a:gd name="connsiteY38" fmla="*/ 3385158 h 3811116"/>
              <a:gd name="connsiteX39" fmla="*/ 10061039 w 10825551"/>
              <a:gd name="connsiteY39" fmla="*/ 3383474 h 3811116"/>
              <a:gd name="connsiteX40" fmla="*/ 10490711 w 10825551"/>
              <a:gd name="connsiteY40" fmla="*/ 3229109 h 3811116"/>
              <a:gd name="connsiteX41" fmla="*/ 10494809 w 10825551"/>
              <a:gd name="connsiteY41" fmla="*/ 3229109 h 3811116"/>
              <a:gd name="connsiteX42" fmla="*/ 10491060 w 10825551"/>
              <a:gd name="connsiteY42" fmla="*/ 3230041 h 3811116"/>
              <a:gd name="connsiteX43" fmla="*/ 10798040 w 10825551"/>
              <a:gd name="connsiteY43" fmla="*/ 3219507 h 3811116"/>
              <a:gd name="connsiteX44" fmla="*/ 10636472 w 10825551"/>
              <a:gd name="connsiteY44" fmla="*/ 3274163 h 3811116"/>
              <a:gd name="connsiteX45" fmla="*/ 10608959 w 10825551"/>
              <a:gd name="connsiteY45" fmla="*/ 3294105 h 3811116"/>
              <a:gd name="connsiteX46" fmla="*/ 10632374 w 10825551"/>
              <a:gd name="connsiteY46" fmla="*/ 3294105 h 3811116"/>
              <a:gd name="connsiteX47" fmla="*/ 10529933 w 10825551"/>
              <a:gd name="connsiteY47" fmla="*/ 3319217 h 3811116"/>
              <a:gd name="connsiteX48" fmla="*/ 10525835 w 10825551"/>
              <a:gd name="connsiteY48" fmla="*/ 3314047 h 3811116"/>
              <a:gd name="connsiteX49" fmla="*/ 10392366 w 10825551"/>
              <a:gd name="connsiteY49" fmla="*/ 3339158 h 3811116"/>
              <a:gd name="connsiteX50" fmla="*/ 10404074 w 10825551"/>
              <a:gd name="connsiteY50" fmla="*/ 3323648 h 3811116"/>
              <a:gd name="connsiteX51" fmla="*/ 10399976 w 10825551"/>
              <a:gd name="connsiteY51" fmla="*/ 3323648 h 3811116"/>
              <a:gd name="connsiteX52" fmla="*/ 10285826 w 10825551"/>
              <a:gd name="connsiteY52" fmla="*/ 3343590 h 3811116"/>
              <a:gd name="connsiteX53" fmla="*/ 10281728 w 10825551"/>
              <a:gd name="connsiteY53" fmla="*/ 3339158 h 3811116"/>
              <a:gd name="connsiteX54" fmla="*/ 10238411 w 10825551"/>
              <a:gd name="connsiteY54" fmla="*/ 3348760 h 3811116"/>
              <a:gd name="connsiteX55" fmla="*/ 10116649 w 10825551"/>
              <a:gd name="connsiteY55" fmla="*/ 3378304 h 3811116"/>
              <a:gd name="connsiteX56" fmla="*/ 10093189 w 10825551"/>
              <a:gd name="connsiteY56" fmla="*/ 3380485 h 3811116"/>
              <a:gd name="connsiteX57" fmla="*/ 10076795 w 10825551"/>
              <a:gd name="connsiteY57" fmla="*/ 3382009 h 3811116"/>
              <a:gd name="connsiteX58" fmla="*/ 10097259 w 10825551"/>
              <a:gd name="connsiteY58" fmla="*/ 3378027 h 3811116"/>
              <a:gd name="connsiteX59" fmla="*/ 10230798 w 10825551"/>
              <a:gd name="connsiteY59" fmla="*/ 3348760 h 3811116"/>
              <a:gd name="connsiteX60" fmla="*/ 10494809 w 10825551"/>
              <a:gd name="connsiteY60" fmla="*/ 3294105 h 3811116"/>
              <a:gd name="connsiteX61" fmla="*/ 10534029 w 10825551"/>
              <a:gd name="connsiteY61" fmla="*/ 3268993 h 3811116"/>
              <a:gd name="connsiteX62" fmla="*/ 10049330 w 10825551"/>
              <a:gd name="connsiteY62" fmla="*/ 3368702 h 3811116"/>
              <a:gd name="connsiteX63" fmla="*/ 9565214 w 10825551"/>
              <a:gd name="connsiteY63" fmla="*/ 3443299 h 3811116"/>
              <a:gd name="connsiteX64" fmla="*/ 10030014 w 10825551"/>
              <a:gd name="connsiteY64" fmla="*/ 3368702 h 3811116"/>
              <a:gd name="connsiteX65" fmla="*/ 10175773 w 10825551"/>
              <a:gd name="connsiteY65" fmla="*/ 3333988 h 3811116"/>
              <a:gd name="connsiteX66" fmla="*/ 10214994 w 10825551"/>
              <a:gd name="connsiteY66" fmla="*/ 3308877 h 3811116"/>
              <a:gd name="connsiteX67" fmla="*/ 10144164 w 10825551"/>
              <a:gd name="connsiteY67" fmla="*/ 3308877 h 3811116"/>
              <a:gd name="connsiteX68" fmla="*/ 10326730 w 10825551"/>
              <a:gd name="connsiteY68" fmla="*/ 3270932 h 3811116"/>
              <a:gd name="connsiteX69" fmla="*/ 10491060 w 10825551"/>
              <a:gd name="connsiteY69" fmla="*/ 3230041 h 3811116"/>
              <a:gd name="connsiteX70" fmla="*/ 10495002 w 10825551"/>
              <a:gd name="connsiteY70" fmla="*/ 3240569 h 3811116"/>
              <a:gd name="connsiteX71" fmla="*/ 10596667 w 10825551"/>
              <a:gd name="connsiteY71" fmla="*/ 3244619 h 3811116"/>
              <a:gd name="connsiteX72" fmla="*/ 10798040 w 10825551"/>
              <a:gd name="connsiteY72" fmla="*/ 3219507 h 3811116"/>
              <a:gd name="connsiteX73" fmla="*/ 10144164 w 10825551"/>
              <a:gd name="connsiteY73" fmla="*/ 3130138 h 3811116"/>
              <a:gd name="connsiteX74" fmla="*/ 10151772 w 10825551"/>
              <a:gd name="connsiteY74" fmla="*/ 3130138 h 3811116"/>
              <a:gd name="connsiteX75" fmla="*/ 10142532 w 10825551"/>
              <a:gd name="connsiteY75" fmla="*/ 3130420 h 3811116"/>
              <a:gd name="connsiteX76" fmla="*/ 9845029 w 10825551"/>
              <a:gd name="connsiteY76" fmla="*/ 2807375 h 3811116"/>
              <a:gd name="connsiteX77" fmla="*/ 9817516 w 10825551"/>
              <a:gd name="connsiteY77" fmla="*/ 2811806 h 3811116"/>
              <a:gd name="connsiteX78" fmla="*/ 9813418 w 10825551"/>
              <a:gd name="connsiteY78" fmla="*/ 2822147 h 3811116"/>
              <a:gd name="connsiteX79" fmla="*/ 9829225 w 10825551"/>
              <a:gd name="connsiteY79" fmla="*/ 2822147 h 3811116"/>
              <a:gd name="connsiteX80" fmla="*/ 9845029 w 10825551"/>
              <a:gd name="connsiteY80" fmla="*/ 2807375 h 3811116"/>
              <a:gd name="connsiteX81" fmla="*/ 3339631 w 10825551"/>
              <a:gd name="connsiteY81" fmla="*/ 2767491 h 3811116"/>
              <a:gd name="connsiteX82" fmla="*/ 3394052 w 10825551"/>
              <a:gd name="connsiteY82" fmla="*/ 2788727 h 3811116"/>
              <a:gd name="connsiteX83" fmla="*/ 3382948 w 10825551"/>
              <a:gd name="connsiteY83" fmla="*/ 2785864 h 3811116"/>
              <a:gd name="connsiteX84" fmla="*/ 3339631 w 10825551"/>
              <a:gd name="connsiteY84" fmla="*/ 2767491 h 3811116"/>
              <a:gd name="connsiteX85" fmla="*/ 9482677 w 10825551"/>
              <a:gd name="connsiteY85" fmla="*/ 2762321 h 3811116"/>
              <a:gd name="connsiteX86" fmla="*/ 9364427 w 10825551"/>
              <a:gd name="connsiteY86" fmla="*/ 2782263 h 3811116"/>
              <a:gd name="connsiteX87" fmla="*/ 9356231 w 10825551"/>
              <a:gd name="connsiteY87" fmla="*/ 2787433 h 3811116"/>
              <a:gd name="connsiteX88" fmla="*/ 9537703 w 10825551"/>
              <a:gd name="connsiteY88" fmla="*/ 2787433 h 3811116"/>
              <a:gd name="connsiteX89" fmla="*/ 9427063 w 10825551"/>
              <a:gd name="connsiteY89" fmla="*/ 2807375 h 3811116"/>
              <a:gd name="connsiteX90" fmla="*/ 9486187 w 10825551"/>
              <a:gd name="connsiteY90" fmla="*/ 2802204 h 3811116"/>
              <a:gd name="connsiteX91" fmla="*/ 9470969 w 10825551"/>
              <a:gd name="connsiteY91" fmla="*/ 2811806 h 3811116"/>
              <a:gd name="connsiteX92" fmla="*/ 9588631 w 10825551"/>
              <a:gd name="connsiteY92" fmla="*/ 2791864 h 3811116"/>
              <a:gd name="connsiteX93" fmla="*/ 9624338 w 10825551"/>
              <a:gd name="connsiteY93" fmla="*/ 2771923 h 3811116"/>
              <a:gd name="connsiteX94" fmla="*/ 9482677 w 10825551"/>
              <a:gd name="connsiteY94" fmla="*/ 2762321 h 3811116"/>
              <a:gd name="connsiteX95" fmla="*/ 10018305 w 10825551"/>
              <a:gd name="connsiteY95" fmla="*/ 2747549 h 3811116"/>
              <a:gd name="connsiteX96" fmla="*/ 9777709 w 10825551"/>
              <a:gd name="connsiteY96" fmla="*/ 2777093 h 3811116"/>
              <a:gd name="connsiteX97" fmla="*/ 9911764 w 10825551"/>
              <a:gd name="connsiteY97" fmla="*/ 2777093 h 3811116"/>
              <a:gd name="connsiteX98" fmla="*/ 9915862 w 10825551"/>
              <a:gd name="connsiteY98" fmla="*/ 2777093 h 3811116"/>
              <a:gd name="connsiteX99" fmla="*/ 9982596 w 10825551"/>
              <a:gd name="connsiteY99" fmla="*/ 2767491 h 3811116"/>
              <a:gd name="connsiteX100" fmla="*/ 10018305 w 10825551"/>
              <a:gd name="connsiteY100" fmla="*/ 2747549 h 3811116"/>
              <a:gd name="connsiteX101" fmla="*/ 9470969 w 10825551"/>
              <a:gd name="connsiteY101" fmla="*/ 2692894 h 3811116"/>
              <a:gd name="connsiteX102" fmla="*/ 9415355 w 10825551"/>
              <a:gd name="connsiteY102" fmla="*/ 2698064 h 3811116"/>
              <a:gd name="connsiteX103" fmla="*/ 9380232 w 10825551"/>
              <a:gd name="connsiteY103" fmla="*/ 2722437 h 3811116"/>
              <a:gd name="connsiteX104" fmla="*/ 9517798 w 10825551"/>
              <a:gd name="connsiteY104" fmla="*/ 2712836 h 3811116"/>
              <a:gd name="connsiteX105" fmla="*/ 9529505 w 10825551"/>
              <a:gd name="connsiteY105" fmla="*/ 2702496 h 3811116"/>
              <a:gd name="connsiteX106" fmla="*/ 9474479 w 10825551"/>
              <a:gd name="connsiteY106" fmla="*/ 2698064 h 3811116"/>
              <a:gd name="connsiteX107" fmla="*/ 9474479 w 10825551"/>
              <a:gd name="connsiteY107" fmla="*/ 2692894 h 3811116"/>
              <a:gd name="connsiteX108" fmla="*/ 8947047 w 10825551"/>
              <a:gd name="connsiteY108" fmla="*/ 2653010 h 3811116"/>
              <a:gd name="connsiteX109" fmla="*/ 8844604 w 10825551"/>
              <a:gd name="connsiteY109" fmla="*/ 2663350 h 3811116"/>
              <a:gd name="connsiteX110" fmla="*/ 9049490 w 10825551"/>
              <a:gd name="connsiteY110" fmla="*/ 2653010 h 3811116"/>
              <a:gd name="connsiteX111" fmla="*/ 8947047 w 10825551"/>
              <a:gd name="connsiteY111" fmla="*/ 2653010 h 3811116"/>
              <a:gd name="connsiteX112" fmla="*/ 9179447 w 10825551"/>
              <a:gd name="connsiteY112" fmla="*/ 2643408 h 3811116"/>
              <a:gd name="connsiteX113" fmla="*/ 9198764 w 10825551"/>
              <a:gd name="connsiteY113" fmla="*/ 2643408 h 3811116"/>
              <a:gd name="connsiteX114" fmla="*/ 9178279 w 10825551"/>
              <a:gd name="connsiteY114" fmla="*/ 2643748 h 3811116"/>
              <a:gd name="connsiteX115" fmla="*/ 9055186 w 10825551"/>
              <a:gd name="connsiteY115" fmla="*/ 2557449 h 3811116"/>
              <a:gd name="connsiteX116" fmla="*/ 9053001 w 10825551"/>
              <a:gd name="connsiteY116" fmla="*/ 2558470 h 3811116"/>
              <a:gd name="connsiteX117" fmla="*/ 9025490 w 10825551"/>
              <a:gd name="connsiteY117" fmla="*/ 2558470 h 3811116"/>
              <a:gd name="connsiteX118" fmla="*/ 3343728 w 10825551"/>
              <a:gd name="connsiteY118" fmla="*/ 2370131 h 3811116"/>
              <a:gd name="connsiteX119" fmla="*/ 3363045 w 10825551"/>
              <a:gd name="connsiteY119" fmla="*/ 2374562 h 3811116"/>
              <a:gd name="connsiteX120" fmla="*/ 3363636 w 10825551"/>
              <a:gd name="connsiteY120" fmla="*/ 2375438 h 3811116"/>
              <a:gd name="connsiteX121" fmla="*/ 3457878 w 10825551"/>
              <a:gd name="connsiteY121" fmla="*/ 2364961 h 3811116"/>
              <a:gd name="connsiteX122" fmla="*/ 3548613 w 10825551"/>
              <a:gd name="connsiteY122" fmla="*/ 2390072 h 3811116"/>
              <a:gd name="connsiteX123" fmla="*/ 3583736 w 10825551"/>
              <a:gd name="connsiteY123" fmla="*/ 2390072 h 3811116"/>
              <a:gd name="connsiteX124" fmla="*/ 3670373 w 10825551"/>
              <a:gd name="connsiteY124" fmla="*/ 2419616 h 3811116"/>
              <a:gd name="connsiteX125" fmla="*/ 3682080 w 10825551"/>
              <a:gd name="connsiteY125" fmla="*/ 2419616 h 3811116"/>
              <a:gd name="connsiteX126" fmla="*/ 3690276 w 10825551"/>
              <a:gd name="connsiteY126" fmla="*/ 2419616 h 3811116"/>
              <a:gd name="connsiteX127" fmla="*/ 3709594 w 10825551"/>
              <a:gd name="connsiteY127" fmla="*/ 2414446 h 3811116"/>
              <a:gd name="connsiteX128" fmla="*/ 3607736 w 10825551"/>
              <a:gd name="connsiteY128" fmla="*/ 2374562 h 3811116"/>
              <a:gd name="connsiteX129" fmla="*/ 3457878 w 10825551"/>
              <a:gd name="connsiteY129" fmla="*/ 2364961 h 3811116"/>
              <a:gd name="connsiteX130" fmla="*/ 3363045 w 10825551"/>
              <a:gd name="connsiteY130" fmla="*/ 2345018 h 3811116"/>
              <a:gd name="connsiteX131" fmla="*/ 3422169 w 10825551"/>
              <a:gd name="connsiteY131" fmla="*/ 2359790 h 3811116"/>
              <a:gd name="connsiteX132" fmla="*/ 3450269 w 10825551"/>
              <a:gd name="connsiteY132" fmla="*/ 2359790 h 3811116"/>
              <a:gd name="connsiteX133" fmla="*/ 3363045 w 10825551"/>
              <a:gd name="connsiteY133" fmla="*/ 2345018 h 3811116"/>
              <a:gd name="connsiteX134" fmla="*/ 3524612 w 10825551"/>
              <a:gd name="connsiteY134" fmla="*/ 2339848 h 3811116"/>
              <a:gd name="connsiteX135" fmla="*/ 3512904 w 10825551"/>
              <a:gd name="connsiteY135" fmla="*/ 2350189 h 3811116"/>
              <a:gd name="connsiteX136" fmla="*/ 3619445 w 10825551"/>
              <a:gd name="connsiteY136" fmla="*/ 2370131 h 3811116"/>
              <a:gd name="connsiteX137" fmla="*/ 3524612 w 10825551"/>
              <a:gd name="connsiteY137" fmla="*/ 2339848 h 3811116"/>
              <a:gd name="connsiteX138" fmla="*/ 3213936 w 10825551"/>
              <a:gd name="connsiteY138" fmla="*/ 2314794 h 3811116"/>
              <a:gd name="connsiteX139" fmla="*/ 3197967 w 10825551"/>
              <a:gd name="connsiteY139" fmla="*/ 2325077 h 3811116"/>
              <a:gd name="connsiteX140" fmla="*/ 3414559 w 10825551"/>
              <a:gd name="connsiteY140" fmla="*/ 2374562 h 3811116"/>
              <a:gd name="connsiteX141" fmla="*/ 3418657 w 10825551"/>
              <a:gd name="connsiteY141" fmla="*/ 2374562 h 3811116"/>
              <a:gd name="connsiteX142" fmla="*/ 3434463 w 10825551"/>
              <a:gd name="connsiteY142" fmla="*/ 2374562 h 3811116"/>
              <a:gd name="connsiteX143" fmla="*/ 3481293 w 10825551"/>
              <a:gd name="connsiteY143" fmla="*/ 2384902 h 3811116"/>
              <a:gd name="connsiteX144" fmla="*/ 3300409 w 10825551"/>
              <a:gd name="connsiteY144" fmla="*/ 2334679 h 3811116"/>
              <a:gd name="connsiteX145" fmla="*/ 3221382 w 10825551"/>
              <a:gd name="connsiteY145" fmla="*/ 2315475 h 3811116"/>
              <a:gd name="connsiteX146" fmla="*/ 3213936 w 10825551"/>
              <a:gd name="connsiteY146" fmla="*/ 2314794 h 3811116"/>
              <a:gd name="connsiteX147" fmla="*/ 2260763 w 10825551"/>
              <a:gd name="connsiteY147" fmla="*/ 2290364 h 3811116"/>
              <a:gd name="connsiteX148" fmla="*/ 2292374 w 10825551"/>
              <a:gd name="connsiteY148" fmla="*/ 2300703 h 3811116"/>
              <a:gd name="connsiteX149" fmla="*/ 2294818 w 10825551"/>
              <a:gd name="connsiteY149" fmla="*/ 2301638 h 3811116"/>
              <a:gd name="connsiteX150" fmla="*/ 3489489 w 10825551"/>
              <a:gd name="connsiteY150" fmla="*/ 2270421 h 3811116"/>
              <a:gd name="connsiteX151" fmla="*/ 3521100 w 10825551"/>
              <a:gd name="connsiteY151" fmla="*/ 2280762 h 3811116"/>
              <a:gd name="connsiteX152" fmla="*/ 3540417 w 10825551"/>
              <a:gd name="connsiteY152" fmla="*/ 2280762 h 3811116"/>
              <a:gd name="connsiteX153" fmla="*/ 3489489 w 10825551"/>
              <a:gd name="connsiteY153" fmla="*/ 2270421 h 3811116"/>
              <a:gd name="connsiteX154" fmla="*/ 3446170 w 10825551"/>
              <a:gd name="connsiteY154" fmla="*/ 2260819 h 3811116"/>
              <a:gd name="connsiteX155" fmla="*/ 3430365 w 10825551"/>
              <a:gd name="connsiteY155" fmla="*/ 2275591 h 3811116"/>
              <a:gd name="connsiteX156" fmla="*/ 3580224 w 10825551"/>
              <a:gd name="connsiteY156" fmla="*/ 2305135 h 3811116"/>
              <a:gd name="connsiteX157" fmla="*/ 3446170 w 10825551"/>
              <a:gd name="connsiteY157" fmla="*/ 2260819 h 3811116"/>
              <a:gd name="connsiteX158" fmla="*/ 8101606 w 10825551"/>
              <a:gd name="connsiteY158" fmla="*/ 1870718 h 3811116"/>
              <a:gd name="connsiteX159" fmla="*/ 8101008 w 10825551"/>
              <a:gd name="connsiteY159" fmla="*/ 1871399 h 3811116"/>
              <a:gd name="connsiteX160" fmla="*/ 8101250 w 10825551"/>
              <a:gd name="connsiteY160" fmla="*/ 1870789 h 3811116"/>
              <a:gd name="connsiteX161" fmla="*/ 8206534 w 10825551"/>
              <a:gd name="connsiteY161" fmla="*/ 1833177 h 3811116"/>
              <a:gd name="connsiteX162" fmla="*/ 8206534 w 10825551"/>
              <a:gd name="connsiteY162" fmla="*/ 1838347 h 3811116"/>
              <a:gd name="connsiteX163" fmla="*/ 8128090 w 10825551"/>
              <a:gd name="connsiteY163" fmla="*/ 1863459 h 3811116"/>
              <a:gd name="connsiteX164" fmla="*/ 8115798 w 10825551"/>
              <a:gd name="connsiteY164" fmla="*/ 1867891 h 3811116"/>
              <a:gd name="connsiteX165" fmla="*/ 8101606 w 10825551"/>
              <a:gd name="connsiteY165" fmla="*/ 1870718 h 3811116"/>
              <a:gd name="connsiteX166" fmla="*/ 8104090 w 10825551"/>
              <a:gd name="connsiteY166" fmla="*/ 1867891 h 3811116"/>
              <a:gd name="connsiteX167" fmla="*/ 8128090 w 10825551"/>
              <a:gd name="connsiteY167" fmla="*/ 1853119 h 3811116"/>
              <a:gd name="connsiteX168" fmla="*/ 8131603 w 10825551"/>
              <a:gd name="connsiteY168" fmla="*/ 1853119 h 3811116"/>
              <a:gd name="connsiteX169" fmla="*/ 8206534 w 10825551"/>
              <a:gd name="connsiteY169" fmla="*/ 1833177 h 3811116"/>
              <a:gd name="connsiteX170" fmla="*/ 8336488 w 10825551"/>
              <a:gd name="connsiteY170" fmla="*/ 1823575 h 3811116"/>
              <a:gd name="connsiteX171" fmla="*/ 8340586 w 10825551"/>
              <a:gd name="connsiteY171" fmla="*/ 1823575 h 3811116"/>
              <a:gd name="connsiteX172" fmla="*/ 8336364 w 10825551"/>
              <a:gd name="connsiteY172" fmla="*/ 1823686 h 3811116"/>
              <a:gd name="connsiteX173" fmla="*/ 8048819 w 10825551"/>
              <a:gd name="connsiteY173" fmla="*/ 1739246 h 3811116"/>
              <a:gd name="connsiteX174" fmla="*/ 8048402 w 10825551"/>
              <a:gd name="connsiteY174" fmla="*/ 1739371 h 3811116"/>
              <a:gd name="connsiteX175" fmla="*/ 8048552 w 10825551"/>
              <a:gd name="connsiteY175" fmla="*/ 1739284 h 3811116"/>
              <a:gd name="connsiteX176" fmla="*/ 8324782 w 10825551"/>
              <a:gd name="connsiteY176" fmla="*/ 1574671 h 3811116"/>
              <a:gd name="connsiteX177" fmla="*/ 8324782 w 10825551"/>
              <a:gd name="connsiteY177" fmla="*/ 1579841 h 3811116"/>
              <a:gd name="connsiteX178" fmla="*/ 8462346 w 10825551"/>
              <a:gd name="connsiteY178" fmla="*/ 1585011 h 3811116"/>
              <a:gd name="connsiteX179" fmla="*/ 8395612 w 10825551"/>
              <a:gd name="connsiteY179" fmla="*/ 1629327 h 3811116"/>
              <a:gd name="connsiteX180" fmla="*/ 8383906 w 10825551"/>
              <a:gd name="connsiteY180" fmla="*/ 1649268 h 3811116"/>
              <a:gd name="connsiteX181" fmla="*/ 8395612 w 10825551"/>
              <a:gd name="connsiteY181" fmla="*/ 1649268 h 3811116"/>
              <a:gd name="connsiteX182" fmla="*/ 8348196 w 10825551"/>
              <a:gd name="connsiteY182" fmla="*/ 1664040 h 3811116"/>
              <a:gd name="connsiteX183" fmla="*/ 8289072 w 10825551"/>
              <a:gd name="connsiteY183" fmla="*/ 1679550 h 3811116"/>
              <a:gd name="connsiteX184" fmla="*/ 8293170 w 10825551"/>
              <a:gd name="connsiteY184" fmla="*/ 1664040 h 3811116"/>
              <a:gd name="connsiteX185" fmla="*/ 8242240 w 10825551"/>
              <a:gd name="connsiteY185" fmla="*/ 1679550 h 3811116"/>
              <a:gd name="connsiteX186" fmla="*/ 8238144 w 10825551"/>
              <a:gd name="connsiteY186" fmla="*/ 1674380 h 3811116"/>
              <a:gd name="connsiteX187" fmla="*/ 8218240 w 10825551"/>
              <a:gd name="connsiteY187" fmla="*/ 1683982 h 3811116"/>
              <a:gd name="connsiteX188" fmla="*/ 8167311 w 10825551"/>
              <a:gd name="connsiteY188" fmla="*/ 1703924 h 3811116"/>
              <a:gd name="connsiteX189" fmla="*/ 8143310 w 10825551"/>
              <a:gd name="connsiteY189" fmla="*/ 1709094 h 3811116"/>
              <a:gd name="connsiteX190" fmla="*/ 8128090 w 10825551"/>
              <a:gd name="connsiteY190" fmla="*/ 1723865 h 3811116"/>
              <a:gd name="connsiteX191" fmla="*/ 8092382 w 10825551"/>
              <a:gd name="connsiteY191" fmla="*/ 1734206 h 3811116"/>
              <a:gd name="connsiteX192" fmla="*/ 8064868 w 10825551"/>
              <a:gd name="connsiteY192" fmla="*/ 1738637 h 3811116"/>
              <a:gd name="connsiteX193" fmla="*/ 8053160 w 10825551"/>
              <a:gd name="connsiteY193" fmla="*/ 1738637 h 3811116"/>
              <a:gd name="connsiteX194" fmla="*/ 8048819 w 10825551"/>
              <a:gd name="connsiteY194" fmla="*/ 1739246 h 3811116"/>
              <a:gd name="connsiteX195" fmla="*/ 8099992 w 10825551"/>
              <a:gd name="connsiteY195" fmla="*/ 1723865 h 3811116"/>
              <a:gd name="connsiteX196" fmla="*/ 8332390 w 10825551"/>
              <a:gd name="connsiteY196" fmla="*/ 1639667 h 3811116"/>
              <a:gd name="connsiteX197" fmla="*/ 8348196 w 10825551"/>
              <a:gd name="connsiteY197" fmla="*/ 1619725 h 3811116"/>
              <a:gd name="connsiteX198" fmla="*/ 8135701 w 10825551"/>
              <a:gd name="connsiteY198" fmla="*/ 1694322 h 3811116"/>
              <a:gd name="connsiteX199" fmla="*/ 7923205 w 10825551"/>
              <a:gd name="connsiteY199" fmla="*/ 1753409 h 3811116"/>
              <a:gd name="connsiteX200" fmla="*/ 8128090 w 10825551"/>
              <a:gd name="connsiteY200" fmla="*/ 1694322 h 3811116"/>
              <a:gd name="connsiteX201" fmla="*/ 8190727 w 10825551"/>
              <a:gd name="connsiteY201" fmla="*/ 1664040 h 3811116"/>
              <a:gd name="connsiteX202" fmla="*/ 8206534 w 10825551"/>
              <a:gd name="connsiteY202" fmla="*/ 1639667 h 3811116"/>
              <a:gd name="connsiteX203" fmla="*/ 8174922 w 10825551"/>
              <a:gd name="connsiteY203" fmla="*/ 1634497 h 3811116"/>
              <a:gd name="connsiteX204" fmla="*/ 8324782 w 10825551"/>
              <a:gd name="connsiteY204" fmla="*/ 1574671 h 3811116"/>
              <a:gd name="connsiteX205" fmla="*/ 8194825 w 10825551"/>
              <a:gd name="connsiteY205" fmla="*/ 1545127 h 3811116"/>
              <a:gd name="connsiteX206" fmla="*/ 8191208 w 10825551"/>
              <a:gd name="connsiteY206" fmla="*/ 1546067 h 3811116"/>
              <a:gd name="connsiteX207" fmla="*/ 8191240 w 10825551"/>
              <a:gd name="connsiteY207" fmla="*/ 1545774 h 3811116"/>
              <a:gd name="connsiteX208" fmla="*/ 8194825 w 10825551"/>
              <a:gd name="connsiteY208" fmla="*/ 1545127 h 3811116"/>
              <a:gd name="connsiteX209" fmla="*/ 8155604 w 10825551"/>
              <a:gd name="connsiteY209" fmla="*/ 1460928 h 3811116"/>
              <a:gd name="connsiteX210" fmla="*/ 8159116 w 10825551"/>
              <a:gd name="connsiteY210" fmla="*/ 1460928 h 3811116"/>
              <a:gd name="connsiteX211" fmla="*/ 8154848 w 10825551"/>
              <a:gd name="connsiteY211" fmla="*/ 1461173 h 3811116"/>
              <a:gd name="connsiteX212" fmla="*/ 8245754 w 10825551"/>
              <a:gd name="connsiteY212" fmla="*/ 1435816 h 3811116"/>
              <a:gd name="connsiteX213" fmla="*/ 8234046 w 10825551"/>
              <a:gd name="connsiteY213" fmla="*/ 1440986 h 3811116"/>
              <a:gd name="connsiteX214" fmla="*/ 8245754 w 10825551"/>
              <a:gd name="connsiteY214" fmla="*/ 1435816 h 3811116"/>
              <a:gd name="connsiteX215" fmla="*/ 5034154 w 10825551"/>
              <a:gd name="connsiteY215" fmla="*/ 1341553 h 3811116"/>
              <a:gd name="connsiteX216" fmla="*/ 5040982 w 10825551"/>
              <a:gd name="connsiteY216" fmla="*/ 1341923 h 3811116"/>
              <a:gd name="connsiteX217" fmla="*/ 5052471 w 10825551"/>
              <a:gd name="connsiteY217" fmla="*/ 1346447 h 3811116"/>
              <a:gd name="connsiteX218" fmla="*/ 5095923 w 10825551"/>
              <a:gd name="connsiteY218" fmla="*/ 1271483 h 3811116"/>
              <a:gd name="connsiteX219" fmla="*/ 5122696 w 10825551"/>
              <a:gd name="connsiteY219" fmla="*/ 1276944 h 3811116"/>
              <a:gd name="connsiteX220" fmla="*/ 5111384 w 10825551"/>
              <a:gd name="connsiteY220" fmla="*/ 1275300 h 3811116"/>
              <a:gd name="connsiteX221" fmla="*/ 5072374 w 10825551"/>
              <a:gd name="connsiteY221" fmla="*/ 1261510 h 3811116"/>
              <a:gd name="connsiteX222" fmla="*/ 5076471 w 10825551"/>
              <a:gd name="connsiteY222" fmla="*/ 1266680 h 3811116"/>
              <a:gd name="connsiteX223" fmla="*/ 5095923 w 10825551"/>
              <a:gd name="connsiteY223" fmla="*/ 1271483 h 3811116"/>
              <a:gd name="connsiteX224" fmla="*/ 5072374 w 10825551"/>
              <a:gd name="connsiteY224" fmla="*/ 1266680 h 3811116"/>
              <a:gd name="connsiteX225" fmla="*/ 5072374 w 10825551"/>
              <a:gd name="connsiteY225" fmla="*/ 1261510 h 3811116"/>
              <a:gd name="connsiteX226" fmla="*/ 4812596 w 10825551"/>
              <a:gd name="connsiteY226" fmla="*/ 1096804 h 3811116"/>
              <a:gd name="connsiteX227" fmla="*/ 4815755 w 10825551"/>
              <a:gd name="connsiteY227" fmla="*/ 1097393 h 3811116"/>
              <a:gd name="connsiteX228" fmla="*/ 4816560 w 10825551"/>
              <a:gd name="connsiteY228" fmla="*/ 1097543 h 3811116"/>
              <a:gd name="connsiteX229" fmla="*/ 4812463 w 10825551"/>
              <a:gd name="connsiteY229" fmla="*/ 1097543 h 3811116"/>
              <a:gd name="connsiteX230" fmla="*/ 4651788 w 10825551"/>
              <a:gd name="connsiteY230" fmla="*/ 986242 h 3811116"/>
              <a:gd name="connsiteX231" fmla="*/ 4657554 w 10825551"/>
              <a:gd name="connsiteY231" fmla="*/ 986939 h 3811116"/>
              <a:gd name="connsiteX232" fmla="*/ 4664215 w 10825551"/>
              <a:gd name="connsiteY232" fmla="*/ 988421 h 3811116"/>
              <a:gd name="connsiteX233" fmla="*/ 4660847 w 10825551"/>
              <a:gd name="connsiteY233" fmla="*/ 987955 h 3811116"/>
              <a:gd name="connsiteX234" fmla="*/ 4584161 w 10825551"/>
              <a:gd name="connsiteY234" fmla="*/ 973460 h 3811116"/>
              <a:gd name="connsiteX235" fmla="*/ 4651788 w 10825551"/>
              <a:gd name="connsiteY235" fmla="*/ 986242 h 3811116"/>
              <a:gd name="connsiteX236" fmla="*/ 4631578 w 10825551"/>
              <a:gd name="connsiteY236" fmla="*/ 983800 h 3811116"/>
              <a:gd name="connsiteX237" fmla="*/ 4584161 w 10825551"/>
              <a:gd name="connsiteY237" fmla="*/ 973460 h 3811116"/>
              <a:gd name="connsiteX238" fmla="*/ 626364 w 10825551"/>
              <a:gd name="connsiteY238" fmla="*/ 943916 h 3811116"/>
              <a:gd name="connsiteX239" fmla="*/ 636057 w 10825551"/>
              <a:gd name="connsiteY239" fmla="*/ 948808 h 3811116"/>
              <a:gd name="connsiteX240" fmla="*/ 634559 w 10825551"/>
              <a:gd name="connsiteY240" fmla="*/ 949086 h 3811116"/>
              <a:gd name="connsiteX241" fmla="*/ 626364 w 10825551"/>
              <a:gd name="connsiteY241" fmla="*/ 943916 h 3811116"/>
              <a:gd name="connsiteX242" fmla="*/ 197276 w 10825551"/>
              <a:gd name="connsiteY242" fmla="*/ 934315 h 3811116"/>
              <a:gd name="connsiteX243" fmla="*/ 214962 w 10825551"/>
              <a:gd name="connsiteY243" fmla="*/ 943811 h 3811116"/>
              <a:gd name="connsiteX244" fmla="*/ 213081 w 10825551"/>
              <a:gd name="connsiteY244" fmla="*/ 943916 h 3811116"/>
              <a:gd name="connsiteX245" fmla="*/ 197276 w 10825551"/>
              <a:gd name="connsiteY245" fmla="*/ 934315 h 3811116"/>
              <a:gd name="connsiteX246" fmla="*/ 590655 w 10825551"/>
              <a:gd name="connsiteY246" fmla="*/ 864148 h 3811116"/>
              <a:gd name="connsiteX247" fmla="*/ 598850 w 10825551"/>
              <a:gd name="connsiteY247" fmla="*/ 864148 h 3811116"/>
              <a:gd name="connsiteX248" fmla="*/ 611588 w 10825551"/>
              <a:gd name="connsiteY248" fmla="*/ 869094 h 3811116"/>
              <a:gd name="connsiteX249" fmla="*/ 610558 w 10825551"/>
              <a:gd name="connsiteY249" fmla="*/ 869319 h 3811116"/>
              <a:gd name="connsiteX250" fmla="*/ 590655 w 10825551"/>
              <a:gd name="connsiteY250" fmla="*/ 864148 h 3811116"/>
              <a:gd name="connsiteX251" fmla="*/ 2481454 w 10825551"/>
              <a:gd name="connsiteY251" fmla="*/ 769433 h 3811116"/>
              <a:gd name="connsiteX252" fmla="*/ 2515890 w 10825551"/>
              <a:gd name="connsiteY252" fmla="*/ 787313 h 3811116"/>
              <a:gd name="connsiteX253" fmla="*/ 2481454 w 10825551"/>
              <a:gd name="connsiteY253" fmla="*/ 770349 h 3811116"/>
              <a:gd name="connsiteX254" fmla="*/ 2481454 w 10825551"/>
              <a:gd name="connsiteY254" fmla="*/ 769702 h 3811116"/>
              <a:gd name="connsiteX255" fmla="*/ 2473259 w 10825551"/>
              <a:gd name="connsiteY255" fmla="*/ 765178 h 3811116"/>
              <a:gd name="connsiteX256" fmla="*/ 2481454 w 10825551"/>
              <a:gd name="connsiteY256" fmla="*/ 765178 h 3811116"/>
              <a:gd name="connsiteX257" fmla="*/ 2481454 w 10825551"/>
              <a:gd name="connsiteY257" fmla="*/ 769433 h 3811116"/>
              <a:gd name="connsiteX258" fmla="*/ 539726 w 10825551"/>
              <a:gd name="connsiteY258" fmla="*/ 740066 h 3811116"/>
              <a:gd name="connsiteX259" fmla="*/ 542800 w 10825551"/>
              <a:gd name="connsiteY259" fmla="*/ 740712 h 3811116"/>
              <a:gd name="connsiteX260" fmla="*/ 542730 w 10825551"/>
              <a:gd name="connsiteY260" fmla="*/ 740816 h 3811116"/>
              <a:gd name="connsiteX261" fmla="*/ 1879265 w 10825551"/>
              <a:gd name="connsiteY261" fmla="*/ 586901 h 3811116"/>
              <a:gd name="connsiteX262" fmla="*/ 1878506 w 10825551"/>
              <a:gd name="connsiteY262" fmla="*/ 590871 h 3811116"/>
              <a:gd name="connsiteX263" fmla="*/ 1937629 w 10825551"/>
              <a:gd name="connsiteY263" fmla="*/ 635925 h 3811116"/>
              <a:gd name="connsiteX264" fmla="*/ 1921824 w 10825551"/>
              <a:gd name="connsiteY264" fmla="*/ 630755 h 3811116"/>
              <a:gd name="connsiteX265" fmla="*/ 1918312 w 10825551"/>
              <a:gd name="connsiteY265" fmla="*/ 625585 h 3811116"/>
              <a:gd name="connsiteX266" fmla="*/ 1878506 w 10825551"/>
              <a:gd name="connsiteY266" fmla="*/ 625585 h 3811116"/>
              <a:gd name="connsiteX267" fmla="*/ 1941727 w 10825551"/>
              <a:gd name="connsiteY267" fmla="*/ 660298 h 3811116"/>
              <a:gd name="connsiteX268" fmla="*/ 2142515 w 10825551"/>
              <a:gd name="connsiteY268" fmla="*/ 745236 h 3811116"/>
              <a:gd name="connsiteX269" fmla="*/ 1969241 w 10825551"/>
              <a:gd name="connsiteY269" fmla="*/ 630755 h 3811116"/>
              <a:gd name="connsiteX270" fmla="*/ 1985046 w 10825551"/>
              <a:gd name="connsiteY270" fmla="*/ 625585 h 3811116"/>
              <a:gd name="connsiteX271" fmla="*/ 1921824 w 10825551"/>
              <a:gd name="connsiteY271" fmla="*/ 596041 h 3811116"/>
              <a:gd name="connsiteX272" fmla="*/ 1879265 w 10825551"/>
              <a:gd name="connsiteY272" fmla="*/ 586901 h 3811116"/>
              <a:gd name="connsiteX273" fmla="*/ 1941091 w 10825551"/>
              <a:gd name="connsiteY273" fmla="*/ 495908 h 3811116"/>
              <a:gd name="connsiteX274" fmla="*/ 1961630 w 10825551"/>
              <a:gd name="connsiteY274" fmla="*/ 506672 h 3811116"/>
              <a:gd name="connsiteX275" fmla="*/ 1941727 w 10825551"/>
              <a:gd name="connsiteY275" fmla="*/ 497070 h 3811116"/>
              <a:gd name="connsiteX276" fmla="*/ 295990 w 10825551"/>
              <a:gd name="connsiteY276" fmla="*/ 231531 h 3811116"/>
              <a:gd name="connsiteX277" fmla="*/ 298795 w 10825551"/>
              <a:gd name="connsiteY277" fmla="*/ 232933 h 3811116"/>
              <a:gd name="connsiteX278" fmla="*/ 299718 w 10825551"/>
              <a:gd name="connsiteY278" fmla="*/ 233395 h 3811116"/>
              <a:gd name="connsiteX279" fmla="*/ 295621 w 10825551"/>
              <a:gd name="connsiteY279" fmla="*/ 233395 h 3811116"/>
              <a:gd name="connsiteX280" fmla="*/ 1669872 w 10825551"/>
              <a:gd name="connsiteY280" fmla="*/ 148045 h 3811116"/>
              <a:gd name="connsiteX281" fmla="*/ 1677865 w 10825551"/>
              <a:gd name="connsiteY281" fmla="*/ 151780 h 3811116"/>
              <a:gd name="connsiteX282" fmla="*/ 1681815 w 10825551"/>
              <a:gd name="connsiteY282" fmla="*/ 153627 h 3811116"/>
              <a:gd name="connsiteX283" fmla="*/ 1670108 w 10825551"/>
              <a:gd name="connsiteY283" fmla="*/ 149195 h 3811116"/>
              <a:gd name="connsiteX284" fmla="*/ 1638219 w 10825551"/>
              <a:gd name="connsiteY284" fmla="*/ 97417 h 3811116"/>
              <a:gd name="connsiteX285" fmla="*/ 1644863 w 10825551"/>
              <a:gd name="connsiteY285" fmla="*/ 100633 h 3811116"/>
              <a:gd name="connsiteX286" fmla="*/ 1653802 w 10825551"/>
              <a:gd name="connsiteY286" fmla="*/ 105946 h 3811116"/>
              <a:gd name="connsiteX287" fmla="*/ 1649986 w 10825551"/>
              <a:gd name="connsiteY287" fmla="*/ 103865 h 3811116"/>
              <a:gd name="connsiteX288" fmla="*/ 473034 w 10825551"/>
              <a:gd name="connsiteY288" fmla="*/ 31371 h 3811116"/>
              <a:gd name="connsiteX289" fmla="*/ 479139 w 10825551"/>
              <a:gd name="connsiteY289" fmla="*/ 34067 h 3811116"/>
              <a:gd name="connsiteX290" fmla="*/ 480603 w 10825551"/>
              <a:gd name="connsiteY290" fmla="*/ 34714 h 3811116"/>
              <a:gd name="connsiteX291" fmla="*/ 478773 w 10825551"/>
              <a:gd name="connsiteY291" fmla="*/ 33906 h 3811116"/>
              <a:gd name="connsiteX292" fmla="*/ 468895 w 10825551"/>
              <a:gd name="connsiteY292" fmla="*/ 29544 h 3811116"/>
              <a:gd name="connsiteX293" fmla="*/ 473034 w 10825551"/>
              <a:gd name="connsiteY293" fmla="*/ 31371 h 3811116"/>
              <a:gd name="connsiteX294" fmla="*/ 471822 w 10825551"/>
              <a:gd name="connsiteY294" fmla="*/ 30837 h 3811116"/>
              <a:gd name="connsiteX295" fmla="*/ 468895 w 10825551"/>
              <a:gd name="connsiteY295" fmla="*/ 29544 h 3811116"/>
              <a:gd name="connsiteX296" fmla="*/ 1496834 w 10825551"/>
              <a:gd name="connsiteY296" fmla="*/ 19942 h 3811116"/>
              <a:gd name="connsiteX297" fmla="*/ 1638219 w 10825551"/>
              <a:gd name="connsiteY297" fmla="*/ 97417 h 3811116"/>
              <a:gd name="connsiteX298" fmla="*/ 1591081 w 10825551"/>
              <a:gd name="connsiteY298" fmla="*/ 74598 h 3811116"/>
              <a:gd name="connsiteX299" fmla="*/ 1496834 w 10825551"/>
              <a:gd name="connsiteY299" fmla="*/ 19942 h 3811116"/>
              <a:gd name="connsiteX300" fmla="*/ 236497 w 10825551"/>
              <a:gd name="connsiteY300" fmla="*/ 0 h 3811116"/>
              <a:gd name="connsiteX301" fmla="*/ 315524 w 10825551"/>
              <a:gd name="connsiteY301" fmla="*/ 39884 h 3811116"/>
              <a:gd name="connsiteX302" fmla="*/ 338939 w 10825551"/>
              <a:gd name="connsiteY302" fmla="*/ 34714 h 3811116"/>
              <a:gd name="connsiteX303" fmla="*/ 319036 w 10825551"/>
              <a:gd name="connsiteY303" fmla="*/ 24374 h 3811116"/>
              <a:gd name="connsiteX304" fmla="*/ 354745 w 10825551"/>
              <a:gd name="connsiteY304" fmla="*/ 39884 h 3811116"/>
              <a:gd name="connsiteX305" fmla="*/ 350647 w 10825551"/>
              <a:gd name="connsiteY305" fmla="*/ 44316 h 3811116"/>
              <a:gd name="connsiteX306" fmla="*/ 480603 w 10825551"/>
              <a:gd name="connsiteY306" fmla="*/ 109312 h 3811116"/>
              <a:gd name="connsiteX307" fmla="*/ 551434 w 10825551"/>
              <a:gd name="connsiteY307" fmla="*/ 144025 h 3811116"/>
              <a:gd name="connsiteX308" fmla="*/ 575435 w 10825551"/>
              <a:gd name="connsiteY308" fmla="*/ 138855 h 3811116"/>
              <a:gd name="connsiteX309" fmla="*/ 543825 w 10825551"/>
              <a:gd name="connsiteY309" fmla="*/ 124083 h 3811116"/>
              <a:gd name="connsiteX310" fmla="*/ 547337 w 10825551"/>
              <a:gd name="connsiteY310" fmla="*/ 118913 h 3811116"/>
              <a:gd name="connsiteX311" fmla="*/ 567240 w 10825551"/>
              <a:gd name="connsiteY311" fmla="*/ 114482 h 3811116"/>
              <a:gd name="connsiteX312" fmla="*/ 563142 w 10825551"/>
              <a:gd name="connsiteY312" fmla="*/ 109312 h 3811116"/>
              <a:gd name="connsiteX313" fmla="*/ 555532 w 10825551"/>
              <a:gd name="connsiteY313" fmla="*/ 104142 h 3811116"/>
              <a:gd name="connsiteX314" fmla="*/ 547337 w 10825551"/>
              <a:gd name="connsiteY314" fmla="*/ 104142 h 3811116"/>
              <a:gd name="connsiteX315" fmla="*/ 457187 w 10825551"/>
              <a:gd name="connsiteY315" fmla="*/ 54656 h 3811116"/>
              <a:gd name="connsiteX316" fmla="*/ 433186 w 10825551"/>
              <a:gd name="connsiteY316" fmla="*/ 54656 h 3811116"/>
              <a:gd name="connsiteX317" fmla="*/ 421479 w 10825551"/>
              <a:gd name="connsiteY317" fmla="*/ 54656 h 3811116"/>
              <a:gd name="connsiteX318" fmla="*/ 413868 w 10825551"/>
              <a:gd name="connsiteY318" fmla="*/ 49486 h 3811116"/>
              <a:gd name="connsiteX319" fmla="*/ 429674 w 10825551"/>
              <a:gd name="connsiteY319" fmla="*/ 39884 h 3811116"/>
              <a:gd name="connsiteX320" fmla="*/ 402161 w 10825551"/>
              <a:gd name="connsiteY320" fmla="*/ 24374 h 3811116"/>
              <a:gd name="connsiteX321" fmla="*/ 457187 w 10825551"/>
              <a:gd name="connsiteY321" fmla="*/ 44316 h 3811116"/>
              <a:gd name="connsiteX322" fmla="*/ 480977 w 10825551"/>
              <a:gd name="connsiteY322" fmla="*/ 38395 h 3811116"/>
              <a:gd name="connsiteX323" fmla="*/ 480603 w 10825551"/>
              <a:gd name="connsiteY323" fmla="*/ 34714 h 3811116"/>
              <a:gd name="connsiteX324" fmla="*/ 492310 w 10825551"/>
              <a:gd name="connsiteY324" fmla="*/ 39884 h 3811116"/>
              <a:gd name="connsiteX325" fmla="*/ 480603 w 10825551"/>
              <a:gd name="connsiteY325" fmla="*/ 49486 h 3811116"/>
              <a:gd name="connsiteX326" fmla="*/ 736417 w 10825551"/>
              <a:gd name="connsiteY326" fmla="*/ 183909 h 3811116"/>
              <a:gd name="connsiteX327" fmla="*/ 760418 w 10825551"/>
              <a:gd name="connsiteY327" fmla="*/ 178739 h 3811116"/>
              <a:gd name="connsiteX328" fmla="*/ 732904 w 10825551"/>
              <a:gd name="connsiteY328" fmla="*/ 158797 h 3811116"/>
              <a:gd name="connsiteX329" fmla="*/ 787931 w 10825551"/>
              <a:gd name="connsiteY329" fmla="*/ 188341 h 3811116"/>
              <a:gd name="connsiteX330" fmla="*/ 807834 w 10825551"/>
              <a:gd name="connsiteY330" fmla="*/ 183909 h 3811116"/>
              <a:gd name="connsiteX331" fmla="*/ 819541 w 10825551"/>
              <a:gd name="connsiteY331" fmla="*/ 188341 h 3811116"/>
              <a:gd name="connsiteX332" fmla="*/ 1027939 w 10825551"/>
              <a:gd name="connsiteY332" fmla="*/ 293220 h 3811116"/>
              <a:gd name="connsiteX333" fmla="*/ 1036135 w 10825551"/>
              <a:gd name="connsiteY333" fmla="*/ 293220 h 3811116"/>
              <a:gd name="connsiteX334" fmla="*/ 1118674 w 10825551"/>
              <a:gd name="connsiteY334" fmla="*/ 333104 h 3811116"/>
              <a:gd name="connsiteX335" fmla="*/ 1142089 w 10825551"/>
              <a:gd name="connsiteY335" fmla="*/ 322763 h 3811116"/>
              <a:gd name="connsiteX336" fmla="*/ 1095259 w 10825551"/>
              <a:gd name="connsiteY336" fmla="*/ 302822 h 3811116"/>
              <a:gd name="connsiteX337" fmla="*/ 1150285 w 10825551"/>
              <a:gd name="connsiteY337" fmla="*/ 317594 h 3811116"/>
              <a:gd name="connsiteX338" fmla="*/ 1173700 w 10825551"/>
              <a:gd name="connsiteY338" fmla="*/ 313162 h 3811116"/>
              <a:gd name="connsiteX339" fmla="*/ 1442539 w 10825551"/>
              <a:gd name="connsiteY339" fmla="*/ 443430 h 3811116"/>
              <a:gd name="connsiteX340" fmla="*/ 1708557 w 10825551"/>
              <a:gd name="connsiteY340" fmla="*/ 562485 h 3811116"/>
              <a:gd name="connsiteX341" fmla="*/ 1709402 w 10825551"/>
              <a:gd name="connsiteY341" fmla="*/ 563266 h 3811116"/>
              <a:gd name="connsiteX342" fmla="*/ 1717525 w 10825551"/>
              <a:gd name="connsiteY342" fmla="*/ 566498 h 3811116"/>
              <a:gd name="connsiteX343" fmla="*/ 1708557 w 10825551"/>
              <a:gd name="connsiteY343" fmla="*/ 562485 h 3811116"/>
              <a:gd name="connsiteX344" fmla="*/ 1701719 w 10825551"/>
              <a:gd name="connsiteY344" fmla="*/ 556157 h 3811116"/>
              <a:gd name="connsiteX345" fmla="*/ 1768453 w 10825551"/>
              <a:gd name="connsiteY345" fmla="*/ 590871 h 3811116"/>
              <a:gd name="connsiteX346" fmla="*/ 1776063 w 10825551"/>
              <a:gd name="connsiteY346" fmla="*/ 590871 h 3811116"/>
              <a:gd name="connsiteX347" fmla="*/ 1807674 w 10825551"/>
              <a:gd name="connsiteY347" fmla="*/ 596041 h 3811116"/>
              <a:gd name="connsiteX348" fmla="*/ 1560055 w 10825551"/>
              <a:gd name="connsiteY348" fmla="*/ 437245 h 3811116"/>
              <a:gd name="connsiteX349" fmla="*/ 1674206 w 10825551"/>
              <a:gd name="connsiteY349" fmla="*/ 497070 h 3811116"/>
              <a:gd name="connsiteX350" fmla="*/ 1705231 w 10825551"/>
              <a:gd name="connsiteY350" fmla="*/ 501502 h 3811116"/>
              <a:gd name="connsiteX351" fmla="*/ 1740940 w 10825551"/>
              <a:gd name="connsiteY351" fmla="*/ 521444 h 3811116"/>
              <a:gd name="connsiteX352" fmla="*/ 1780160 w 10825551"/>
              <a:gd name="connsiteY352" fmla="*/ 521444 h 3811116"/>
              <a:gd name="connsiteX353" fmla="*/ 1658401 w 10825551"/>
              <a:gd name="connsiteY353" fmla="*/ 452016 h 3811116"/>
              <a:gd name="connsiteX354" fmla="*/ 1800064 w 10825551"/>
              <a:gd name="connsiteY354" fmla="*/ 521444 h 3811116"/>
              <a:gd name="connsiteX355" fmla="*/ 1835187 w 10825551"/>
              <a:gd name="connsiteY355" fmla="*/ 526613 h 3811116"/>
              <a:gd name="connsiteX356" fmla="*/ 1788356 w 10825551"/>
              <a:gd name="connsiteY356" fmla="*/ 497070 h 3811116"/>
              <a:gd name="connsiteX357" fmla="*/ 1823479 w 10825551"/>
              <a:gd name="connsiteY357" fmla="*/ 497070 h 3811116"/>
              <a:gd name="connsiteX358" fmla="*/ 1745038 w 10825551"/>
              <a:gd name="connsiteY358" fmla="*/ 446846 h 3811116"/>
              <a:gd name="connsiteX359" fmla="*/ 1748549 w 10825551"/>
              <a:gd name="connsiteY359" fmla="*/ 446846 h 3811116"/>
              <a:gd name="connsiteX360" fmla="*/ 1784259 w 10825551"/>
              <a:gd name="connsiteY360" fmla="*/ 446846 h 3811116"/>
              <a:gd name="connsiteX361" fmla="*/ 1615082 w 10825551"/>
              <a:gd name="connsiteY361" fmla="*/ 337535 h 3811116"/>
              <a:gd name="connsiteX362" fmla="*/ 1788356 w 10825551"/>
              <a:gd name="connsiteY362" fmla="*/ 417303 h 3811116"/>
              <a:gd name="connsiteX363" fmla="*/ 1819382 w 10825551"/>
              <a:gd name="connsiteY363" fmla="*/ 417303 h 3811116"/>
              <a:gd name="connsiteX364" fmla="*/ 1764355 w 10825551"/>
              <a:gd name="connsiteY364" fmla="*/ 377419 h 3811116"/>
              <a:gd name="connsiteX365" fmla="*/ 1788356 w 10825551"/>
              <a:gd name="connsiteY365" fmla="*/ 377419 h 3811116"/>
              <a:gd name="connsiteX366" fmla="*/ 1921824 w 10825551"/>
              <a:gd name="connsiteY366" fmla="*/ 457186 h 3811116"/>
              <a:gd name="connsiteX367" fmla="*/ 1918312 w 10825551"/>
              <a:gd name="connsiteY367" fmla="*/ 461618 h 3811116"/>
              <a:gd name="connsiteX368" fmla="*/ 1976851 w 10825551"/>
              <a:gd name="connsiteY368" fmla="*/ 497070 h 3811116"/>
              <a:gd name="connsiteX369" fmla="*/ 1940136 w 10825551"/>
              <a:gd name="connsiteY369" fmla="*/ 494162 h 3811116"/>
              <a:gd name="connsiteX370" fmla="*/ 1941091 w 10825551"/>
              <a:gd name="connsiteY370" fmla="*/ 495908 h 3811116"/>
              <a:gd name="connsiteX371" fmla="*/ 1847480 w 10825551"/>
              <a:gd name="connsiteY371" fmla="*/ 446846 h 3811116"/>
              <a:gd name="connsiteX372" fmla="*/ 1811772 w 10825551"/>
              <a:gd name="connsiteY372" fmla="*/ 441676 h 3811116"/>
              <a:gd name="connsiteX373" fmla="*/ 1906604 w 10825551"/>
              <a:gd name="connsiteY373" fmla="*/ 506672 h 3811116"/>
              <a:gd name="connsiteX374" fmla="*/ 1878506 w 10825551"/>
              <a:gd name="connsiteY374" fmla="*/ 497070 h 3811116"/>
              <a:gd name="connsiteX375" fmla="*/ 1859188 w 10825551"/>
              <a:gd name="connsiteY375" fmla="*/ 501502 h 3811116"/>
              <a:gd name="connsiteX376" fmla="*/ 2064073 w 10825551"/>
              <a:gd name="connsiteY376" fmla="*/ 621153 h 3811116"/>
              <a:gd name="connsiteX377" fmla="*/ 2064073 w 10825551"/>
              <a:gd name="connsiteY377" fmla="*/ 625585 h 3811116"/>
              <a:gd name="connsiteX378" fmla="*/ 2071683 w 10825551"/>
              <a:gd name="connsiteY378" fmla="*/ 630755 h 3811116"/>
              <a:gd name="connsiteX379" fmla="*/ 1930019 w 10825551"/>
              <a:gd name="connsiteY379" fmla="*/ 556157 h 3811116"/>
              <a:gd name="connsiteX380" fmla="*/ 1890799 w 10825551"/>
              <a:gd name="connsiteY380" fmla="*/ 551726 h 3811116"/>
              <a:gd name="connsiteX381" fmla="*/ 2110904 w 10825551"/>
              <a:gd name="connsiteY381" fmla="*/ 690581 h 3811116"/>
              <a:gd name="connsiteX382" fmla="*/ 2146613 w 10825551"/>
              <a:gd name="connsiteY382" fmla="*/ 695751 h 3811116"/>
              <a:gd name="connsiteX383" fmla="*/ 2315790 w 10825551"/>
              <a:gd name="connsiteY383" fmla="*/ 799892 h 3811116"/>
              <a:gd name="connsiteX384" fmla="*/ 2115002 w 10825551"/>
              <a:gd name="connsiteY384" fmla="*/ 700182 h 3811116"/>
              <a:gd name="connsiteX385" fmla="*/ 2071683 w 10825551"/>
              <a:gd name="connsiteY385" fmla="*/ 695751 h 3811116"/>
              <a:gd name="connsiteX386" fmla="*/ 2154223 w 10825551"/>
              <a:gd name="connsiteY386" fmla="*/ 745236 h 3811116"/>
              <a:gd name="connsiteX387" fmla="*/ 2788196 w 10825551"/>
              <a:gd name="connsiteY387" fmla="*/ 973460 h 3811116"/>
              <a:gd name="connsiteX388" fmla="*/ 2386621 w 10825551"/>
              <a:gd name="connsiteY388" fmla="*/ 785120 h 3811116"/>
              <a:gd name="connsiteX389" fmla="*/ 2713852 w 10825551"/>
              <a:gd name="connsiteY389" fmla="*/ 938746 h 3811116"/>
              <a:gd name="connsiteX390" fmla="*/ 2748976 w 10825551"/>
              <a:gd name="connsiteY390" fmla="*/ 934315 h 3811116"/>
              <a:gd name="connsiteX391" fmla="*/ 2536480 w 10825551"/>
              <a:gd name="connsiteY391" fmla="*/ 829435 h 3811116"/>
              <a:gd name="connsiteX392" fmla="*/ 2788196 w 10825551"/>
              <a:gd name="connsiteY392" fmla="*/ 943916 h 3811116"/>
              <a:gd name="connsiteX393" fmla="*/ 2823905 w 10825551"/>
              <a:gd name="connsiteY393" fmla="*/ 943916 h 3811116"/>
              <a:gd name="connsiteX394" fmla="*/ 2648581 w 10825551"/>
              <a:gd name="connsiteY394" fmla="*/ 856209 h 3811116"/>
              <a:gd name="connsiteX395" fmla="*/ 2515890 w 10825551"/>
              <a:gd name="connsiteY395" fmla="*/ 787313 h 3811116"/>
              <a:gd name="connsiteX396" fmla="*/ 2621068 w 10825551"/>
              <a:gd name="connsiteY396" fmla="*/ 839129 h 3811116"/>
              <a:gd name="connsiteX397" fmla="*/ 2760683 w 10825551"/>
              <a:gd name="connsiteY397" fmla="*/ 904032 h 3811116"/>
              <a:gd name="connsiteX398" fmla="*/ 2799904 w 10825551"/>
              <a:gd name="connsiteY398" fmla="*/ 904032 h 3811116"/>
              <a:gd name="connsiteX399" fmla="*/ 2788196 w 10825551"/>
              <a:gd name="connsiteY399" fmla="*/ 898862 h 3811116"/>
              <a:gd name="connsiteX400" fmla="*/ 2815710 w 10825551"/>
              <a:gd name="connsiteY400" fmla="*/ 894431 h 3811116"/>
              <a:gd name="connsiteX401" fmla="*/ 2748976 w 10825551"/>
              <a:gd name="connsiteY401" fmla="*/ 864148 h 3811116"/>
              <a:gd name="connsiteX402" fmla="*/ 2780586 w 10825551"/>
              <a:gd name="connsiteY402" fmla="*/ 864148 h 3811116"/>
              <a:gd name="connsiteX403" fmla="*/ 2698047 w 10825551"/>
              <a:gd name="connsiteY403" fmla="*/ 824265 h 3811116"/>
              <a:gd name="connsiteX404" fmla="*/ 2717364 w 10825551"/>
              <a:gd name="connsiteY404" fmla="*/ 819833 h 3811116"/>
              <a:gd name="connsiteX405" fmla="*/ 2473259 w 10825551"/>
              <a:gd name="connsiteY405" fmla="*/ 680240 h 3811116"/>
              <a:gd name="connsiteX406" fmla="*/ 2229152 w 10825551"/>
              <a:gd name="connsiteY406" fmla="*/ 541385 h 3811116"/>
              <a:gd name="connsiteX407" fmla="*/ 2233250 w 10825551"/>
              <a:gd name="connsiteY407" fmla="*/ 536215 h 3811116"/>
              <a:gd name="connsiteX408" fmla="*/ 2099197 w 10825551"/>
              <a:gd name="connsiteY408" fmla="*/ 461618 h 3811116"/>
              <a:gd name="connsiteX409" fmla="*/ 2064073 w 10825551"/>
              <a:gd name="connsiteY409" fmla="*/ 437245 h 3811116"/>
              <a:gd name="connsiteX410" fmla="*/ 2067586 w 10825551"/>
              <a:gd name="connsiteY410" fmla="*/ 437245 h 3811116"/>
              <a:gd name="connsiteX411" fmla="*/ 2189931 w 10825551"/>
              <a:gd name="connsiteY411" fmla="*/ 506672 h 3811116"/>
              <a:gd name="connsiteX412" fmla="*/ 2229152 w 10825551"/>
              <a:gd name="connsiteY412" fmla="*/ 506672 h 3811116"/>
              <a:gd name="connsiteX413" fmla="*/ 2000851 w 10825551"/>
              <a:gd name="connsiteY413" fmla="*/ 367817 h 3811116"/>
              <a:gd name="connsiteX414" fmla="*/ 1953435 w 10825551"/>
              <a:gd name="connsiteY414" fmla="*/ 362647 h 3811116"/>
              <a:gd name="connsiteX415" fmla="*/ 1961630 w 10825551"/>
              <a:gd name="connsiteY415" fmla="*/ 367817 h 3811116"/>
              <a:gd name="connsiteX416" fmla="*/ 1855090 w 10825551"/>
              <a:gd name="connsiteY416" fmla="*/ 302822 h 3811116"/>
              <a:gd name="connsiteX417" fmla="*/ 1870896 w 10825551"/>
              <a:gd name="connsiteY417" fmla="*/ 302822 h 3811116"/>
              <a:gd name="connsiteX418" fmla="*/ 1866798 w 10825551"/>
              <a:gd name="connsiteY418" fmla="*/ 297651 h 3811116"/>
              <a:gd name="connsiteX419" fmla="*/ 1855090 w 10825551"/>
              <a:gd name="connsiteY419" fmla="*/ 288050 h 3811116"/>
              <a:gd name="connsiteX420" fmla="*/ 1878506 w 10825551"/>
              <a:gd name="connsiteY420" fmla="*/ 288050 h 3811116"/>
              <a:gd name="connsiteX421" fmla="*/ 1791868 w 10825551"/>
              <a:gd name="connsiteY421" fmla="*/ 233395 h 3811116"/>
              <a:gd name="connsiteX422" fmla="*/ 1803576 w 10825551"/>
              <a:gd name="connsiteY422" fmla="*/ 238564 h 3811116"/>
              <a:gd name="connsiteX423" fmla="*/ 1898409 w 10825551"/>
              <a:gd name="connsiteY423" fmla="*/ 297651 h 3811116"/>
              <a:gd name="connsiteX424" fmla="*/ 1933532 w 10825551"/>
              <a:gd name="connsiteY424" fmla="*/ 302822 h 3811116"/>
              <a:gd name="connsiteX425" fmla="*/ 2205737 w 10825551"/>
              <a:gd name="connsiteY425" fmla="*/ 461618 h 3811116"/>
              <a:gd name="connsiteX426" fmla="*/ 2244958 w 10825551"/>
              <a:gd name="connsiteY426" fmla="*/ 466788 h 3811116"/>
              <a:gd name="connsiteX427" fmla="*/ 1945825 w 10825551"/>
              <a:gd name="connsiteY427" fmla="*/ 293220 h 3811116"/>
              <a:gd name="connsiteX428" fmla="*/ 1914214 w 10825551"/>
              <a:gd name="connsiteY428" fmla="*/ 288050 h 3811116"/>
              <a:gd name="connsiteX429" fmla="*/ 1709328 w 10825551"/>
              <a:gd name="connsiteY429" fmla="*/ 153627 h 3811116"/>
              <a:gd name="connsiteX430" fmla="*/ 1669075 w 10825551"/>
              <a:gd name="connsiteY430" fmla="*/ 144176 h 3811116"/>
              <a:gd name="connsiteX431" fmla="*/ 1669872 w 10825551"/>
              <a:gd name="connsiteY431" fmla="*/ 148045 h 3811116"/>
              <a:gd name="connsiteX432" fmla="*/ 1668480 w 10825551"/>
              <a:gd name="connsiteY432" fmla="*/ 147394 h 3811116"/>
              <a:gd name="connsiteX433" fmla="*/ 1650205 w 10825551"/>
              <a:gd name="connsiteY433" fmla="*/ 138855 h 3811116"/>
              <a:gd name="connsiteX434" fmla="*/ 1528444 w 10825551"/>
              <a:gd name="connsiteY434" fmla="*/ 59826 h 3811116"/>
              <a:gd name="connsiteX435" fmla="*/ 1555958 w 10825551"/>
              <a:gd name="connsiteY435" fmla="*/ 69428 h 3811116"/>
              <a:gd name="connsiteX436" fmla="*/ 1661913 w 10825551"/>
              <a:gd name="connsiteY436" fmla="*/ 129253 h 3811116"/>
              <a:gd name="connsiteX437" fmla="*/ 1701719 w 10825551"/>
              <a:gd name="connsiteY437" fmla="*/ 134423 h 3811116"/>
              <a:gd name="connsiteX438" fmla="*/ 1653802 w 10825551"/>
              <a:gd name="connsiteY438" fmla="*/ 105946 h 3811116"/>
              <a:gd name="connsiteX439" fmla="*/ 1725601 w 10825551"/>
              <a:gd name="connsiteY439" fmla="*/ 145098 h 3811116"/>
              <a:gd name="connsiteX440" fmla="*/ 1800064 w 10825551"/>
              <a:gd name="connsiteY440" fmla="*/ 183909 h 3811116"/>
              <a:gd name="connsiteX441" fmla="*/ 1835187 w 10825551"/>
              <a:gd name="connsiteY441" fmla="*/ 183909 h 3811116"/>
              <a:gd name="connsiteX442" fmla="*/ 1571763 w 10825551"/>
              <a:gd name="connsiteY442" fmla="*/ 9602 h 3811116"/>
              <a:gd name="connsiteX443" fmla="*/ 1658401 w 10825551"/>
              <a:gd name="connsiteY443" fmla="*/ 54656 h 3811116"/>
              <a:gd name="connsiteX444" fmla="*/ 1697622 w 10825551"/>
              <a:gd name="connsiteY444" fmla="*/ 59826 h 3811116"/>
              <a:gd name="connsiteX445" fmla="*/ 1717525 w 10825551"/>
              <a:gd name="connsiteY445" fmla="*/ 54656 h 3811116"/>
              <a:gd name="connsiteX446" fmla="*/ 1638497 w 10825551"/>
              <a:gd name="connsiteY446" fmla="*/ 4431 h 3811116"/>
              <a:gd name="connsiteX447" fmla="*/ 1835187 w 10825551"/>
              <a:gd name="connsiteY447" fmla="*/ 114482 h 3811116"/>
              <a:gd name="connsiteX448" fmla="*/ 1874993 w 10825551"/>
              <a:gd name="connsiteY448" fmla="*/ 114482 h 3811116"/>
              <a:gd name="connsiteX449" fmla="*/ 1740940 w 10825551"/>
              <a:gd name="connsiteY449" fmla="*/ 34714 h 3811116"/>
              <a:gd name="connsiteX450" fmla="*/ 1745038 w 10825551"/>
              <a:gd name="connsiteY450" fmla="*/ 34714 h 3811116"/>
              <a:gd name="connsiteX451" fmla="*/ 1941727 w 10825551"/>
              <a:gd name="connsiteY451" fmla="*/ 149195 h 3811116"/>
              <a:gd name="connsiteX452" fmla="*/ 1980948 w 10825551"/>
              <a:gd name="connsiteY452" fmla="*/ 153627 h 3811116"/>
              <a:gd name="connsiteX453" fmla="*/ 1945825 w 10825551"/>
              <a:gd name="connsiteY453" fmla="*/ 134423 h 3811116"/>
              <a:gd name="connsiteX454" fmla="*/ 2012559 w 10825551"/>
              <a:gd name="connsiteY454" fmla="*/ 163967 h 3811116"/>
              <a:gd name="connsiteX455" fmla="*/ 2004949 w 10825551"/>
              <a:gd name="connsiteY455" fmla="*/ 168398 h 3811116"/>
              <a:gd name="connsiteX456" fmla="*/ 2249056 w 10825551"/>
              <a:gd name="connsiteY456" fmla="*/ 293220 h 3811116"/>
              <a:gd name="connsiteX457" fmla="*/ 2374914 w 10825551"/>
              <a:gd name="connsiteY457" fmla="*/ 367817 h 3811116"/>
              <a:gd name="connsiteX458" fmla="*/ 2414135 w 10825551"/>
              <a:gd name="connsiteY458" fmla="*/ 367817 h 3811116"/>
              <a:gd name="connsiteX459" fmla="*/ 2359108 w 10825551"/>
              <a:gd name="connsiteY459" fmla="*/ 337535 h 3811116"/>
              <a:gd name="connsiteX460" fmla="*/ 2367303 w 10825551"/>
              <a:gd name="connsiteY460" fmla="*/ 337535 h 3811116"/>
              <a:gd name="connsiteX461" fmla="*/ 2394816 w 10825551"/>
              <a:gd name="connsiteY461" fmla="*/ 337535 h 3811116"/>
              <a:gd name="connsiteX462" fmla="*/ 2390719 w 10825551"/>
              <a:gd name="connsiteY462" fmla="*/ 327933 h 3811116"/>
              <a:gd name="connsiteX463" fmla="*/ 2379011 w 10825551"/>
              <a:gd name="connsiteY463" fmla="*/ 322763 h 3811116"/>
              <a:gd name="connsiteX464" fmla="*/ 2359108 w 10825551"/>
              <a:gd name="connsiteY464" fmla="*/ 317594 h 3811116"/>
              <a:gd name="connsiteX465" fmla="*/ 2194029 w 10825551"/>
              <a:gd name="connsiteY465" fmla="*/ 223054 h 3811116"/>
              <a:gd name="connsiteX466" fmla="*/ 2154223 w 10825551"/>
              <a:gd name="connsiteY466" fmla="*/ 218623 h 3811116"/>
              <a:gd name="connsiteX467" fmla="*/ 2146613 w 10825551"/>
              <a:gd name="connsiteY467" fmla="*/ 213452 h 3811116"/>
              <a:gd name="connsiteX468" fmla="*/ 2134905 w 10825551"/>
              <a:gd name="connsiteY468" fmla="*/ 213452 h 3811116"/>
              <a:gd name="connsiteX469" fmla="*/ 2119100 w 10825551"/>
              <a:gd name="connsiteY469" fmla="*/ 203851 h 3811116"/>
              <a:gd name="connsiteX470" fmla="*/ 2142515 w 10825551"/>
              <a:gd name="connsiteY470" fmla="*/ 198680 h 3811116"/>
              <a:gd name="connsiteX471" fmla="*/ 2087488 w 10825551"/>
              <a:gd name="connsiteY471" fmla="*/ 168398 h 3811116"/>
              <a:gd name="connsiteX472" fmla="*/ 2189931 w 10825551"/>
              <a:gd name="connsiteY472" fmla="*/ 213452 h 3811116"/>
              <a:gd name="connsiteX473" fmla="*/ 2225055 w 10825551"/>
              <a:gd name="connsiteY473" fmla="*/ 213452 h 3811116"/>
              <a:gd name="connsiteX474" fmla="*/ 2205737 w 10825551"/>
              <a:gd name="connsiteY474" fmla="*/ 198680 h 3811116"/>
              <a:gd name="connsiteX475" fmla="*/ 2253153 w 10825551"/>
              <a:gd name="connsiteY475" fmla="*/ 223054 h 3811116"/>
              <a:gd name="connsiteX476" fmla="*/ 2233250 w 10825551"/>
              <a:gd name="connsiteY476" fmla="*/ 228224 h 3811116"/>
              <a:gd name="connsiteX477" fmla="*/ 2709755 w 10825551"/>
              <a:gd name="connsiteY477" fmla="*/ 481560 h 3811116"/>
              <a:gd name="connsiteX478" fmla="*/ 2748976 w 10825551"/>
              <a:gd name="connsiteY478" fmla="*/ 481560 h 3811116"/>
              <a:gd name="connsiteX479" fmla="*/ 2698047 w 10825551"/>
              <a:gd name="connsiteY479" fmla="*/ 452016 h 3811116"/>
              <a:gd name="connsiteX480" fmla="*/ 2799904 w 10825551"/>
              <a:gd name="connsiteY480" fmla="*/ 501502 h 3811116"/>
              <a:gd name="connsiteX481" fmla="*/ 2839710 w 10825551"/>
              <a:gd name="connsiteY481" fmla="*/ 506672 h 3811116"/>
              <a:gd name="connsiteX482" fmla="*/ 2855515 w 10825551"/>
              <a:gd name="connsiteY482" fmla="*/ 511843 h 3811116"/>
              <a:gd name="connsiteX483" fmla="*/ 3052206 w 10825551"/>
              <a:gd name="connsiteY483" fmla="*/ 615983 h 3811116"/>
              <a:gd name="connsiteX484" fmla="*/ 3252993 w 10825551"/>
              <a:gd name="connsiteY484" fmla="*/ 700182 h 3811116"/>
              <a:gd name="connsiteX485" fmla="*/ 3264701 w 10825551"/>
              <a:gd name="connsiteY485" fmla="*/ 705352 h 3811116"/>
              <a:gd name="connsiteX486" fmla="*/ 3422169 w 10825551"/>
              <a:gd name="connsiteY486" fmla="*/ 774779 h 3811116"/>
              <a:gd name="connsiteX487" fmla="*/ 3461976 w 10825551"/>
              <a:gd name="connsiteY487" fmla="*/ 770349 h 3811116"/>
              <a:gd name="connsiteX488" fmla="*/ 3371241 w 10825551"/>
              <a:gd name="connsiteY488" fmla="*/ 734896 h 3811116"/>
              <a:gd name="connsiteX489" fmla="*/ 3473683 w 10825551"/>
              <a:gd name="connsiteY489" fmla="*/ 770349 h 3811116"/>
              <a:gd name="connsiteX490" fmla="*/ 3512904 w 10825551"/>
              <a:gd name="connsiteY490" fmla="*/ 774779 h 3811116"/>
              <a:gd name="connsiteX491" fmla="*/ 4654993 w 10825551"/>
              <a:gd name="connsiteY491" fmla="*/ 1222365 h 3811116"/>
              <a:gd name="connsiteX492" fmla="*/ 4729923 w 10825551"/>
              <a:gd name="connsiteY492" fmla="*/ 1217194 h 3811116"/>
              <a:gd name="connsiteX493" fmla="*/ 4745728 w 10825551"/>
              <a:gd name="connsiteY493" fmla="*/ 1207593 h 3811116"/>
              <a:gd name="connsiteX494" fmla="*/ 4721728 w 10825551"/>
              <a:gd name="connsiteY494" fmla="*/ 1192082 h 3811116"/>
              <a:gd name="connsiteX495" fmla="*/ 4734021 w 10825551"/>
              <a:gd name="connsiteY495" fmla="*/ 1182481 h 3811116"/>
              <a:gd name="connsiteX496" fmla="*/ 4800755 w 10825551"/>
              <a:gd name="connsiteY496" fmla="*/ 1197252 h 3811116"/>
              <a:gd name="connsiteX497" fmla="*/ 4796657 w 10825551"/>
              <a:gd name="connsiteY497" fmla="*/ 1202422 h 3811116"/>
              <a:gd name="connsiteX498" fmla="*/ 4824170 w 10825551"/>
              <a:gd name="connsiteY498" fmla="*/ 1212024 h 3811116"/>
              <a:gd name="connsiteX499" fmla="*/ 4808366 w 10825551"/>
              <a:gd name="connsiteY499" fmla="*/ 1226796 h 3811116"/>
              <a:gd name="connsiteX500" fmla="*/ 4816560 w 10825551"/>
              <a:gd name="connsiteY500" fmla="*/ 1231966 h 3811116"/>
              <a:gd name="connsiteX501" fmla="*/ 4761534 w 10825551"/>
              <a:gd name="connsiteY501" fmla="*/ 1222365 h 3811116"/>
              <a:gd name="connsiteX502" fmla="*/ 4741631 w 10825551"/>
              <a:gd name="connsiteY502" fmla="*/ 1231966 h 3811116"/>
              <a:gd name="connsiteX503" fmla="*/ 4793145 w 10825551"/>
              <a:gd name="connsiteY503" fmla="*/ 1251908 h 3811116"/>
              <a:gd name="connsiteX504" fmla="*/ 4777339 w 10825551"/>
              <a:gd name="connsiteY504" fmla="*/ 1257078 h 3811116"/>
              <a:gd name="connsiteX505" fmla="*/ 4769144 w 10825551"/>
              <a:gd name="connsiteY505" fmla="*/ 1257078 h 3811116"/>
              <a:gd name="connsiteX506" fmla="*/ 4962322 w 10825551"/>
              <a:gd name="connsiteY506" fmla="*/ 1321335 h 3811116"/>
              <a:gd name="connsiteX507" fmla="*/ 4966419 w 10825551"/>
              <a:gd name="connsiteY507" fmla="*/ 1311733 h 3811116"/>
              <a:gd name="connsiteX508" fmla="*/ 4958223 w 10825551"/>
              <a:gd name="connsiteY508" fmla="*/ 1311733 h 3811116"/>
              <a:gd name="connsiteX509" fmla="*/ 4966419 w 10825551"/>
              <a:gd name="connsiteY509" fmla="*/ 1301393 h 3811116"/>
              <a:gd name="connsiteX510" fmla="*/ 4985736 w 10825551"/>
              <a:gd name="connsiteY510" fmla="*/ 1291792 h 3811116"/>
              <a:gd name="connsiteX511" fmla="*/ 5033153 w 10825551"/>
              <a:gd name="connsiteY511" fmla="*/ 1296962 h 3811116"/>
              <a:gd name="connsiteX512" fmla="*/ 5052471 w 10825551"/>
              <a:gd name="connsiteY512" fmla="*/ 1281451 h 3811116"/>
              <a:gd name="connsiteX513" fmla="*/ 4958223 w 10825551"/>
              <a:gd name="connsiteY513" fmla="*/ 1261510 h 3811116"/>
              <a:gd name="connsiteX514" fmla="*/ 5021446 w 10825551"/>
              <a:gd name="connsiteY514" fmla="*/ 1271849 h 3811116"/>
              <a:gd name="connsiteX515" fmla="*/ 5029055 w 10825551"/>
              <a:gd name="connsiteY515" fmla="*/ 1271849 h 3811116"/>
              <a:gd name="connsiteX516" fmla="*/ 5099887 w 10825551"/>
              <a:gd name="connsiteY516" fmla="*/ 1291792 h 3811116"/>
              <a:gd name="connsiteX517" fmla="*/ 5068276 w 10825551"/>
              <a:gd name="connsiteY517" fmla="*/ 1296962 h 3811116"/>
              <a:gd name="connsiteX518" fmla="*/ 5056570 w 10825551"/>
              <a:gd name="connsiteY518" fmla="*/ 1306564 h 3811116"/>
              <a:gd name="connsiteX519" fmla="*/ 5001542 w 10825551"/>
              <a:gd name="connsiteY519" fmla="*/ 1311733 h 3811116"/>
              <a:gd name="connsiteX520" fmla="*/ 4989834 w 10825551"/>
              <a:gd name="connsiteY520" fmla="*/ 1326505 h 3811116"/>
              <a:gd name="connsiteX521" fmla="*/ 5021372 w 10825551"/>
              <a:gd name="connsiteY521" fmla="*/ 1338138 h 3811116"/>
              <a:gd name="connsiteX522" fmla="*/ 5034154 w 10825551"/>
              <a:gd name="connsiteY522" fmla="*/ 1341553 h 3811116"/>
              <a:gd name="connsiteX523" fmla="*/ 5029055 w 10825551"/>
              <a:gd name="connsiteY523" fmla="*/ 1341277 h 3811116"/>
              <a:gd name="connsiteX524" fmla="*/ 5174817 w 10825551"/>
              <a:gd name="connsiteY524" fmla="*/ 1386331 h 3811116"/>
              <a:gd name="connsiteX525" fmla="*/ 5178914 w 10825551"/>
              <a:gd name="connsiteY525" fmla="*/ 1381161 h 3811116"/>
              <a:gd name="connsiteX526" fmla="*/ 5222233 w 10825551"/>
              <a:gd name="connsiteY526" fmla="*/ 1386331 h 3811116"/>
              <a:gd name="connsiteX527" fmla="*/ 5238038 w 10825551"/>
              <a:gd name="connsiteY527" fmla="*/ 1375991 h 3811116"/>
              <a:gd name="connsiteX528" fmla="*/ 5277259 w 10825551"/>
              <a:gd name="connsiteY528" fmla="*/ 1381161 h 3811116"/>
              <a:gd name="connsiteX529" fmla="*/ 5297162 w 10825551"/>
              <a:gd name="connsiteY529" fmla="*/ 1371559 h 3811116"/>
              <a:gd name="connsiteX530" fmla="*/ 5245648 w 10825551"/>
              <a:gd name="connsiteY530" fmla="*/ 1361219 h 3811116"/>
              <a:gd name="connsiteX531" fmla="*/ 5257356 w 10825551"/>
              <a:gd name="connsiteY531" fmla="*/ 1346447 h 3811116"/>
              <a:gd name="connsiteX532" fmla="*/ 5029055 w 10825551"/>
              <a:gd name="connsiteY532" fmla="*/ 1321335 h 3811116"/>
              <a:gd name="connsiteX533" fmla="*/ 5194719 w 10825551"/>
              <a:gd name="connsiteY533" fmla="*/ 1336107 h 3811116"/>
              <a:gd name="connsiteX534" fmla="*/ 5210525 w 10825551"/>
              <a:gd name="connsiteY534" fmla="*/ 1321335 h 3811116"/>
              <a:gd name="connsiteX535" fmla="*/ 5103984 w 10825551"/>
              <a:gd name="connsiteY535" fmla="*/ 1301393 h 3811116"/>
              <a:gd name="connsiteX536" fmla="*/ 5229843 w 10825551"/>
              <a:gd name="connsiteY536" fmla="*/ 1316165 h 3811116"/>
              <a:gd name="connsiteX537" fmla="*/ 5245648 w 10825551"/>
              <a:gd name="connsiteY537" fmla="*/ 1301393 h 3811116"/>
              <a:gd name="connsiteX538" fmla="*/ 5157475 w 10825551"/>
              <a:gd name="connsiteY538" fmla="*/ 1284037 h 3811116"/>
              <a:gd name="connsiteX539" fmla="*/ 5122696 w 10825551"/>
              <a:gd name="connsiteY539" fmla="*/ 1276944 h 3811116"/>
              <a:gd name="connsiteX540" fmla="*/ 5145474 w 10825551"/>
              <a:gd name="connsiteY540" fmla="*/ 1280251 h 3811116"/>
              <a:gd name="connsiteX541" fmla="*/ 5214038 w 10825551"/>
              <a:gd name="connsiteY541" fmla="*/ 1286621 h 3811116"/>
              <a:gd name="connsiteX542" fmla="*/ 5233940 w 10825551"/>
              <a:gd name="connsiteY542" fmla="*/ 1271849 h 3811116"/>
              <a:gd name="connsiteX543" fmla="*/ 5225745 w 10825551"/>
              <a:gd name="connsiteY543" fmla="*/ 1271849 h 3811116"/>
              <a:gd name="connsiteX544" fmla="*/ 5238038 w 10825551"/>
              <a:gd name="connsiteY544" fmla="*/ 1257078 h 3811116"/>
              <a:gd name="connsiteX545" fmla="*/ 5206427 w 10825551"/>
              <a:gd name="connsiteY545" fmla="*/ 1257078 h 3811116"/>
              <a:gd name="connsiteX546" fmla="*/ 5222233 w 10825551"/>
              <a:gd name="connsiteY546" fmla="*/ 1242306 h 3811116"/>
              <a:gd name="connsiteX547" fmla="*/ 5183012 w 10825551"/>
              <a:gd name="connsiteY547" fmla="*/ 1237136 h 3811116"/>
              <a:gd name="connsiteX548" fmla="*/ 5190622 w 10825551"/>
              <a:gd name="connsiteY548" fmla="*/ 1222365 h 3811116"/>
              <a:gd name="connsiteX549" fmla="*/ 5072374 w 10825551"/>
              <a:gd name="connsiteY549" fmla="*/ 1187651 h 3811116"/>
              <a:gd name="connsiteX550" fmla="*/ 4950613 w 10825551"/>
              <a:gd name="connsiteY550" fmla="*/ 1152937 h 3811116"/>
              <a:gd name="connsiteX551" fmla="*/ 4950613 w 10825551"/>
              <a:gd name="connsiteY551" fmla="*/ 1147766 h 3811116"/>
              <a:gd name="connsiteX552" fmla="*/ 4883294 w 10825551"/>
              <a:gd name="connsiteY552" fmla="*/ 1127825 h 3811116"/>
              <a:gd name="connsiteX553" fmla="*/ 4867489 w 10825551"/>
              <a:gd name="connsiteY553" fmla="*/ 1122655 h 3811116"/>
              <a:gd name="connsiteX554" fmla="*/ 4930711 w 10825551"/>
              <a:gd name="connsiteY554" fmla="*/ 1137426 h 3811116"/>
              <a:gd name="connsiteX555" fmla="*/ 4950613 w 10825551"/>
              <a:gd name="connsiteY555" fmla="*/ 1122655 h 3811116"/>
              <a:gd name="connsiteX556" fmla="*/ 4836463 w 10825551"/>
              <a:gd name="connsiteY556" fmla="*/ 1082771 h 3811116"/>
              <a:gd name="connsiteX557" fmla="*/ 4813331 w 10825551"/>
              <a:gd name="connsiteY557" fmla="*/ 1092742 h 3811116"/>
              <a:gd name="connsiteX558" fmla="*/ 4812596 w 10825551"/>
              <a:gd name="connsiteY558" fmla="*/ 1096804 h 3811116"/>
              <a:gd name="connsiteX559" fmla="*/ 4810121 w 10825551"/>
              <a:gd name="connsiteY559" fmla="*/ 1096343 h 3811116"/>
              <a:gd name="connsiteX560" fmla="*/ 4765047 w 10825551"/>
              <a:gd name="connsiteY560" fmla="*/ 1087941 h 3811116"/>
              <a:gd name="connsiteX561" fmla="*/ 4773242 w 10825551"/>
              <a:gd name="connsiteY561" fmla="*/ 1078339 h 3811116"/>
              <a:gd name="connsiteX562" fmla="*/ 4769144 w 10825551"/>
              <a:gd name="connsiteY562" fmla="*/ 1073169 h 3811116"/>
              <a:gd name="connsiteX563" fmla="*/ 4761534 w 10825551"/>
              <a:gd name="connsiteY563" fmla="*/ 1073169 h 3811116"/>
              <a:gd name="connsiteX564" fmla="*/ 4773242 w 10825551"/>
              <a:gd name="connsiteY564" fmla="*/ 1062829 h 3811116"/>
              <a:gd name="connsiteX565" fmla="*/ 4734021 w 10825551"/>
              <a:gd name="connsiteY565" fmla="*/ 1048058 h 3811116"/>
              <a:gd name="connsiteX566" fmla="*/ 4737533 w 10825551"/>
              <a:gd name="connsiteY566" fmla="*/ 1042887 h 3811116"/>
              <a:gd name="connsiteX567" fmla="*/ 4784950 w 10825551"/>
              <a:gd name="connsiteY567" fmla="*/ 1062829 h 3811116"/>
              <a:gd name="connsiteX568" fmla="*/ 4800755 w 10825551"/>
              <a:gd name="connsiteY568" fmla="*/ 1053227 h 3811116"/>
              <a:gd name="connsiteX569" fmla="*/ 4938320 w 10825551"/>
              <a:gd name="connsiteY569" fmla="*/ 1087941 h 3811116"/>
              <a:gd name="connsiteX570" fmla="*/ 4958223 w 10825551"/>
              <a:gd name="connsiteY570" fmla="*/ 1078339 h 3811116"/>
              <a:gd name="connsiteX571" fmla="*/ 4808366 w 10825551"/>
              <a:gd name="connsiteY571" fmla="*/ 1038456 h 3811116"/>
              <a:gd name="connsiteX572" fmla="*/ 4793145 w 10825551"/>
              <a:gd name="connsiteY572" fmla="*/ 1042887 h 3811116"/>
              <a:gd name="connsiteX573" fmla="*/ 4690702 w 10825551"/>
              <a:gd name="connsiteY573" fmla="*/ 1008173 h 3811116"/>
              <a:gd name="connsiteX574" fmla="*/ 4670799 w 10825551"/>
              <a:gd name="connsiteY574" fmla="*/ 1018514 h 3811116"/>
              <a:gd name="connsiteX575" fmla="*/ 4674896 w 10825551"/>
              <a:gd name="connsiteY575" fmla="*/ 1023684 h 3811116"/>
              <a:gd name="connsiteX576" fmla="*/ 4659091 w 10825551"/>
              <a:gd name="connsiteY576" fmla="*/ 1018514 h 3811116"/>
              <a:gd name="connsiteX577" fmla="*/ 4599967 w 10825551"/>
              <a:gd name="connsiteY577" fmla="*/ 998572 h 3811116"/>
              <a:gd name="connsiteX578" fmla="*/ 4611675 w 10825551"/>
              <a:gd name="connsiteY578" fmla="*/ 998572 h 3811116"/>
              <a:gd name="connsiteX579" fmla="*/ 4666701 w 10825551"/>
              <a:gd name="connsiteY579" fmla="*/ 1008173 h 3811116"/>
              <a:gd name="connsiteX580" fmla="*/ 4686604 w 10825551"/>
              <a:gd name="connsiteY580" fmla="*/ 993402 h 3811116"/>
              <a:gd name="connsiteX581" fmla="*/ 4664215 w 10825551"/>
              <a:gd name="connsiteY581" fmla="*/ 988421 h 3811116"/>
              <a:gd name="connsiteX582" fmla="*/ 4737533 w 10825551"/>
              <a:gd name="connsiteY582" fmla="*/ 998572 h 3811116"/>
              <a:gd name="connsiteX583" fmla="*/ 4753338 w 10825551"/>
              <a:gd name="connsiteY583" fmla="*/ 983800 h 3811116"/>
              <a:gd name="connsiteX584" fmla="*/ 4619870 w 10825551"/>
              <a:gd name="connsiteY584" fmla="*/ 934315 h 3811116"/>
              <a:gd name="connsiteX585" fmla="*/ 4666701 w 10825551"/>
              <a:gd name="connsiteY585" fmla="*/ 938746 h 3811116"/>
              <a:gd name="connsiteX586" fmla="*/ 4682507 w 10825551"/>
              <a:gd name="connsiteY586" fmla="*/ 923975 h 3811116"/>
              <a:gd name="connsiteX587" fmla="*/ 4694214 w 10825551"/>
              <a:gd name="connsiteY587" fmla="*/ 914373 h 3811116"/>
              <a:gd name="connsiteX588" fmla="*/ 4654993 w 10825551"/>
              <a:gd name="connsiteY588" fmla="*/ 898862 h 3811116"/>
              <a:gd name="connsiteX589" fmla="*/ 4753338 w 10825551"/>
              <a:gd name="connsiteY589" fmla="*/ 918805 h 3811116"/>
              <a:gd name="connsiteX590" fmla="*/ 4773242 w 10825551"/>
              <a:gd name="connsiteY590" fmla="*/ 904032 h 3811116"/>
              <a:gd name="connsiteX591" fmla="*/ 4705922 w 10825551"/>
              <a:gd name="connsiteY591" fmla="*/ 884091 h 3811116"/>
              <a:gd name="connsiteX592" fmla="*/ 4705922 w 10825551"/>
              <a:gd name="connsiteY592" fmla="*/ 878920 h 3811116"/>
              <a:gd name="connsiteX593" fmla="*/ 4804852 w 10825551"/>
              <a:gd name="connsiteY593" fmla="*/ 909203 h 3811116"/>
              <a:gd name="connsiteX594" fmla="*/ 4824170 w 10825551"/>
              <a:gd name="connsiteY594" fmla="*/ 894431 h 3811116"/>
              <a:gd name="connsiteX595" fmla="*/ 4804852 w 10825551"/>
              <a:gd name="connsiteY595" fmla="*/ 889261 h 3811116"/>
              <a:gd name="connsiteX596" fmla="*/ 4839976 w 10825551"/>
              <a:gd name="connsiteY596" fmla="*/ 889261 h 3811116"/>
              <a:gd name="connsiteX597" fmla="*/ 4836463 w 10825551"/>
              <a:gd name="connsiteY597" fmla="*/ 894431 h 3811116"/>
              <a:gd name="connsiteX598" fmla="*/ 4954125 w 10825551"/>
              <a:gd name="connsiteY598" fmla="*/ 914373 h 3811116"/>
              <a:gd name="connsiteX599" fmla="*/ 5017347 w 10825551"/>
              <a:gd name="connsiteY599" fmla="*/ 929145 h 3811116"/>
              <a:gd name="connsiteX600" fmla="*/ 5037251 w 10825551"/>
              <a:gd name="connsiteY600" fmla="*/ 918805 h 3811116"/>
              <a:gd name="connsiteX601" fmla="*/ 5009738 w 10825551"/>
              <a:gd name="connsiteY601" fmla="*/ 909203 h 3811116"/>
              <a:gd name="connsiteX602" fmla="*/ 5013250 w 10825551"/>
              <a:gd name="connsiteY602" fmla="*/ 909203 h 3811116"/>
              <a:gd name="connsiteX603" fmla="*/ 5029055 w 10825551"/>
              <a:gd name="connsiteY603" fmla="*/ 894431 h 3811116"/>
              <a:gd name="connsiteX604" fmla="*/ 5024957 w 10825551"/>
              <a:gd name="connsiteY604" fmla="*/ 889261 h 3811116"/>
              <a:gd name="connsiteX605" fmla="*/ 5017347 w 10825551"/>
              <a:gd name="connsiteY605" fmla="*/ 889261 h 3811116"/>
              <a:gd name="connsiteX606" fmla="*/ 5009738 w 10825551"/>
              <a:gd name="connsiteY606" fmla="*/ 889261 h 3811116"/>
              <a:gd name="connsiteX607" fmla="*/ 4926612 w 10825551"/>
              <a:gd name="connsiteY607" fmla="*/ 874489 h 3811116"/>
              <a:gd name="connsiteX608" fmla="*/ 4910807 w 10825551"/>
              <a:gd name="connsiteY608" fmla="*/ 878920 h 3811116"/>
              <a:gd name="connsiteX609" fmla="*/ 4907295 w 10825551"/>
              <a:gd name="connsiteY609" fmla="*/ 878920 h 3811116"/>
              <a:gd name="connsiteX610" fmla="*/ 4899099 w 10825551"/>
              <a:gd name="connsiteY610" fmla="*/ 884091 h 3811116"/>
              <a:gd name="connsiteX611" fmla="*/ 4891489 w 10825551"/>
              <a:gd name="connsiteY611" fmla="*/ 884091 h 3811116"/>
              <a:gd name="connsiteX612" fmla="*/ 4903198 w 10825551"/>
              <a:gd name="connsiteY612" fmla="*/ 869319 h 3811116"/>
              <a:gd name="connsiteX613" fmla="*/ 4875684 w 10825551"/>
              <a:gd name="connsiteY613" fmla="*/ 864148 h 3811116"/>
              <a:gd name="connsiteX614" fmla="*/ 4926612 w 10825551"/>
              <a:gd name="connsiteY614" fmla="*/ 859717 h 3811116"/>
              <a:gd name="connsiteX615" fmla="*/ 4942418 w 10825551"/>
              <a:gd name="connsiteY615" fmla="*/ 844207 h 3811116"/>
              <a:gd name="connsiteX616" fmla="*/ 4954125 w 10825551"/>
              <a:gd name="connsiteY616" fmla="*/ 844207 h 3811116"/>
              <a:gd name="connsiteX617" fmla="*/ 4954125 w 10825551"/>
              <a:gd name="connsiteY617" fmla="*/ 849377 h 3811116"/>
              <a:gd name="connsiteX618" fmla="*/ 4946516 w 10825551"/>
              <a:gd name="connsiteY618" fmla="*/ 859717 h 3811116"/>
              <a:gd name="connsiteX619" fmla="*/ 5178914 w 10825551"/>
              <a:gd name="connsiteY619" fmla="*/ 904032 h 3811116"/>
              <a:gd name="connsiteX620" fmla="*/ 5198232 w 10825551"/>
              <a:gd name="connsiteY620" fmla="*/ 894431 h 3811116"/>
              <a:gd name="connsiteX621" fmla="*/ 5174817 w 10825551"/>
              <a:gd name="connsiteY621" fmla="*/ 884091 h 3811116"/>
              <a:gd name="connsiteX622" fmla="*/ 5222233 w 10825551"/>
              <a:gd name="connsiteY622" fmla="*/ 894431 h 3811116"/>
              <a:gd name="connsiteX623" fmla="*/ 5241551 w 10825551"/>
              <a:gd name="connsiteY623" fmla="*/ 878920 h 3811116"/>
              <a:gd name="connsiteX624" fmla="*/ 5249746 w 10825551"/>
              <a:gd name="connsiteY624" fmla="*/ 884091 h 3811116"/>
              <a:gd name="connsiteX625" fmla="*/ 5343993 w 10825551"/>
              <a:gd name="connsiteY625" fmla="*/ 904032 h 3811116"/>
              <a:gd name="connsiteX626" fmla="*/ 5438826 w 10825551"/>
              <a:gd name="connsiteY626" fmla="*/ 914373 h 3811116"/>
              <a:gd name="connsiteX627" fmla="*/ 5446436 w 10825551"/>
              <a:gd name="connsiteY627" fmla="*/ 914373 h 3811116"/>
              <a:gd name="connsiteX628" fmla="*/ 5521365 w 10825551"/>
              <a:gd name="connsiteY628" fmla="*/ 918805 h 3811116"/>
              <a:gd name="connsiteX629" fmla="*/ 5541268 w 10825551"/>
              <a:gd name="connsiteY629" fmla="*/ 904032 h 3811116"/>
              <a:gd name="connsiteX630" fmla="*/ 5497950 w 10825551"/>
              <a:gd name="connsiteY630" fmla="*/ 898862 h 3811116"/>
              <a:gd name="connsiteX631" fmla="*/ 5544780 w 10825551"/>
              <a:gd name="connsiteY631" fmla="*/ 898862 h 3811116"/>
              <a:gd name="connsiteX632" fmla="*/ 5564684 w 10825551"/>
              <a:gd name="connsiteY632" fmla="*/ 889261 h 3811116"/>
              <a:gd name="connsiteX633" fmla="*/ 7513435 w 10825551"/>
              <a:gd name="connsiteY633" fmla="*/ 898862 h 3811116"/>
              <a:gd name="connsiteX634" fmla="*/ 7481824 w 10825551"/>
              <a:gd name="connsiteY634" fmla="*/ 909203 h 3811116"/>
              <a:gd name="connsiteX635" fmla="*/ 7470117 w 10825551"/>
              <a:gd name="connsiteY635" fmla="*/ 929145 h 3811116"/>
              <a:gd name="connsiteX636" fmla="*/ 7493532 w 10825551"/>
              <a:gd name="connsiteY636" fmla="*/ 923975 h 3811116"/>
              <a:gd name="connsiteX637" fmla="*/ 7485922 w 10825551"/>
              <a:gd name="connsiteY637" fmla="*/ 938746 h 3811116"/>
              <a:gd name="connsiteX638" fmla="*/ 7536850 w 10825551"/>
              <a:gd name="connsiteY638" fmla="*/ 938746 h 3811116"/>
              <a:gd name="connsiteX639" fmla="*/ 7529240 w 10825551"/>
              <a:gd name="connsiteY639" fmla="*/ 953518 h 3811116"/>
              <a:gd name="connsiteX640" fmla="*/ 7540949 w 10825551"/>
              <a:gd name="connsiteY640" fmla="*/ 953518 h 3811116"/>
              <a:gd name="connsiteX641" fmla="*/ 7529240 w 10825551"/>
              <a:gd name="connsiteY641" fmla="*/ 973460 h 3811116"/>
              <a:gd name="connsiteX642" fmla="*/ 7690807 w 10825551"/>
              <a:gd name="connsiteY642" fmla="*/ 953518 h 3811116"/>
              <a:gd name="connsiteX643" fmla="*/ 7682612 w 10825551"/>
              <a:gd name="connsiteY643" fmla="*/ 958688 h 3811116"/>
              <a:gd name="connsiteX644" fmla="*/ 7666806 w 10825551"/>
              <a:gd name="connsiteY644" fmla="*/ 978630 h 3811116"/>
              <a:gd name="connsiteX645" fmla="*/ 7722419 w 10825551"/>
              <a:gd name="connsiteY645" fmla="*/ 978630 h 3811116"/>
              <a:gd name="connsiteX646" fmla="*/ 7710126 w 10825551"/>
              <a:gd name="connsiteY646" fmla="*/ 993402 h 3811116"/>
              <a:gd name="connsiteX647" fmla="*/ 7812568 w 10825551"/>
              <a:gd name="connsiteY647" fmla="*/ 993402 h 3811116"/>
              <a:gd name="connsiteX648" fmla="*/ 7824276 w 10825551"/>
              <a:gd name="connsiteY648" fmla="*/ 973460 h 3811116"/>
              <a:gd name="connsiteX649" fmla="*/ 7765736 w 10825551"/>
              <a:gd name="connsiteY649" fmla="*/ 978630 h 3811116"/>
              <a:gd name="connsiteX650" fmla="*/ 7804957 w 10825551"/>
              <a:gd name="connsiteY650" fmla="*/ 958688 h 3811116"/>
              <a:gd name="connsiteX651" fmla="*/ 7966526 w 10825551"/>
              <a:gd name="connsiteY651" fmla="*/ 949086 h 3811116"/>
              <a:gd name="connsiteX652" fmla="*/ 7883400 w 10825551"/>
              <a:gd name="connsiteY652" fmla="*/ 973460 h 3811116"/>
              <a:gd name="connsiteX653" fmla="*/ 7867594 w 10825551"/>
              <a:gd name="connsiteY653" fmla="*/ 993402 h 3811116"/>
              <a:gd name="connsiteX654" fmla="*/ 7879886 w 10825551"/>
              <a:gd name="connsiteY654" fmla="*/ 993402 h 3811116"/>
              <a:gd name="connsiteX655" fmla="*/ 7855886 w 10825551"/>
              <a:gd name="connsiteY655" fmla="*/ 998572 h 3811116"/>
              <a:gd name="connsiteX656" fmla="*/ 7848278 w 10825551"/>
              <a:gd name="connsiteY656" fmla="*/ 998572 h 3811116"/>
              <a:gd name="connsiteX657" fmla="*/ 7789154 w 10825551"/>
              <a:gd name="connsiteY657" fmla="*/ 1013344 h 3811116"/>
              <a:gd name="connsiteX658" fmla="*/ 7773347 w 10825551"/>
              <a:gd name="connsiteY658" fmla="*/ 1033286 h 3811116"/>
              <a:gd name="connsiteX659" fmla="*/ 7919108 w 10825551"/>
              <a:gd name="connsiteY659" fmla="*/ 1013344 h 3811116"/>
              <a:gd name="connsiteX660" fmla="*/ 7879886 w 10825551"/>
              <a:gd name="connsiteY660" fmla="*/ 1033286 h 3811116"/>
              <a:gd name="connsiteX661" fmla="*/ 7867594 w 10825551"/>
              <a:gd name="connsiteY661" fmla="*/ 1053227 h 3811116"/>
              <a:gd name="connsiteX662" fmla="*/ 7942524 w 10825551"/>
              <a:gd name="connsiteY662" fmla="*/ 1042887 h 3811116"/>
              <a:gd name="connsiteX663" fmla="*/ 7773347 w 10825551"/>
              <a:gd name="connsiteY663" fmla="*/ 1097543 h 3811116"/>
              <a:gd name="connsiteX664" fmla="*/ 7761638 w 10825551"/>
              <a:gd name="connsiteY664" fmla="*/ 1117485 h 3811116"/>
              <a:gd name="connsiteX665" fmla="*/ 7809054 w 10825551"/>
              <a:gd name="connsiteY665" fmla="*/ 1107883 h 3811116"/>
              <a:gd name="connsiteX666" fmla="*/ 7804957 w 10825551"/>
              <a:gd name="connsiteY666" fmla="*/ 1122655 h 3811116"/>
              <a:gd name="connsiteX667" fmla="*/ 7828372 w 10825551"/>
              <a:gd name="connsiteY667" fmla="*/ 1117485 h 3811116"/>
              <a:gd name="connsiteX668" fmla="*/ 7824276 w 10825551"/>
              <a:gd name="connsiteY668" fmla="*/ 1127825 h 3811116"/>
              <a:gd name="connsiteX669" fmla="*/ 8044966 w 10825551"/>
              <a:gd name="connsiteY669" fmla="*/ 1097543 h 3811116"/>
              <a:gd name="connsiteX670" fmla="*/ 8060772 w 10825551"/>
              <a:gd name="connsiteY670" fmla="*/ 1078339 h 3811116"/>
              <a:gd name="connsiteX671" fmla="*/ 7879886 w 10825551"/>
              <a:gd name="connsiteY671" fmla="*/ 1107883 h 3811116"/>
              <a:gd name="connsiteX672" fmla="*/ 7923205 w 10825551"/>
              <a:gd name="connsiteY672" fmla="*/ 1097543 h 3811116"/>
              <a:gd name="connsiteX673" fmla="*/ 7939010 w 10825551"/>
              <a:gd name="connsiteY673" fmla="*/ 1078339 h 3811116"/>
              <a:gd name="connsiteX674" fmla="*/ 7985842 w 10825551"/>
              <a:gd name="connsiteY674" fmla="*/ 1067999 h 3811116"/>
              <a:gd name="connsiteX675" fmla="*/ 8001648 w 10825551"/>
              <a:gd name="connsiteY675" fmla="*/ 1048058 h 3811116"/>
              <a:gd name="connsiteX676" fmla="*/ 7895693 w 10825551"/>
              <a:gd name="connsiteY676" fmla="*/ 1073169 h 3811116"/>
              <a:gd name="connsiteX677" fmla="*/ 8033258 w 10825551"/>
              <a:gd name="connsiteY677" fmla="*/ 1028115 h 3811116"/>
              <a:gd name="connsiteX678" fmla="*/ 8040868 w 10825551"/>
              <a:gd name="connsiteY678" fmla="*/ 1018514 h 3811116"/>
              <a:gd name="connsiteX679" fmla="*/ 8084772 w 10825551"/>
              <a:gd name="connsiteY679" fmla="*/ 1013344 h 3811116"/>
              <a:gd name="connsiteX680" fmla="*/ 8044966 w 10825551"/>
              <a:gd name="connsiteY680" fmla="*/ 1028115 h 3811116"/>
              <a:gd name="connsiteX681" fmla="*/ 8033258 w 10825551"/>
              <a:gd name="connsiteY681" fmla="*/ 1048058 h 3811116"/>
              <a:gd name="connsiteX682" fmla="*/ 8135701 w 10825551"/>
              <a:gd name="connsiteY682" fmla="*/ 1048058 h 3811116"/>
              <a:gd name="connsiteX683" fmla="*/ 8143310 w 10825551"/>
              <a:gd name="connsiteY683" fmla="*/ 1048058 h 3811116"/>
              <a:gd name="connsiteX684" fmla="*/ 8104090 w 10825551"/>
              <a:gd name="connsiteY684" fmla="*/ 1062829 h 3811116"/>
              <a:gd name="connsiteX685" fmla="*/ 8092382 w 10825551"/>
              <a:gd name="connsiteY685" fmla="*/ 1082771 h 3811116"/>
              <a:gd name="connsiteX686" fmla="*/ 8202434 w 10825551"/>
              <a:gd name="connsiteY686" fmla="*/ 1087941 h 3811116"/>
              <a:gd name="connsiteX687" fmla="*/ 8112284 w 10825551"/>
              <a:gd name="connsiteY687" fmla="*/ 1113053 h 3811116"/>
              <a:gd name="connsiteX688" fmla="*/ 8092382 w 10825551"/>
              <a:gd name="connsiteY688" fmla="*/ 1132995 h 3811116"/>
              <a:gd name="connsiteX689" fmla="*/ 7982330 w 10825551"/>
              <a:gd name="connsiteY689" fmla="*/ 1147766 h 3811116"/>
              <a:gd name="connsiteX690" fmla="*/ 7989939 w 10825551"/>
              <a:gd name="connsiteY690" fmla="*/ 1132995 h 3811116"/>
              <a:gd name="connsiteX691" fmla="*/ 7942524 w 10825551"/>
              <a:gd name="connsiteY691" fmla="*/ 1147766 h 3811116"/>
              <a:gd name="connsiteX692" fmla="*/ 7926718 w 10825551"/>
              <a:gd name="connsiteY692" fmla="*/ 1167709 h 3811116"/>
              <a:gd name="connsiteX693" fmla="*/ 7942524 w 10825551"/>
              <a:gd name="connsiteY693" fmla="*/ 1167709 h 3811116"/>
              <a:gd name="connsiteX694" fmla="*/ 7930816 w 10825551"/>
              <a:gd name="connsiteY694" fmla="*/ 1172140 h 3811116"/>
              <a:gd name="connsiteX695" fmla="*/ 7915010 w 10825551"/>
              <a:gd name="connsiteY695" fmla="*/ 1192082 h 3811116"/>
              <a:gd name="connsiteX696" fmla="*/ 8044966 w 10825551"/>
              <a:gd name="connsiteY696" fmla="*/ 1177311 h 3811116"/>
              <a:gd name="connsiteX697" fmla="*/ 8033258 w 10825551"/>
              <a:gd name="connsiteY697" fmla="*/ 1197252 h 3811116"/>
              <a:gd name="connsiteX698" fmla="*/ 7867594 w 10825551"/>
              <a:gd name="connsiteY698" fmla="*/ 1257078 h 3811116"/>
              <a:gd name="connsiteX699" fmla="*/ 7855886 w 10825551"/>
              <a:gd name="connsiteY699" fmla="*/ 1277020 h 3811116"/>
              <a:gd name="connsiteX700" fmla="*/ 7950718 w 10825551"/>
              <a:gd name="connsiteY700" fmla="*/ 1251908 h 3811116"/>
              <a:gd name="connsiteX701" fmla="*/ 7895693 w 10825551"/>
              <a:gd name="connsiteY701" fmla="*/ 1286621 h 3811116"/>
              <a:gd name="connsiteX702" fmla="*/ 7887496 w 10825551"/>
              <a:gd name="connsiteY702" fmla="*/ 1301393 h 3811116"/>
              <a:gd name="connsiteX703" fmla="*/ 7978232 w 10825551"/>
              <a:gd name="connsiteY703" fmla="*/ 1281451 h 3811116"/>
              <a:gd name="connsiteX704" fmla="*/ 7978232 w 10825551"/>
              <a:gd name="connsiteY704" fmla="*/ 1286621 h 3811116"/>
              <a:gd name="connsiteX705" fmla="*/ 7985842 w 10825551"/>
              <a:gd name="connsiteY705" fmla="*/ 1286621 h 3811116"/>
              <a:gd name="connsiteX706" fmla="*/ 7978232 w 10825551"/>
              <a:gd name="connsiteY706" fmla="*/ 1306564 h 3811116"/>
              <a:gd name="connsiteX707" fmla="*/ 8076577 w 10825551"/>
              <a:gd name="connsiteY707" fmla="*/ 1296962 h 3811116"/>
              <a:gd name="connsiteX708" fmla="*/ 8092382 w 10825551"/>
              <a:gd name="connsiteY708" fmla="*/ 1277020 h 3811116"/>
              <a:gd name="connsiteX709" fmla="*/ 8104090 w 10825551"/>
              <a:gd name="connsiteY709" fmla="*/ 1277020 h 3811116"/>
              <a:gd name="connsiteX710" fmla="*/ 8128090 w 10825551"/>
              <a:gd name="connsiteY710" fmla="*/ 1286621 h 3811116"/>
              <a:gd name="connsiteX711" fmla="*/ 8080675 w 10825551"/>
              <a:gd name="connsiteY711" fmla="*/ 1306564 h 3811116"/>
              <a:gd name="connsiteX712" fmla="*/ 8064868 w 10825551"/>
              <a:gd name="connsiteY712" fmla="*/ 1331675 h 3811116"/>
              <a:gd name="connsiteX713" fmla="*/ 8163214 w 10825551"/>
              <a:gd name="connsiteY713" fmla="*/ 1316165 h 3811116"/>
              <a:gd name="connsiteX714" fmla="*/ 8163214 w 10825551"/>
              <a:gd name="connsiteY714" fmla="*/ 1321335 h 3811116"/>
              <a:gd name="connsiteX715" fmla="*/ 8099992 w 10825551"/>
              <a:gd name="connsiteY715" fmla="*/ 1351617 h 3811116"/>
              <a:gd name="connsiteX716" fmla="*/ 8084772 w 10825551"/>
              <a:gd name="connsiteY716" fmla="*/ 1371559 h 3811116"/>
              <a:gd name="connsiteX717" fmla="*/ 8253949 w 10825551"/>
              <a:gd name="connsiteY717" fmla="*/ 1346447 h 3811116"/>
              <a:gd name="connsiteX718" fmla="*/ 8261560 w 10825551"/>
              <a:gd name="connsiteY718" fmla="*/ 1351617 h 3811116"/>
              <a:gd name="connsiteX719" fmla="*/ 8277364 w 10825551"/>
              <a:gd name="connsiteY719" fmla="*/ 1356048 h 3811116"/>
              <a:gd name="connsiteX720" fmla="*/ 8265658 w 10825551"/>
              <a:gd name="connsiteY720" fmla="*/ 1366389 h 3811116"/>
              <a:gd name="connsiteX721" fmla="*/ 8253949 w 10825551"/>
              <a:gd name="connsiteY721" fmla="*/ 1386331 h 3811116"/>
              <a:gd name="connsiteX722" fmla="*/ 8348196 w 10825551"/>
              <a:gd name="connsiteY722" fmla="*/ 1375991 h 3811116"/>
              <a:gd name="connsiteX723" fmla="*/ 8446541 w 10825551"/>
              <a:gd name="connsiteY723" fmla="*/ 1361219 h 3811116"/>
              <a:gd name="connsiteX724" fmla="*/ 8450638 w 10825551"/>
              <a:gd name="connsiteY724" fmla="*/ 1361219 h 3811116"/>
              <a:gd name="connsiteX725" fmla="*/ 8313073 w 10825551"/>
              <a:gd name="connsiteY725" fmla="*/ 1410704 h 3811116"/>
              <a:gd name="connsiteX726" fmla="*/ 8297266 w 10825551"/>
              <a:gd name="connsiteY726" fmla="*/ 1430646 h 3811116"/>
              <a:gd name="connsiteX727" fmla="*/ 8245754 w 10825551"/>
              <a:gd name="connsiteY727" fmla="*/ 1450588 h 3811116"/>
              <a:gd name="connsiteX728" fmla="*/ 8238144 w 10825551"/>
              <a:gd name="connsiteY728" fmla="*/ 1450588 h 3811116"/>
              <a:gd name="connsiteX729" fmla="*/ 8245754 w 10825551"/>
              <a:gd name="connsiteY729" fmla="*/ 1435816 h 3811116"/>
              <a:gd name="connsiteX730" fmla="*/ 8258047 w 10825551"/>
              <a:gd name="connsiteY730" fmla="*/ 1415874 h 3811116"/>
              <a:gd name="connsiteX731" fmla="*/ 8179020 w 10825551"/>
              <a:gd name="connsiteY731" fmla="*/ 1440986 h 3811116"/>
              <a:gd name="connsiteX732" fmla="*/ 8249851 w 10825551"/>
              <a:gd name="connsiteY732" fmla="*/ 1410704 h 3811116"/>
              <a:gd name="connsiteX733" fmla="*/ 8261560 w 10825551"/>
              <a:gd name="connsiteY733" fmla="*/ 1386331 h 3811116"/>
              <a:gd name="connsiteX734" fmla="*/ 8194825 w 10825551"/>
              <a:gd name="connsiteY734" fmla="*/ 1406273 h 3811116"/>
              <a:gd name="connsiteX735" fmla="*/ 8206534 w 10825551"/>
              <a:gd name="connsiteY735" fmla="*/ 1401102 h 3811116"/>
              <a:gd name="connsiteX736" fmla="*/ 8218240 w 10825551"/>
              <a:gd name="connsiteY736" fmla="*/ 1381161 h 3811116"/>
              <a:gd name="connsiteX737" fmla="*/ 8088284 w 10825551"/>
              <a:gd name="connsiteY737" fmla="*/ 1395933 h 3811116"/>
              <a:gd name="connsiteX738" fmla="*/ 8056674 w 10825551"/>
              <a:gd name="connsiteY738" fmla="*/ 1401102 h 3811116"/>
              <a:gd name="connsiteX739" fmla="*/ 8044966 w 10825551"/>
              <a:gd name="connsiteY739" fmla="*/ 1421045 h 3811116"/>
              <a:gd name="connsiteX740" fmla="*/ 8068966 w 10825551"/>
              <a:gd name="connsiteY740" fmla="*/ 1415874 h 3811116"/>
              <a:gd name="connsiteX741" fmla="*/ 8099992 w 10825551"/>
              <a:gd name="connsiteY741" fmla="*/ 1410704 h 3811116"/>
              <a:gd name="connsiteX742" fmla="*/ 8163214 w 10825551"/>
              <a:gd name="connsiteY742" fmla="*/ 1401102 h 3811116"/>
              <a:gd name="connsiteX743" fmla="*/ 8053160 w 10825551"/>
              <a:gd name="connsiteY743" fmla="*/ 1440986 h 3811116"/>
              <a:gd name="connsiteX744" fmla="*/ 8040868 w 10825551"/>
              <a:gd name="connsiteY744" fmla="*/ 1460928 h 3811116"/>
              <a:gd name="connsiteX745" fmla="*/ 8167311 w 10825551"/>
              <a:gd name="connsiteY745" fmla="*/ 1430646 h 3811116"/>
              <a:gd name="connsiteX746" fmla="*/ 8147408 w 10825551"/>
              <a:gd name="connsiteY746" fmla="*/ 1445418 h 3811116"/>
              <a:gd name="connsiteX747" fmla="*/ 8139799 w 10825551"/>
              <a:gd name="connsiteY747" fmla="*/ 1465360 h 3811116"/>
              <a:gd name="connsiteX748" fmla="*/ 8149458 w 10825551"/>
              <a:gd name="connsiteY748" fmla="*/ 1461482 h 3811116"/>
              <a:gd name="connsiteX749" fmla="*/ 8154848 w 10825551"/>
              <a:gd name="connsiteY749" fmla="*/ 1461173 h 3811116"/>
              <a:gd name="connsiteX750" fmla="*/ 8119968 w 10825551"/>
              <a:gd name="connsiteY750" fmla="*/ 1472469 h 3811116"/>
              <a:gd name="connsiteX751" fmla="*/ 8084772 w 10825551"/>
              <a:gd name="connsiteY751" fmla="*/ 1480131 h 3811116"/>
              <a:gd name="connsiteX752" fmla="*/ 8005744 w 10825551"/>
              <a:gd name="connsiteY752" fmla="*/ 1515584 h 3811116"/>
              <a:gd name="connsiteX753" fmla="*/ 8017453 w 10825551"/>
              <a:gd name="connsiteY753" fmla="*/ 1515584 h 3811116"/>
              <a:gd name="connsiteX754" fmla="*/ 8044966 w 10825551"/>
              <a:gd name="connsiteY754" fmla="*/ 1505244 h 3811116"/>
              <a:gd name="connsiteX755" fmla="*/ 8044966 w 10825551"/>
              <a:gd name="connsiteY755" fmla="*/ 1515584 h 3811116"/>
              <a:gd name="connsiteX756" fmla="*/ 8229948 w 10825551"/>
              <a:gd name="connsiteY756" fmla="*/ 1475700 h 3811116"/>
              <a:gd name="connsiteX757" fmla="*/ 8265658 w 10825551"/>
              <a:gd name="connsiteY757" fmla="*/ 1470530 h 3811116"/>
              <a:gd name="connsiteX758" fmla="*/ 8253949 w 10825551"/>
              <a:gd name="connsiteY758" fmla="*/ 1485301 h 3811116"/>
              <a:gd name="connsiteX759" fmla="*/ 8088284 w 10825551"/>
              <a:gd name="connsiteY759" fmla="*/ 1534787 h 3811116"/>
              <a:gd name="connsiteX760" fmla="*/ 8076577 w 10825551"/>
              <a:gd name="connsiteY760" fmla="*/ 1554729 h 3811116"/>
              <a:gd name="connsiteX761" fmla="*/ 8163214 w 10825551"/>
              <a:gd name="connsiteY761" fmla="*/ 1534787 h 3811116"/>
              <a:gd name="connsiteX762" fmla="*/ 8159116 w 10825551"/>
              <a:gd name="connsiteY762" fmla="*/ 1550297 h 3811116"/>
              <a:gd name="connsiteX763" fmla="*/ 8174922 w 10825551"/>
              <a:gd name="connsiteY763" fmla="*/ 1545127 h 3811116"/>
              <a:gd name="connsiteX764" fmla="*/ 8174922 w 10825551"/>
              <a:gd name="connsiteY764" fmla="*/ 1550297 h 3811116"/>
              <a:gd name="connsiteX765" fmla="*/ 8177410 w 10825551"/>
              <a:gd name="connsiteY765" fmla="*/ 1549651 h 3811116"/>
              <a:gd name="connsiteX766" fmla="*/ 8191208 w 10825551"/>
              <a:gd name="connsiteY766" fmla="*/ 1546067 h 3811116"/>
              <a:gd name="connsiteX767" fmla="*/ 8190727 w 10825551"/>
              <a:gd name="connsiteY767" fmla="*/ 1550297 h 3811116"/>
              <a:gd name="connsiteX768" fmla="*/ 7970036 w 10825551"/>
              <a:gd name="connsiteY768" fmla="*/ 1599783 h 3811116"/>
              <a:gd name="connsiteX769" fmla="*/ 7954817 w 10825551"/>
              <a:gd name="connsiteY769" fmla="*/ 1619725 h 3811116"/>
              <a:gd name="connsiteX770" fmla="*/ 7950718 w 10825551"/>
              <a:gd name="connsiteY770" fmla="*/ 1619725 h 3811116"/>
              <a:gd name="connsiteX771" fmla="*/ 7942524 w 10825551"/>
              <a:gd name="connsiteY771" fmla="*/ 1639667 h 3811116"/>
              <a:gd name="connsiteX772" fmla="*/ 8001648 w 10825551"/>
              <a:gd name="connsiteY772" fmla="*/ 1614555 h 3811116"/>
              <a:gd name="connsiteX773" fmla="*/ 7994036 w 10825551"/>
              <a:gd name="connsiteY773" fmla="*/ 1629327 h 3811116"/>
              <a:gd name="connsiteX774" fmla="*/ 8179020 w 10825551"/>
              <a:gd name="connsiteY774" fmla="*/ 1599783 h 3811116"/>
              <a:gd name="connsiteX775" fmla="*/ 8229948 w 10825551"/>
              <a:gd name="connsiteY775" fmla="*/ 1585011 h 3811116"/>
              <a:gd name="connsiteX776" fmla="*/ 8229948 w 10825551"/>
              <a:gd name="connsiteY776" fmla="*/ 1590181 h 3811116"/>
              <a:gd name="connsiteX777" fmla="*/ 8285560 w 10825551"/>
              <a:gd name="connsiteY777" fmla="*/ 1579841 h 3811116"/>
              <a:gd name="connsiteX778" fmla="*/ 8037356 w 10825551"/>
              <a:gd name="connsiteY778" fmla="*/ 1654438 h 3811116"/>
              <a:gd name="connsiteX779" fmla="*/ 7966526 w 10825551"/>
              <a:gd name="connsiteY779" fmla="*/ 1674380 h 3811116"/>
              <a:gd name="connsiteX780" fmla="*/ 7950718 w 10825551"/>
              <a:gd name="connsiteY780" fmla="*/ 1694322 h 3811116"/>
              <a:gd name="connsiteX781" fmla="*/ 7997550 w 10825551"/>
              <a:gd name="connsiteY781" fmla="*/ 1679550 h 3811116"/>
              <a:gd name="connsiteX782" fmla="*/ 8001648 w 10825551"/>
              <a:gd name="connsiteY782" fmla="*/ 1683982 h 3811116"/>
              <a:gd name="connsiteX783" fmla="*/ 8155604 w 10825551"/>
              <a:gd name="connsiteY783" fmla="*/ 1659608 h 3811116"/>
              <a:gd name="connsiteX784" fmla="*/ 8128090 w 10825551"/>
              <a:gd name="connsiteY784" fmla="*/ 1669210 h 3811116"/>
              <a:gd name="connsiteX785" fmla="*/ 8044966 w 10825551"/>
              <a:gd name="connsiteY785" fmla="*/ 1689152 h 3811116"/>
              <a:gd name="connsiteX786" fmla="*/ 8037356 w 10825551"/>
              <a:gd name="connsiteY786" fmla="*/ 1689152 h 3811116"/>
              <a:gd name="connsiteX787" fmla="*/ 8033258 w 10825551"/>
              <a:gd name="connsiteY787" fmla="*/ 1694322 h 3811116"/>
              <a:gd name="connsiteX788" fmla="*/ 8009842 w 10825551"/>
              <a:gd name="connsiteY788" fmla="*/ 1698754 h 3811116"/>
              <a:gd name="connsiteX789" fmla="*/ 8001648 w 10825551"/>
              <a:gd name="connsiteY789" fmla="*/ 1698754 h 3811116"/>
              <a:gd name="connsiteX790" fmla="*/ 7836569 w 10825551"/>
              <a:gd name="connsiteY790" fmla="*/ 1734206 h 3811116"/>
              <a:gd name="connsiteX791" fmla="*/ 7832471 w 10825551"/>
              <a:gd name="connsiteY791" fmla="*/ 1734206 h 3811116"/>
              <a:gd name="connsiteX792" fmla="*/ 7820762 w 10825551"/>
              <a:gd name="connsiteY792" fmla="*/ 1753409 h 3811116"/>
              <a:gd name="connsiteX793" fmla="*/ 7939010 w 10825551"/>
              <a:gd name="connsiteY793" fmla="*/ 1734206 h 3811116"/>
              <a:gd name="connsiteX794" fmla="*/ 7875790 w 10825551"/>
              <a:gd name="connsiteY794" fmla="*/ 1763749 h 3811116"/>
              <a:gd name="connsiteX795" fmla="*/ 7864081 w 10825551"/>
              <a:gd name="connsiteY795" fmla="*/ 1783691 h 3811116"/>
              <a:gd name="connsiteX796" fmla="*/ 7982038 w 10825551"/>
              <a:gd name="connsiteY796" fmla="*/ 1759318 h 3811116"/>
              <a:gd name="connsiteX797" fmla="*/ 8048402 w 10825551"/>
              <a:gd name="connsiteY797" fmla="*/ 1739371 h 3811116"/>
              <a:gd name="connsiteX798" fmla="*/ 8040868 w 10825551"/>
              <a:gd name="connsiteY798" fmla="*/ 1743808 h 3811116"/>
              <a:gd name="connsiteX799" fmla="*/ 7962427 w 10825551"/>
              <a:gd name="connsiteY799" fmla="*/ 1768920 h 3811116"/>
              <a:gd name="connsiteX800" fmla="*/ 7950718 w 10825551"/>
              <a:gd name="connsiteY800" fmla="*/ 1788861 h 3811116"/>
              <a:gd name="connsiteX801" fmla="*/ 7997550 w 10825551"/>
              <a:gd name="connsiteY801" fmla="*/ 1788861 h 3811116"/>
              <a:gd name="connsiteX802" fmla="*/ 7946620 w 10825551"/>
              <a:gd name="connsiteY802" fmla="*/ 1813235 h 3811116"/>
              <a:gd name="connsiteX803" fmla="*/ 7934913 w 10825551"/>
              <a:gd name="connsiteY803" fmla="*/ 1833177 h 3811116"/>
              <a:gd name="connsiteX804" fmla="*/ 8033258 w 10825551"/>
              <a:gd name="connsiteY804" fmla="*/ 1818406 h 3811116"/>
              <a:gd name="connsiteX805" fmla="*/ 8025648 w 10825551"/>
              <a:gd name="connsiteY805" fmla="*/ 1833177 h 3811116"/>
              <a:gd name="connsiteX806" fmla="*/ 8179020 w 10825551"/>
              <a:gd name="connsiteY806" fmla="*/ 1803633 h 3811116"/>
              <a:gd name="connsiteX807" fmla="*/ 8336488 w 10825551"/>
              <a:gd name="connsiteY807" fmla="*/ 1758579 h 3811116"/>
              <a:gd name="connsiteX808" fmla="*/ 8336488 w 10825551"/>
              <a:gd name="connsiteY808" fmla="*/ 1763749 h 3811116"/>
              <a:gd name="connsiteX809" fmla="*/ 8407320 w 10825551"/>
              <a:gd name="connsiteY809" fmla="*/ 1743808 h 3811116"/>
              <a:gd name="connsiteX810" fmla="*/ 8316586 w 10825551"/>
              <a:gd name="connsiteY810" fmla="*/ 1773351 h 3811116"/>
              <a:gd name="connsiteX811" fmla="*/ 8273266 w 10825551"/>
              <a:gd name="connsiteY811" fmla="*/ 1788861 h 3811116"/>
              <a:gd name="connsiteX812" fmla="*/ 8258047 w 10825551"/>
              <a:gd name="connsiteY812" fmla="*/ 1808804 h 3811116"/>
              <a:gd name="connsiteX813" fmla="*/ 8253949 w 10825551"/>
              <a:gd name="connsiteY813" fmla="*/ 1808804 h 3811116"/>
              <a:gd name="connsiteX814" fmla="*/ 8253949 w 10825551"/>
              <a:gd name="connsiteY814" fmla="*/ 1798463 h 3811116"/>
              <a:gd name="connsiteX815" fmla="*/ 8128090 w 10825551"/>
              <a:gd name="connsiteY815" fmla="*/ 1833177 h 3811116"/>
              <a:gd name="connsiteX816" fmla="*/ 8112284 w 10825551"/>
              <a:gd name="connsiteY816" fmla="*/ 1853119 h 3811116"/>
              <a:gd name="connsiteX817" fmla="*/ 8102260 w 10825551"/>
              <a:gd name="connsiteY817" fmla="*/ 1868260 h 3811116"/>
              <a:gd name="connsiteX818" fmla="*/ 8101250 w 10825551"/>
              <a:gd name="connsiteY818" fmla="*/ 1870789 h 3811116"/>
              <a:gd name="connsiteX819" fmla="*/ 8048020 w 10825551"/>
              <a:gd name="connsiteY819" fmla="*/ 1881392 h 3811116"/>
              <a:gd name="connsiteX820" fmla="*/ 7840080 w 10825551"/>
              <a:gd name="connsiteY820" fmla="*/ 1927716 h 3811116"/>
              <a:gd name="connsiteX821" fmla="*/ 7824276 w 10825551"/>
              <a:gd name="connsiteY821" fmla="*/ 1947658 h 3811116"/>
              <a:gd name="connsiteX822" fmla="*/ 7997550 w 10825551"/>
              <a:gd name="connsiteY822" fmla="*/ 1912944 h 3811116"/>
              <a:gd name="connsiteX823" fmla="*/ 8174922 w 10825551"/>
              <a:gd name="connsiteY823" fmla="*/ 1878230 h 3811116"/>
              <a:gd name="connsiteX824" fmla="*/ 8186630 w 10825551"/>
              <a:gd name="connsiteY824" fmla="*/ 1867891 h 3811116"/>
              <a:gd name="connsiteX825" fmla="*/ 8301364 w 10825551"/>
              <a:gd name="connsiteY825" fmla="*/ 1828007 h 3811116"/>
              <a:gd name="connsiteX826" fmla="*/ 8319439 w 10825551"/>
              <a:gd name="connsiteY826" fmla="*/ 1824129 h 3811116"/>
              <a:gd name="connsiteX827" fmla="*/ 8336364 w 10825551"/>
              <a:gd name="connsiteY827" fmla="*/ 1823686 h 3811116"/>
              <a:gd name="connsiteX828" fmla="*/ 8334000 w 10825551"/>
              <a:gd name="connsiteY828" fmla="*/ 1825791 h 3811116"/>
              <a:gd name="connsiteX829" fmla="*/ 8328878 w 10825551"/>
              <a:gd name="connsiteY829" fmla="*/ 1828007 h 3811116"/>
              <a:gd name="connsiteX830" fmla="*/ 8198923 w 10825551"/>
              <a:gd name="connsiteY830" fmla="*/ 1878230 h 3811116"/>
              <a:gd name="connsiteX831" fmla="*/ 8202434 w 10825551"/>
              <a:gd name="connsiteY831" fmla="*/ 1867891 h 3811116"/>
              <a:gd name="connsiteX832" fmla="*/ 7974134 w 10825551"/>
              <a:gd name="connsiteY832" fmla="*/ 1922546 h 3811116"/>
              <a:gd name="connsiteX833" fmla="*/ 7962427 w 10825551"/>
              <a:gd name="connsiteY833" fmla="*/ 1927716 h 3811116"/>
              <a:gd name="connsiteX834" fmla="*/ 7946620 w 10825551"/>
              <a:gd name="connsiteY834" fmla="*/ 1947658 h 3811116"/>
              <a:gd name="connsiteX835" fmla="*/ 8001648 w 10825551"/>
              <a:gd name="connsiteY835" fmla="*/ 1937317 h 3811116"/>
              <a:gd name="connsiteX836" fmla="*/ 8009842 w 10825551"/>
              <a:gd name="connsiteY836" fmla="*/ 1932886 h 3811116"/>
              <a:gd name="connsiteX837" fmla="*/ 8021551 w 10825551"/>
              <a:gd name="connsiteY837" fmla="*/ 1937317 h 3811116"/>
              <a:gd name="connsiteX838" fmla="*/ 8143310 w 10825551"/>
              <a:gd name="connsiteY838" fmla="*/ 1907774 h 3811116"/>
              <a:gd name="connsiteX839" fmla="*/ 8139799 w 10825551"/>
              <a:gd name="connsiteY839" fmla="*/ 1922546 h 3811116"/>
              <a:gd name="connsiteX840" fmla="*/ 8163214 w 10825551"/>
              <a:gd name="connsiteY840" fmla="*/ 1917376 h 3811116"/>
              <a:gd name="connsiteX841" fmla="*/ 8119896 w 10825551"/>
              <a:gd name="connsiteY841" fmla="*/ 1937317 h 3811116"/>
              <a:gd name="connsiteX842" fmla="*/ 8123992 w 10825551"/>
              <a:gd name="connsiteY842" fmla="*/ 1927716 h 3811116"/>
              <a:gd name="connsiteX843" fmla="*/ 8053160 w 10825551"/>
              <a:gd name="connsiteY843" fmla="*/ 1937317 h 3811116"/>
              <a:gd name="connsiteX844" fmla="*/ 8222338 w 10825551"/>
              <a:gd name="connsiteY844" fmla="*/ 1952829 h 3811116"/>
              <a:gd name="connsiteX845" fmla="*/ 8214142 w 10825551"/>
              <a:gd name="connsiteY845" fmla="*/ 1952829 h 3811116"/>
              <a:gd name="connsiteX846" fmla="*/ 8025648 w 10825551"/>
              <a:gd name="connsiteY846" fmla="*/ 1942488 h 3811116"/>
              <a:gd name="connsiteX847" fmla="*/ 7926718 w 10825551"/>
              <a:gd name="connsiteY847" fmla="*/ 1967600 h 3811116"/>
              <a:gd name="connsiteX848" fmla="*/ 7915010 w 10825551"/>
              <a:gd name="connsiteY848" fmla="*/ 1977202 h 3811116"/>
              <a:gd name="connsiteX849" fmla="*/ 7954817 w 10825551"/>
              <a:gd name="connsiteY849" fmla="*/ 1977202 h 3811116"/>
              <a:gd name="connsiteX850" fmla="*/ 8049063 w 10825551"/>
              <a:gd name="connsiteY850" fmla="*/ 1957260 h 3811116"/>
              <a:gd name="connsiteX851" fmla="*/ 7982330 w 10825551"/>
              <a:gd name="connsiteY851" fmla="*/ 1982372 h 3811116"/>
              <a:gd name="connsiteX852" fmla="*/ 8072479 w 10825551"/>
              <a:gd name="connsiteY852" fmla="*/ 1987542 h 3811116"/>
              <a:gd name="connsiteX853" fmla="*/ 8060772 w 10825551"/>
              <a:gd name="connsiteY853" fmla="*/ 1987542 h 3811116"/>
              <a:gd name="connsiteX854" fmla="*/ 8025648 w 10825551"/>
              <a:gd name="connsiteY854" fmla="*/ 2002313 h 3811116"/>
              <a:gd name="connsiteX855" fmla="*/ 8033258 w 10825551"/>
              <a:gd name="connsiteY855" fmla="*/ 2007483 h 3811116"/>
              <a:gd name="connsiteX856" fmla="*/ 8064868 w 10825551"/>
              <a:gd name="connsiteY856" fmla="*/ 1991974 h 3811116"/>
              <a:gd name="connsiteX857" fmla="*/ 8072479 w 10825551"/>
              <a:gd name="connsiteY857" fmla="*/ 1987542 h 3811116"/>
              <a:gd name="connsiteX858" fmla="*/ 8076577 w 10825551"/>
              <a:gd name="connsiteY858" fmla="*/ 1982372 h 3811116"/>
              <a:gd name="connsiteX859" fmla="*/ 8096480 w 10825551"/>
              <a:gd name="connsiteY859" fmla="*/ 1962430 h 3811116"/>
              <a:gd name="connsiteX860" fmla="*/ 8131603 w 10825551"/>
              <a:gd name="connsiteY860" fmla="*/ 1952829 h 3811116"/>
              <a:gd name="connsiteX861" fmla="*/ 8119896 w 10825551"/>
              <a:gd name="connsiteY861" fmla="*/ 1972031 h 3811116"/>
              <a:gd name="connsiteX862" fmla="*/ 8170824 w 10825551"/>
              <a:gd name="connsiteY862" fmla="*/ 1957260 h 3811116"/>
              <a:gd name="connsiteX863" fmla="*/ 8155604 w 10825551"/>
              <a:gd name="connsiteY863" fmla="*/ 1967600 h 3811116"/>
              <a:gd name="connsiteX864" fmla="*/ 8143310 w 10825551"/>
              <a:gd name="connsiteY864" fmla="*/ 1987542 h 3811116"/>
              <a:gd name="connsiteX865" fmla="*/ 8053160 w 10825551"/>
              <a:gd name="connsiteY865" fmla="*/ 2007483 h 3811116"/>
              <a:gd name="connsiteX866" fmla="*/ 8049063 w 10825551"/>
              <a:gd name="connsiteY866" fmla="*/ 2007483 h 3811116"/>
              <a:gd name="connsiteX867" fmla="*/ 8143310 w 10825551"/>
              <a:gd name="connsiteY867" fmla="*/ 2022255 h 3811116"/>
              <a:gd name="connsiteX868" fmla="*/ 8115798 w 10825551"/>
              <a:gd name="connsiteY868" fmla="*/ 2037027 h 3811116"/>
              <a:gd name="connsiteX869" fmla="*/ 8332390 w 10825551"/>
              <a:gd name="connsiteY869" fmla="*/ 2062139 h 3811116"/>
              <a:gd name="connsiteX870" fmla="*/ 8368099 w 10825551"/>
              <a:gd name="connsiteY870" fmla="*/ 2046629 h 3811116"/>
              <a:gd name="connsiteX871" fmla="*/ 8238144 w 10825551"/>
              <a:gd name="connsiteY871" fmla="*/ 2031857 h 3811116"/>
              <a:gd name="connsiteX872" fmla="*/ 8332390 w 10825551"/>
              <a:gd name="connsiteY872" fmla="*/ 2027426 h 3811116"/>
              <a:gd name="connsiteX873" fmla="*/ 8678940 w 10825551"/>
              <a:gd name="connsiteY873" fmla="*/ 2056969 h 3811116"/>
              <a:gd name="connsiteX874" fmla="*/ 8493957 w 10825551"/>
              <a:gd name="connsiteY874" fmla="*/ 2062139 h 3811116"/>
              <a:gd name="connsiteX875" fmla="*/ 8458835 w 10825551"/>
              <a:gd name="connsiteY875" fmla="*/ 2076911 h 3811116"/>
              <a:gd name="connsiteX876" fmla="*/ 8478153 w 10825551"/>
              <a:gd name="connsiteY876" fmla="*/ 2082081 h 3811116"/>
              <a:gd name="connsiteX877" fmla="*/ 8423126 w 10825551"/>
              <a:gd name="connsiteY877" fmla="*/ 2076911 h 3811116"/>
              <a:gd name="connsiteX878" fmla="*/ 8411417 w 10825551"/>
              <a:gd name="connsiteY878" fmla="*/ 2076911 h 3811116"/>
              <a:gd name="connsiteX879" fmla="*/ 8277364 w 10825551"/>
              <a:gd name="connsiteY879" fmla="*/ 2076911 h 3811116"/>
              <a:gd name="connsiteX880" fmla="*/ 8242240 w 10825551"/>
              <a:gd name="connsiteY880" fmla="*/ 2091683 h 3811116"/>
              <a:gd name="connsiteX881" fmla="*/ 8560692 w 10825551"/>
              <a:gd name="connsiteY881" fmla="*/ 2111625 h 3811116"/>
              <a:gd name="connsiteX882" fmla="*/ 8470541 w 10825551"/>
              <a:gd name="connsiteY882" fmla="*/ 2116056 h 3811116"/>
              <a:gd name="connsiteX883" fmla="*/ 8443029 w 10825551"/>
              <a:gd name="connsiteY883" fmla="*/ 2135998 h 3811116"/>
              <a:gd name="connsiteX884" fmla="*/ 8604595 w 10825551"/>
              <a:gd name="connsiteY884" fmla="*/ 2141168 h 3811116"/>
              <a:gd name="connsiteX885" fmla="*/ 8411417 w 10825551"/>
              <a:gd name="connsiteY885" fmla="*/ 2146338 h 3811116"/>
              <a:gd name="connsiteX886" fmla="*/ 8222338 w 10825551"/>
              <a:gd name="connsiteY886" fmla="*/ 2151508 h 3811116"/>
              <a:gd name="connsiteX887" fmla="*/ 8186630 w 10825551"/>
              <a:gd name="connsiteY887" fmla="*/ 2166280 h 3811116"/>
              <a:gd name="connsiteX888" fmla="*/ 8293170 w 10825551"/>
              <a:gd name="connsiteY888" fmla="*/ 2175882 h 3811116"/>
              <a:gd name="connsiteX889" fmla="*/ 8277364 w 10825551"/>
              <a:gd name="connsiteY889" fmla="*/ 2186222 h 3811116"/>
              <a:gd name="connsiteX890" fmla="*/ 8336488 w 10825551"/>
              <a:gd name="connsiteY890" fmla="*/ 2190654 h 3811116"/>
              <a:gd name="connsiteX891" fmla="*/ 8324782 w 10825551"/>
              <a:gd name="connsiteY891" fmla="*/ 2200994 h 3811116"/>
              <a:gd name="connsiteX892" fmla="*/ 8805384 w 10825551"/>
              <a:gd name="connsiteY892" fmla="*/ 2226106 h 3811116"/>
              <a:gd name="connsiteX893" fmla="*/ 8840507 w 10825551"/>
              <a:gd name="connsiteY893" fmla="*/ 2206164 h 3811116"/>
              <a:gd name="connsiteX894" fmla="*/ 8446541 w 10825551"/>
              <a:gd name="connsiteY894" fmla="*/ 2190654 h 3811116"/>
              <a:gd name="connsiteX895" fmla="*/ 8545471 w 10825551"/>
              <a:gd name="connsiteY895" fmla="*/ 2190654 h 3811116"/>
              <a:gd name="connsiteX896" fmla="*/ 8580595 w 10825551"/>
              <a:gd name="connsiteY896" fmla="*/ 2181052 h 3811116"/>
              <a:gd name="connsiteX897" fmla="*/ 8687136 w 10825551"/>
              <a:gd name="connsiteY897" fmla="*/ 2181052 h 3811116"/>
              <a:gd name="connsiteX898" fmla="*/ 8726356 w 10825551"/>
              <a:gd name="connsiteY898" fmla="*/ 2161110 h 3811116"/>
              <a:gd name="connsiteX899" fmla="*/ 8489860 w 10825551"/>
              <a:gd name="connsiteY899" fmla="*/ 2161110 h 3811116"/>
              <a:gd name="connsiteX900" fmla="*/ 8797188 w 10825551"/>
              <a:gd name="connsiteY900" fmla="*/ 2151508 h 3811116"/>
              <a:gd name="connsiteX901" fmla="*/ 8821189 w 10825551"/>
              <a:gd name="connsiteY901" fmla="*/ 2146338 h 3811116"/>
              <a:gd name="connsiteX902" fmla="*/ 8911338 w 10825551"/>
              <a:gd name="connsiteY902" fmla="*/ 2151508 h 3811116"/>
              <a:gd name="connsiteX903" fmla="*/ 8824701 w 10825551"/>
              <a:gd name="connsiteY903" fmla="*/ 2155940 h 3811116"/>
              <a:gd name="connsiteX904" fmla="*/ 8789578 w 10825551"/>
              <a:gd name="connsiteY904" fmla="*/ 2175882 h 3811116"/>
              <a:gd name="connsiteX905" fmla="*/ 9013781 w 10825551"/>
              <a:gd name="connsiteY905" fmla="*/ 2195824 h 3811116"/>
              <a:gd name="connsiteX906" fmla="*/ 9029586 w 10825551"/>
              <a:gd name="connsiteY906" fmla="*/ 2195824 h 3811116"/>
              <a:gd name="connsiteX907" fmla="*/ 8947047 w 10825551"/>
              <a:gd name="connsiteY907" fmla="*/ 2200994 h 3811116"/>
              <a:gd name="connsiteX908" fmla="*/ 8911338 w 10825551"/>
              <a:gd name="connsiteY908" fmla="*/ 2220936 h 3811116"/>
              <a:gd name="connsiteX909" fmla="*/ 9147834 w 10825551"/>
              <a:gd name="connsiteY909" fmla="*/ 2246048 h 3811116"/>
              <a:gd name="connsiteX910" fmla="*/ 8938851 w 10825551"/>
              <a:gd name="connsiteY910" fmla="*/ 2255649 h 3811116"/>
              <a:gd name="connsiteX911" fmla="*/ 8899631 w 10825551"/>
              <a:gd name="connsiteY911" fmla="*/ 2265251 h 3811116"/>
              <a:gd name="connsiteX912" fmla="*/ 8895533 w 10825551"/>
              <a:gd name="connsiteY912" fmla="*/ 2265251 h 3811116"/>
              <a:gd name="connsiteX913" fmla="*/ 8651427 w 10825551"/>
              <a:gd name="connsiteY913" fmla="*/ 2255649 h 3811116"/>
              <a:gd name="connsiteX914" fmla="*/ 8675428 w 10825551"/>
              <a:gd name="connsiteY914" fmla="*/ 2246048 h 3811116"/>
              <a:gd name="connsiteX915" fmla="*/ 8568888 w 10825551"/>
              <a:gd name="connsiteY915" fmla="*/ 2246048 h 3811116"/>
              <a:gd name="connsiteX916" fmla="*/ 8533179 w 10825551"/>
              <a:gd name="connsiteY916" fmla="*/ 2265251 h 3811116"/>
              <a:gd name="connsiteX917" fmla="*/ 8560692 w 10825551"/>
              <a:gd name="connsiteY917" fmla="*/ 2265251 h 3811116"/>
              <a:gd name="connsiteX918" fmla="*/ 8537277 w 10825551"/>
              <a:gd name="connsiteY918" fmla="*/ 2270421 h 3811116"/>
              <a:gd name="connsiteX919" fmla="*/ 8502154 w 10825551"/>
              <a:gd name="connsiteY919" fmla="*/ 2285193 h 3811116"/>
              <a:gd name="connsiteX920" fmla="*/ 8781384 w 10825551"/>
              <a:gd name="connsiteY920" fmla="*/ 2305135 h 3811116"/>
              <a:gd name="connsiteX921" fmla="*/ 8749770 w 10825551"/>
              <a:gd name="connsiteY921" fmla="*/ 2319907 h 3811116"/>
              <a:gd name="connsiteX922" fmla="*/ 8379808 w 10825551"/>
              <a:gd name="connsiteY922" fmla="*/ 2334679 h 3811116"/>
              <a:gd name="connsiteX923" fmla="*/ 8344098 w 10825551"/>
              <a:gd name="connsiteY923" fmla="*/ 2350189 h 3811116"/>
              <a:gd name="connsiteX924" fmla="*/ 8557180 w 10825551"/>
              <a:gd name="connsiteY924" fmla="*/ 2354620 h 3811116"/>
              <a:gd name="connsiteX925" fmla="*/ 8427223 w 10825551"/>
              <a:gd name="connsiteY925" fmla="*/ 2374562 h 3811116"/>
              <a:gd name="connsiteX926" fmla="*/ 8411417 w 10825551"/>
              <a:gd name="connsiteY926" fmla="*/ 2384902 h 3811116"/>
              <a:gd name="connsiteX927" fmla="*/ 8604595 w 10825551"/>
              <a:gd name="connsiteY927" fmla="*/ 2390072 h 3811116"/>
              <a:gd name="connsiteX928" fmla="*/ 8608108 w 10825551"/>
              <a:gd name="connsiteY928" fmla="*/ 2394504 h 3811116"/>
              <a:gd name="connsiteX929" fmla="*/ 8623914 w 10825551"/>
              <a:gd name="connsiteY929" fmla="*/ 2394504 h 3811116"/>
              <a:gd name="connsiteX930" fmla="*/ 8600497 w 10825551"/>
              <a:gd name="connsiteY930" fmla="*/ 2409276 h 3811116"/>
              <a:gd name="connsiteX931" fmla="*/ 8812995 w 10825551"/>
              <a:gd name="connsiteY931" fmla="*/ 2424786 h 3811116"/>
              <a:gd name="connsiteX932" fmla="*/ 8852214 w 10825551"/>
              <a:gd name="connsiteY932" fmla="*/ 2414446 h 3811116"/>
              <a:gd name="connsiteX933" fmla="*/ 8876217 w 10825551"/>
              <a:gd name="connsiteY933" fmla="*/ 2414446 h 3811116"/>
              <a:gd name="connsiteX934" fmla="*/ 8919534 w 10825551"/>
              <a:gd name="connsiteY934" fmla="*/ 2429217 h 3811116"/>
              <a:gd name="connsiteX935" fmla="*/ 8812995 w 10825551"/>
              <a:gd name="connsiteY935" fmla="*/ 2439558 h 3811116"/>
              <a:gd name="connsiteX936" fmla="*/ 8781384 w 10825551"/>
              <a:gd name="connsiteY936" fmla="*/ 2454330 h 3811116"/>
              <a:gd name="connsiteX937" fmla="*/ 8986268 w 10825551"/>
              <a:gd name="connsiteY937" fmla="*/ 2464670 h 3811116"/>
              <a:gd name="connsiteX938" fmla="*/ 8990366 w 10825551"/>
              <a:gd name="connsiteY938" fmla="*/ 2469101 h 3811116"/>
              <a:gd name="connsiteX939" fmla="*/ 8844604 w 10825551"/>
              <a:gd name="connsiteY939" fmla="*/ 2483873 h 3811116"/>
              <a:gd name="connsiteX940" fmla="*/ 8808894 w 10825551"/>
              <a:gd name="connsiteY940" fmla="*/ 2503815 h 3811116"/>
              <a:gd name="connsiteX941" fmla="*/ 9171249 w 10825551"/>
              <a:gd name="connsiteY941" fmla="*/ 2514155 h 3811116"/>
              <a:gd name="connsiteX942" fmla="*/ 9191153 w 10825551"/>
              <a:gd name="connsiteY942" fmla="*/ 2519325 h 3811116"/>
              <a:gd name="connsiteX943" fmla="*/ 9222764 w 10825551"/>
              <a:gd name="connsiteY943" fmla="*/ 2523757 h 3811116"/>
              <a:gd name="connsiteX944" fmla="*/ 9187055 w 10825551"/>
              <a:gd name="connsiteY944" fmla="*/ 2534097 h 3811116"/>
              <a:gd name="connsiteX945" fmla="*/ 9159542 w 10825551"/>
              <a:gd name="connsiteY945" fmla="*/ 2548869 h 3811116"/>
              <a:gd name="connsiteX946" fmla="*/ 9364427 w 10825551"/>
              <a:gd name="connsiteY946" fmla="*/ 2558470 h 3811116"/>
              <a:gd name="connsiteX947" fmla="*/ 9572826 w 10825551"/>
              <a:gd name="connsiteY947" fmla="*/ 2558470 h 3811116"/>
              <a:gd name="connsiteX948" fmla="*/ 9585119 w 10825551"/>
              <a:gd name="connsiteY948" fmla="*/ 2558470 h 3811116"/>
              <a:gd name="connsiteX949" fmla="*/ 9289499 w 10825551"/>
              <a:gd name="connsiteY949" fmla="*/ 2588753 h 3811116"/>
              <a:gd name="connsiteX950" fmla="*/ 9344525 w 10825551"/>
              <a:gd name="connsiteY950" fmla="*/ 2583583 h 3811116"/>
              <a:gd name="connsiteX951" fmla="*/ 9336914 w 10825551"/>
              <a:gd name="connsiteY951" fmla="*/ 2588753 h 3811116"/>
              <a:gd name="connsiteX952" fmla="*/ 9253790 w 10825551"/>
              <a:gd name="connsiteY952" fmla="*/ 2593184 h 3811116"/>
              <a:gd name="connsiteX953" fmla="*/ 9242081 w 10825551"/>
              <a:gd name="connsiteY953" fmla="*/ 2608695 h 3811116"/>
              <a:gd name="connsiteX954" fmla="*/ 9124419 w 10825551"/>
              <a:gd name="connsiteY954" fmla="*/ 2613126 h 3811116"/>
              <a:gd name="connsiteX955" fmla="*/ 9108614 w 10825551"/>
              <a:gd name="connsiteY955" fmla="*/ 2613126 h 3811116"/>
              <a:gd name="connsiteX956" fmla="*/ 9120323 w 10825551"/>
              <a:gd name="connsiteY956" fmla="*/ 2608695 h 3811116"/>
              <a:gd name="connsiteX957" fmla="*/ 9100418 w 10825551"/>
              <a:gd name="connsiteY957" fmla="*/ 2608695 h 3811116"/>
              <a:gd name="connsiteX958" fmla="*/ 9120323 w 10825551"/>
              <a:gd name="connsiteY958" fmla="*/ 2598355 h 3811116"/>
              <a:gd name="connsiteX959" fmla="*/ 9127931 w 10825551"/>
              <a:gd name="connsiteY959" fmla="*/ 2598355 h 3811116"/>
              <a:gd name="connsiteX960" fmla="*/ 9155444 w 10825551"/>
              <a:gd name="connsiteY960" fmla="*/ 2578413 h 3811116"/>
              <a:gd name="connsiteX961" fmla="*/ 8986268 w 10825551"/>
              <a:gd name="connsiteY961" fmla="*/ 2588753 h 3811116"/>
              <a:gd name="connsiteX962" fmla="*/ 9143738 w 10825551"/>
              <a:gd name="connsiteY962" fmla="*/ 2573242 h 3811116"/>
              <a:gd name="connsiteX963" fmla="*/ 9175349 w 10825551"/>
              <a:gd name="connsiteY963" fmla="*/ 2553300 h 3811116"/>
              <a:gd name="connsiteX964" fmla="*/ 9100637 w 10825551"/>
              <a:gd name="connsiteY964" fmla="*/ 2555886 h 3811116"/>
              <a:gd name="connsiteX965" fmla="*/ 9055186 w 10825551"/>
              <a:gd name="connsiteY965" fmla="*/ 2557449 h 3811116"/>
              <a:gd name="connsiteX966" fmla="*/ 9064326 w 10825551"/>
              <a:gd name="connsiteY966" fmla="*/ 2553174 h 3811116"/>
              <a:gd name="connsiteX967" fmla="*/ 9092808 w 10825551"/>
              <a:gd name="connsiteY967" fmla="*/ 2538529 h 3811116"/>
              <a:gd name="connsiteX968" fmla="*/ 8805384 w 10825551"/>
              <a:gd name="connsiteY968" fmla="*/ 2528927 h 3811116"/>
              <a:gd name="connsiteX969" fmla="*/ 8742162 w 10825551"/>
              <a:gd name="connsiteY969" fmla="*/ 2523757 h 3811116"/>
              <a:gd name="connsiteX970" fmla="*/ 8706453 w 10825551"/>
              <a:gd name="connsiteY970" fmla="*/ 2538529 h 3811116"/>
              <a:gd name="connsiteX971" fmla="*/ 8762065 w 10825551"/>
              <a:gd name="connsiteY971" fmla="*/ 2543698 h 3811116"/>
              <a:gd name="connsiteX972" fmla="*/ 8824701 w 10825551"/>
              <a:gd name="connsiteY972" fmla="*/ 2548869 h 3811116"/>
              <a:gd name="connsiteX973" fmla="*/ 8832895 w 10825551"/>
              <a:gd name="connsiteY973" fmla="*/ 2548869 h 3811116"/>
              <a:gd name="connsiteX974" fmla="*/ 8966366 w 10825551"/>
              <a:gd name="connsiteY974" fmla="*/ 2548869 h 3811116"/>
              <a:gd name="connsiteX975" fmla="*/ 8844604 w 10825551"/>
              <a:gd name="connsiteY975" fmla="*/ 2553300 h 3811116"/>
              <a:gd name="connsiteX976" fmla="*/ 8722260 w 10825551"/>
              <a:gd name="connsiteY976" fmla="*/ 2563641 h 3811116"/>
              <a:gd name="connsiteX977" fmla="*/ 8690646 w 10825551"/>
              <a:gd name="connsiteY977" fmla="*/ 2578413 h 3811116"/>
              <a:gd name="connsiteX978" fmla="*/ 8828799 w 10825551"/>
              <a:gd name="connsiteY978" fmla="*/ 2583583 h 3811116"/>
              <a:gd name="connsiteX979" fmla="*/ 8962851 w 10825551"/>
              <a:gd name="connsiteY979" fmla="*/ 2578413 h 3811116"/>
              <a:gd name="connsiteX980" fmla="*/ 8919534 w 10825551"/>
              <a:gd name="connsiteY980" fmla="*/ 2588753 h 3811116"/>
              <a:gd name="connsiteX981" fmla="*/ 8895533 w 10825551"/>
              <a:gd name="connsiteY981" fmla="*/ 2603524 h 3811116"/>
              <a:gd name="connsiteX982" fmla="*/ 8935341 w 10825551"/>
              <a:gd name="connsiteY982" fmla="*/ 2603524 h 3811116"/>
              <a:gd name="connsiteX983" fmla="*/ 8927144 w 10825551"/>
              <a:gd name="connsiteY983" fmla="*/ 2608695 h 3811116"/>
              <a:gd name="connsiteX984" fmla="*/ 8773771 w 10825551"/>
              <a:gd name="connsiteY984" fmla="*/ 2608695 h 3811116"/>
              <a:gd name="connsiteX985" fmla="*/ 8694745 w 10825551"/>
              <a:gd name="connsiteY985" fmla="*/ 2608695 h 3811116"/>
              <a:gd name="connsiteX986" fmla="*/ 8694745 w 10825551"/>
              <a:gd name="connsiteY986" fmla="*/ 2613126 h 3811116"/>
              <a:gd name="connsiteX987" fmla="*/ 8757969 w 10825551"/>
              <a:gd name="connsiteY987" fmla="*/ 2613126 h 3811116"/>
              <a:gd name="connsiteX988" fmla="*/ 8738064 w 10825551"/>
              <a:gd name="connsiteY988" fmla="*/ 2623466 h 3811116"/>
              <a:gd name="connsiteX989" fmla="*/ 8848702 w 10825551"/>
              <a:gd name="connsiteY989" fmla="*/ 2627898 h 3811116"/>
              <a:gd name="connsiteX990" fmla="*/ 8832895 w 10825551"/>
              <a:gd name="connsiteY990" fmla="*/ 2638238 h 3811116"/>
              <a:gd name="connsiteX991" fmla="*/ 8879727 w 10825551"/>
              <a:gd name="connsiteY991" fmla="*/ 2638238 h 3811116"/>
              <a:gd name="connsiteX992" fmla="*/ 8877313 w 10825551"/>
              <a:gd name="connsiteY992" fmla="*/ 2638884 h 3811116"/>
              <a:gd name="connsiteX993" fmla="*/ 8861740 w 10825551"/>
              <a:gd name="connsiteY993" fmla="*/ 2643052 h 3811116"/>
              <a:gd name="connsiteX994" fmla="*/ 8848702 w 10825551"/>
              <a:gd name="connsiteY994" fmla="*/ 2643408 h 3811116"/>
              <a:gd name="connsiteX995" fmla="*/ 8856312 w 10825551"/>
              <a:gd name="connsiteY995" fmla="*/ 2643408 h 3811116"/>
              <a:gd name="connsiteX996" fmla="*/ 8860410 w 10825551"/>
              <a:gd name="connsiteY996" fmla="*/ 2643408 h 3811116"/>
              <a:gd name="connsiteX997" fmla="*/ 8861740 w 10825551"/>
              <a:gd name="connsiteY997" fmla="*/ 2643052 h 3811116"/>
              <a:gd name="connsiteX998" fmla="*/ 8967170 w 10825551"/>
              <a:gd name="connsiteY998" fmla="*/ 2640177 h 3811116"/>
              <a:gd name="connsiteX999" fmla="*/ 9088710 w 10825551"/>
              <a:gd name="connsiteY999" fmla="*/ 2633068 h 3811116"/>
              <a:gd name="connsiteX1000" fmla="*/ 9159542 w 10825551"/>
              <a:gd name="connsiteY1000" fmla="*/ 2633068 h 3811116"/>
              <a:gd name="connsiteX1001" fmla="*/ 9132029 w 10825551"/>
              <a:gd name="connsiteY1001" fmla="*/ 2647840 h 3811116"/>
              <a:gd name="connsiteX1002" fmla="*/ 9165397 w 10825551"/>
              <a:gd name="connsiteY1002" fmla="*/ 2643962 h 3811116"/>
              <a:gd name="connsiteX1003" fmla="*/ 9178279 w 10825551"/>
              <a:gd name="connsiteY1003" fmla="*/ 2643748 h 3811116"/>
              <a:gd name="connsiteX1004" fmla="*/ 9168762 w 10825551"/>
              <a:gd name="connsiteY1004" fmla="*/ 2646524 h 3811116"/>
              <a:gd name="connsiteX1005" fmla="*/ 9143738 w 10825551"/>
              <a:gd name="connsiteY1005" fmla="*/ 2663350 h 3811116"/>
              <a:gd name="connsiteX1006" fmla="*/ 9266082 w 10825551"/>
              <a:gd name="connsiteY1006" fmla="*/ 2663350 h 3811116"/>
              <a:gd name="connsiteX1007" fmla="*/ 9242081 w 10825551"/>
              <a:gd name="connsiteY1007" fmla="*/ 2683292 h 3811116"/>
              <a:gd name="connsiteX1008" fmla="*/ 9470969 w 10825551"/>
              <a:gd name="connsiteY1008" fmla="*/ 2678122 h 3811116"/>
              <a:gd name="connsiteX1009" fmla="*/ 9510188 w 10825551"/>
              <a:gd name="connsiteY1009" fmla="*/ 2658180 h 3811116"/>
              <a:gd name="connsiteX1010" fmla="*/ 9466871 w 10825551"/>
              <a:gd name="connsiteY1010" fmla="*/ 2663350 h 3811116"/>
              <a:gd name="connsiteX1011" fmla="*/ 9446968 w 10825551"/>
              <a:gd name="connsiteY1011" fmla="*/ 2667782 h 3811116"/>
              <a:gd name="connsiteX1012" fmla="*/ 9399550 w 10825551"/>
              <a:gd name="connsiteY1012" fmla="*/ 2663350 h 3811116"/>
              <a:gd name="connsiteX1013" fmla="*/ 9376136 w 10825551"/>
              <a:gd name="connsiteY1013" fmla="*/ 2663350 h 3811116"/>
              <a:gd name="connsiteX1014" fmla="*/ 9368525 w 10825551"/>
              <a:gd name="connsiteY1014" fmla="*/ 2663350 h 3811116"/>
              <a:gd name="connsiteX1015" fmla="*/ 9348623 w 10825551"/>
              <a:gd name="connsiteY1015" fmla="*/ 2663350 h 3811116"/>
              <a:gd name="connsiteX1016" fmla="*/ 9360329 w 10825551"/>
              <a:gd name="connsiteY1016" fmla="*/ 2653010 h 3811116"/>
              <a:gd name="connsiteX1017" fmla="*/ 9435260 w 10825551"/>
              <a:gd name="connsiteY1017" fmla="*/ 2653010 h 3811116"/>
              <a:gd name="connsiteX1018" fmla="*/ 9466871 w 10825551"/>
              <a:gd name="connsiteY1018" fmla="*/ 2643408 h 3811116"/>
              <a:gd name="connsiteX1019" fmla="*/ 9836835 w 10825551"/>
              <a:gd name="connsiteY1019" fmla="*/ 2623466 h 3811116"/>
              <a:gd name="connsiteX1020" fmla="*/ 9640144 w 10825551"/>
              <a:gd name="connsiteY1020" fmla="*/ 2653010 h 3811116"/>
              <a:gd name="connsiteX1021" fmla="*/ 9604435 w 10825551"/>
              <a:gd name="connsiteY1021" fmla="*/ 2672951 h 3811116"/>
              <a:gd name="connsiteX1022" fmla="*/ 9624338 w 10825551"/>
              <a:gd name="connsiteY1022" fmla="*/ 2672951 h 3811116"/>
              <a:gd name="connsiteX1023" fmla="*/ 9569312 w 10825551"/>
              <a:gd name="connsiteY1023" fmla="*/ 2678122 h 3811116"/>
              <a:gd name="connsiteX1024" fmla="*/ 9553507 w 10825551"/>
              <a:gd name="connsiteY1024" fmla="*/ 2683292 h 3811116"/>
              <a:gd name="connsiteX1025" fmla="*/ 9514286 w 10825551"/>
              <a:gd name="connsiteY1025" fmla="*/ 2687723 h 3811116"/>
              <a:gd name="connsiteX1026" fmla="*/ 9647755 w 10825551"/>
              <a:gd name="connsiteY1026" fmla="*/ 2687723 h 3811116"/>
              <a:gd name="connsiteX1027" fmla="*/ 9620242 w 10825551"/>
              <a:gd name="connsiteY1027" fmla="*/ 2692894 h 3811116"/>
              <a:gd name="connsiteX1028" fmla="*/ 9596827 w 10825551"/>
              <a:gd name="connsiteY1028" fmla="*/ 2702496 h 3811116"/>
              <a:gd name="connsiteX1029" fmla="*/ 9714489 w 10825551"/>
              <a:gd name="connsiteY1029" fmla="*/ 2692894 h 3811116"/>
              <a:gd name="connsiteX1030" fmla="*/ 9620242 w 10825551"/>
              <a:gd name="connsiteY1030" fmla="*/ 2712836 h 3811116"/>
              <a:gd name="connsiteX1031" fmla="*/ 9734392 w 10825551"/>
              <a:gd name="connsiteY1031" fmla="*/ 2712836 h 3811116"/>
              <a:gd name="connsiteX1032" fmla="*/ 9746100 w 10825551"/>
              <a:gd name="connsiteY1032" fmla="*/ 2718006 h 3811116"/>
              <a:gd name="connsiteX1033" fmla="*/ 9761905 w 10825551"/>
              <a:gd name="connsiteY1033" fmla="*/ 2718006 h 3811116"/>
              <a:gd name="connsiteX1034" fmla="*/ 9750198 w 10825551"/>
              <a:gd name="connsiteY1034" fmla="*/ 2722437 h 3811116"/>
              <a:gd name="connsiteX1035" fmla="*/ 9734392 w 10825551"/>
              <a:gd name="connsiteY1035" fmla="*/ 2722437 h 3811116"/>
              <a:gd name="connsiteX1036" fmla="*/ 9620242 w 10825551"/>
              <a:gd name="connsiteY1036" fmla="*/ 2742379 h 3811116"/>
              <a:gd name="connsiteX1037" fmla="*/ 9600337 w 10825551"/>
              <a:gd name="connsiteY1037" fmla="*/ 2757151 h 3811116"/>
              <a:gd name="connsiteX1038" fmla="*/ 9691074 w 10825551"/>
              <a:gd name="connsiteY1038" fmla="*/ 2752719 h 3811116"/>
              <a:gd name="connsiteX1039" fmla="*/ 9675268 w 10825551"/>
              <a:gd name="connsiteY1039" fmla="*/ 2757151 h 3811116"/>
              <a:gd name="connsiteX1040" fmla="*/ 9679366 w 10825551"/>
              <a:gd name="connsiteY1040" fmla="*/ 2757151 h 3811116"/>
              <a:gd name="connsiteX1041" fmla="*/ 9750198 w 10825551"/>
              <a:gd name="connsiteY1041" fmla="*/ 2757151 h 3811116"/>
              <a:gd name="connsiteX1042" fmla="*/ 9856738 w 10825551"/>
              <a:gd name="connsiteY1042" fmla="*/ 2742379 h 3811116"/>
              <a:gd name="connsiteX1043" fmla="*/ 9891859 w 10825551"/>
              <a:gd name="connsiteY1043" fmla="*/ 2718006 h 3811116"/>
              <a:gd name="connsiteX1044" fmla="*/ 9644242 w 10825551"/>
              <a:gd name="connsiteY1044" fmla="*/ 2752719 h 3811116"/>
              <a:gd name="connsiteX1045" fmla="*/ 9966790 w 10825551"/>
              <a:gd name="connsiteY1045" fmla="*/ 2698064 h 3811116"/>
              <a:gd name="connsiteX1046" fmla="*/ 9990790 w 10825551"/>
              <a:gd name="connsiteY1046" fmla="*/ 2687723 h 3811116"/>
              <a:gd name="connsiteX1047" fmla="*/ 10085040 w 10825551"/>
              <a:gd name="connsiteY1047" fmla="*/ 2678122 h 3811116"/>
              <a:gd name="connsiteX1048" fmla="*/ 9994305 w 10825551"/>
              <a:gd name="connsiteY1048" fmla="*/ 2698064 h 3811116"/>
              <a:gd name="connsiteX1049" fmla="*/ 9962692 w 10825551"/>
              <a:gd name="connsiteY1049" fmla="*/ 2722437 h 3811116"/>
              <a:gd name="connsiteX1050" fmla="*/ 10199189 w 10825551"/>
              <a:gd name="connsiteY1050" fmla="*/ 2707665 h 3811116"/>
              <a:gd name="connsiteX1051" fmla="*/ 10214994 w 10825551"/>
              <a:gd name="connsiteY1051" fmla="*/ 2707665 h 3811116"/>
              <a:gd name="connsiteX1052" fmla="*/ 10128357 w 10825551"/>
              <a:gd name="connsiteY1052" fmla="*/ 2727608 h 3811116"/>
              <a:gd name="connsiteX1053" fmla="*/ 10092648 w 10825551"/>
              <a:gd name="connsiteY1053" fmla="*/ 2747549 h 3811116"/>
              <a:gd name="connsiteX1054" fmla="*/ 10340852 w 10825551"/>
              <a:gd name="connsiteY1054" fmla="*/ 2737948 h 3811116"/>
              <a:gd name="connsiteX1055" fmla="*/ 10124259 w 10825551"/>
              <a:gd name="connsiteY1055" fmla="*/ 2777093 h 3811116"/>
              <a:gd name="connsiteX1056" fmla="*/ 10085040 w 10825551"/>
              <a:gd name="connsiteY1056" fmla="*/ 2797035 h 3811116"/>
              <a:gd name="connsiteX1057" fmla="*/ 10080939 w 10825551"/>
              <a:gd name="connsiteY1057" fmla="*/ 2797035 h 3811116"/>
              <a:gd name="connsiteX1058" fmla="*/ 9848542 w 10825551"/>
              <a:gd name="connsiteY1058" fmla="*/ 2822147 h 3811116"/>
              <a:gd name="connsiteX1059" fmla="*/ 9884251 w 10825551"/>
              <a:gd name="connsiteY1059" fmla="*/ 2822147 h 3811116"/>
              <a:gd name="connsiteX1060" fmla="*/ 9699268 w 10825551"/>
              <a:gd name="connsiteY1060" fmla="*/ 2846520 h 3811116"/>
              <a:gd name="connsiteX1061" fmla="*/ 9730294 w 10825551"/>
              <a:gd name="connsiteY1061" fmla="*/ 2846520 h 3811116"/>
              <a:gd name="connsiteX1062" fmla="*/ 9706879 w 10825551"/>
              <a:gd name="connsiteY1062" fmla="*/ 2851690 h 3811116"/>
              <a:gd name="connsiteX1063" fmla="*/ 9667657 w 10825551"/>
              <a:gd name="connsiteY1063" fmla="*/ 2871632 h 3811116"/>
              <a:gd name="connsiteX1064" fmla="*/ 9781809 w 10825551"/>
              <a:gd name="connsiteY1064" fmla="*/ 2871632 h 3811116"/>
              <a:gd name="connsiteX1065" fmla="*/ 9730294 w 10825551"/>
              <a:gd name="connsiteY1065" fmla="*/ 2876802 h 3811116"/>
              <a:gd name="connsiteX1066" fmla="*/ 9962692 w 10825551"/>
              <a:gd name="connsiteY1066" fmla="*/ 2851690 h 3811116"/>
              <a:gd name="connsiteX1067" fmla="*/ 9931666 w 10825551"/>
              <a:gd name="connsiteY1067" fmla="*/ 2871632 h 3811116"/>
              <a:gd name="connsiteX1068" fmla="*/ 9545311 w 10825551"/>
              <a:gd name="connsiteY1068" fmla="*/ 2941059 h 3811116"/>
              <a:gd name="connsiteX1069" fmla="*/ 9510188 w 10825551"/>
              <a:gd name="connsiteY1069" fmla="*/ 2961001 h 3811116"/>
              <a:gd name="connsiteX1070" fmla="*/ 9734392 w 10825551"/>
              <a:gd name="connsiteY1070" fmla="*/ 2931458 h 3811116"/>
              <a:gd name="connsiteX1071" fmla="*/ 9600337 w 10825551"/>
              <a:gd name="connsiteY1071" fmla="*/ 2971342 h 3811116"/>
              <a:gd name="connsiteX1072" fmla="*/ 9581020 w 10825551"/>
              <a:gd name="connsiteY1072" fmla="*/ 2986114 h 3811116"/>
              <a:gd name="connsiteX1073" fmla="*/ 9785907 w 10825551"/>
              <a:gd name="connsiteY1073" fmla="*/ 2961001 h 3811116"/>
              <a:gd name="connsiteX1074" fmla="*/ 9789418 w 10825551"/>
              <a:gd name="connsiteY1074" fmla="*/ 2966171 h 3811116"/>
              <a:gd name="connsiteX1075" fmla="*/ 9791906 w 10825551"/>
              <a:gd name="connsiteY1075" fmla="*/ 2966171 h 3811116"/>
              <a:gd name="connsiteX1076" fmla="*/ 9805224 w 10825551"/>
              <a:gd name="connsiteY1076" fmla="*/ 2966171 h 3811116"/>
              <a:gd name="connsiteX1077" fmla="*/ 9781809 w 10825551"/>
              <a:gd name="connsiteY1077" fmla="*/ 2986114 h 3811116"/>
              <a:gd name="connsiteX1078" fmla="*/ 10010109 w 10825551"/>
              <a:gd name="connsiteY1078" fmla="*/ 2971342 h 3811116"/>
              <a:gd name="connsiteX1079" fmla="*/ 10045816 w 10825551"/>
              <a:gd name="connsiteY1079" fmla="*/ 2951399 h 3811116"/>
              <a:gd name="connsiteX1080" fmla="*/ 10073331 w 10825551"/>
              <a:gd name="connsiteY1080" fmla="*/ 2946230 h 3811116"/>
              <a:gd name="connsiteX1081" fmla="*/ 10120163 w 10825551"/>
              <a:gd name="connsiteY1081" fmla="*/ 2956570 h 3811116"/>
              <a:gd name="connsiteX1082" fmla="*/ 10010109 w 10825551"/>
              <a:gd name="connsiteY1082" fmla="*/ 2980943 h 3811116"/>
              <a:gd name="connsiteX1083" fmla="*/ 9974986 w 10825551"/>
              <a:gd name="connsiteY1083" fmla="*/ 3000885 h 3811116"/>
              <a:gd name="connsiteX1084" fmla="*/ 10191579 w 10825551"/>
              <a:gd name="connsiteY1084" fmla="*/ 2980943 h 3811116"/>
              <a:gd name="connsiteX1085" fmla="*/ 10199189 w 10825551"/>
              <a:gd name="connsiteY1085" fmla="*/ 2986114 h 3811116"/>
              <a:gd name="connsiteX1086" fmla="*/ 10045816 w 10825551"/>
              <a:gd name="connsiteY1086" fmla="*/ 3025997 h 3811116"/>
              <a:gd name="connsiteX1087" fmla="*/ 10010109 w 10825551"/>
              <a:gd name="connsiteY1087" fmla="*/ 3045939 h 3811116"/>
              <a:gd name="connsiteX1088" fmla="*/ 10392366 w 10825551"/>
              <a:gd name="connsiteY1088" fmla="*/ 3000885 h 3811116"/>
              <a:gd name="connsiteX1089" fmla="*/ 10411685 w 10825551"/>
              <a:gd name="connsiteY1089" fmla="*/ 3000885 h 3811116"/>
              <a:gd name="connsiteX1090" fmla="*/ 10443294 w 10825551"/>
              <a:gd name="connsiteY1090" fmla="*/ 3006055 h 3811116"/>
              <a:gd name="connsiteX1091" fmla="*/ 10411685 w 10825551"/>
              <a:gd name="connsiteY1091" fmla="*/ 3015657 h 3811116"/>
              <a:gd name="connsiteX1092" fmla="*/ 10384170 w 10825551"/>
              <a:gd name="connsiteY1092" fmla="*/ 3040769 h 3811116"/>
              <a:gd name="connsiteX1093" fmla="*/ 10596667 w 10825551"/>
              <a:gd name="connsiteY1093" fmla="*/ 3020827 h 3811116"/>
              <a:gd name="connsiteX1094" fmla="*/ 10813258 w 10825551"/>
              <a:gd name="connsiteY1094" fmla="*/ 2986114 h 3811116"/>
              <a:gd name="connsiteX1095" fmla="*/ 10825551 w 10825551"/>
              <a:gd name="connsiteY1095" fmla="*/ 2986114 h 3811116"/>
              <a:gd name="connsiteX1096" fmla="*/ 10506518 w 10825551"/>
              <a:gd name="connsiteY1096" fmla="*/ 3060711 h 3811116"/>
              <a:gd name="connsiteX1097" fmla="*/ 10470809 w 10825551"/>
              <a:gd name="connsiteY1097" fmla="*/ 3085084 h 3811116"/>
              <a:gd name="connsiteX1098" fmla="*/ 10349046 w 10825551"/>
              <a:gd name="connsiteY1098" fmla="*/ 3110196 h 3811116"/>
              <a:gd name="connsiteX1099" fmla="*/ 10333242 w 10825551"/>
              <a:gd name="connsiteY1099" fmla="*/ 3110196 h 3811116"/>
              <a:gd name="connsiteX1100" fmla="*/ 10349046 w 10825551"/>
              <a:gd name="connsiteY1100" fmla="*/ 3095424 h 3811116"/>
              <a:gd name="connsiteX1101" fmla="*/ 10321535 w 10825551"/>
              <a:gd name="connsiteY1101" fmla="*/ 3100595 h 3811116"/>
              <a:gd name="connsiteX1102" fmla="*/ 10352561 w 10825551"/>
              <a:gd name="connsiteY1102" fmla="*/ 3090254 h 3811116"/>
              <a:gd name="connsiteX1103" fmla="*/ 10380659 w 10825551"/>
              <a:gd name="connsiteY1103" fmla="*/ 3070312 h 3811116"/>
              <a:gd name="connsiteX1104" fmla="*/ 10203288 w 10825551"/>
              <a:gd name="connsiteY1104" fmla="*/ 3105026 h 3811116"/>
              <a:gd name="connsiteX1105" fmla="*/ 10364853 w 10825551"/>
              <a:gd name="connsiteY1105" fmla="*/ 3065143 h 3811116"/>
              <a:gd name="connsiteX1106" fmla="*/ 10399976 w 10825551"/>
              <a:gd name="connsiteY1106" fmla="*/ 3040769 h 3811116"/>
              <a:gd name="connsiteX1107" fmla="*/ 10242507 w 10825551"/>
              <a:gd name="connsiteY1107" fmla="*/ 3070312 h 3811116"/>
              <a:gd name="connsiteX1108" fmla="*/ 10274118 w 10825551"/>
              <a:gd name="connsiteY1108" fmla="*/ 3060711 h 3811116"/>
              <a:gd name="connsiteX1109" fmla="*/ 10309241 w 10825551"/>
              <a:gd name="connsiteY1109" fmla="*/ 3040769 h 3811116"/>
              <a:gd name="connsiteX1110" fmla="*/ 10010109 w 10825551"/>
              <a:gd name="connsiteY1110" fmla="*/ 3070312 h 3811116"/>
              <a:gd name="connsiteX1111" fmla="*/ 9943375 w 10825551"/>
              <a:gd name="connsiteY1111" fmla="*/ 3075482 h 3811116"/>
              <a:gd name="connsiteX1112" fmla="*/ 9903568 w 10825551"/>
              <a:gd name="connsiteY1112" fmla="*/ 3095424 h 3811116"/>
              <a:gd name="connsiteX1113" fmla="*/ 9966790 w 10825551"/>
              <a:gd name="connsiteY1113" fmla="*/ 3090254 h 3811116"/>
              <a:gd name="connsiteX1114" fmla="*/ 10030014 w 10825551"/>
              <a:gd name="connsiteY1114" fmla="*/ 3085084 h 3811116"/>
              <a:gd name="connsiteX1115" fmla="*/ 10037622 w 10825551"/>
              <a:gd name="connsiteY1115" fmla="*/ 3085084 h 3811116"/>
              <a:gd name="connsiteX1116" fmla="*/ 10179287 w 10825551"/>
              <a:gd name="connsiteY1116" fmla="*/ 3065143 h 3811116"/>
              <a:gd name="connsiteX1117" fmla="*/ 10053427 w 10825551"/>
              <a:gd name="connsiteY1117" fmla="*/ 3090254 h 3811116"/>
              <a:gd name="connsiteX1118" fmla="*/ 9927568 w 10825551"/>
              <a:gd name="connsiteY1118" fmla="*/ 3115366 h 3811116"/>
              <a:gd name="connsiteX1119" fmla="*/ 9891859 w 10825551"/>
              <a:gd name="connsiteY1119" fmla="*/ 3139739 h 3811116"/>
              <a:gd name="connsiteX1120" fmla="*/ 10037622 w 10825551"/>
              <a:gd name="connsiteY1120" fmla="*/ 3124968 h 3811116"/>
              <a:gd name="connsiteX1121" fmla="*/ 10179287 w 10825551"/>
              <a:gd name="connsiteY1121" fmla="*/ 3100595 h 3811116"/>
              <a:gd name="connsiteX1122" fmla="*/ 10132455 w 10825551"/>
              <a:gd name="connsiteY1122" fmla="*/ 3115366 h 3811116"/>
              <a:gd name="connsiteX1123" fmla="*/ 10112550 w 10825551"/>
              <a:gd name="connsiteY1123" fmla="*/ 3135308 h 3811116"/>
              <a:gd name="connsiteX1124" fmla="*/ 10130625 w 10825551"/>
              <a:gd name="connsiteY1124" fmla="*/ 3130784 h 3811116"/>
              <a:gd name="connsiteX1125" fmla="*/ 10142532 w 10825551"/>
              <a:gd name="connsiteY1125" fmla="*/ 3130420 h 3811116"/>
              <a:gd name="connsiteX1126" fmla="*/ 10062062 w 10825551"/>
              <a:gd name="connsiteY1126" fmla="*/ 3144355 h 3811116"/>
              <a:gd name="connsiteX1127" fmla="*/ 9982596 w 10825551"/>
              <a:gd name="connsiteY1127" fmla="*/ 3155250 h 3811116"/>
              <a:gd name="connsiteX1128" fmla="*/ 9801710 w 10825551"/>
              <a:gd name="connsiteY1128" fmla="*/ 3199565 h 3811116"/>
              <a:gd name="connsiteX1129" fmla="*/ 9825127 w 10825551"/>
              <a:gd name="connsiteY1129" fmla="*/ 3194396 h 3811116"/>
              <a:gd name="connsiteX1130" fmla="*/ 9891859 w 10825551"/>
              <a:gd name="connsiteY1130" fmla="*/ 3184794 h 3811116"/>
              <a:gd name="connsiteX1131" fmla="*/ 9887763 w 10825551"/>
              <a:gd name="connsiteY1131" fmla="*/ 3194396 h 3811116"/>
              <a:gd name="connsiteX1132" fmla="*/ 10313339 w 10825551"/>
              <a:gd name="connsiteY1132" fmla="*/ 3135308 h 3811116"/>
              <a:gd name="connsiteX1133" fmla="*/ 10388268 w 10825551"/>
              <a:gd name="connsiteY1133" fmla="*/ 3124968 h 3811116"/>
              <a:gd name="connsiteX1134" fmla="*/ 10356657 w 10825551"/>
              <a:gd name="connsiteY1134" fmla="*/ 3144910 h 3811116"/>
              <a:gd name="connsiteX1135" fmla="*/ 10171674 w 10825551"/>
              <a:gd name="connsiteY1135" fmla="*/ 3175192 h 3811116"/>
              <a:gd name="connsiteX1136" fmla="*/ 9982596 w 10825551"/>
              <a:gd name="connsiteY1136" fmla="*/ 3214337 h 3811116"/>
              <a:gd name="connsiteX1137" fmla="*/ 9950985 w 10825551"/>
              <a:gd name="connsiteY1137" fmla="*/ 3234279 h 3811116"/>
              <a:gd name="connsiteX1138" fmla="*/ 10049330 w 10825551"/>
              <a:gd name="connsiteY1138" fmla="*/ 3219507 h 3811116"/>
              <a:gd name="connsiteX1139" fmla="*/ 10148260 w 10825551"/>
              <a:gd name="connsiteY1139" fmla="*/ 3204735 h 3811116"/>
              <a:gd name="connsiteX1140" fmla="*/ 10135965 w 10825551"/>
              <a:gd name="connsiteY1140" fmla="*/ 3219507 h 3811116"/>
              <a:gd name="connsiteX1141" fmla="*/ 10171674 w 10825551"/>
              <a:gd name="connsiteY1141" fmla="*/ 3214337 h 3811116"/>
              <a:gd name="connsiteX1142" fmla="*/ 10210896 w 10825551"/>
              <a:gd name="connsiteY1142" fmla="*/ 3209167 h 3811116"/>
              <a:gd name="connsiteX1143" fmla="*/ 10203288 w 10825551"/>
              <a:gd name="connsiteY1143" fmla="*/ 3214337 h 3811116"/>
              <a:gd name="connsiteX1144" fmla="*/ 9702781 w 10825551"/>
              <a:gd name="connsiteY1144" fmla="*/ 3283764 h 3811116"/>
              <a:gd name="connsiteX1145" fmla="*/ 9663559 w 10825551"/>
              <a:gd name="connsiteY1145" fmla="*/ 3303706 h 3811116"/>
              <a:gd name="connsiteX1146" fmla="*/ 9651853 w 10825551"/>
              <a:gd name="connsiteY1146" fmla="*/ 3308877 h 3811116"/>
              <a:gd name="connsiteX1147" fmla="*/ 9631950 w 10825551"/>
              <a:gd name="connsiteY1147" fmla="*/ 3323648 h 3811116"/>
              <a:gd name="connsiteX1148" fmla="*/ 9766003 w 10825551"/>
              <a:gd name="connsiteY1148" fmla="*/ 3299275 h 3811116"/>
              <a:gd name="connsiteX1149" fmla="*/ 9746100 w 10825551"/>
              <a:gd name="connsiteY1149" fmla="*/ 3314047 h 3811116"/>
              <a:gd name="connsiteX1150" fmla="*/ 9959181 w 10825551"/>
              <a:gd name="connsiteY1150" fmla="*/ 3294105 h 3811116"/>
              <a:gd name="connsiteX1151" fmla="*/ 10061039 w 10825551"/>
              <a:gd name="connsiteY1151" fmla="*/ 3283764 h 3811116"/>
              <a:gd name="connsiteX1152" fmla="*/ 10167578 w 10825551"/>
              <a:gd name="connsiteY1152" fmla="*/ 3264561 h 3811116"/>
              <a:gd name="connsiteX1153" fmla="*/ 10281728 w 10825551"/>
              <a:gd name="connsiteY1153" fmla="*/ 3244619 h 3811116"/>
              <a:gd name="connsiteX1154" fmla="*/ 10281728 w 10825551"/>
              <a:gd name="connsiteY1154" fmla="*/ 3254221 h 3811116"/>
              <a:gd name="connsiteX1155" fmla="*/ 10407587 w 10825551"/>
              <a:gd name="connsiteY1155" fmla="*/ 3234279 h 3811116"/>
              <a:gd name="connsiteX1156" fmla="*/ 10128357 w 10825551"/>
              <a:gd name="connsiteY1156" fmla="*/ 3294105 h 3811116"/>
              <a:gd name="connsiteX1157" fmla="*/ 10057525 w 10825551"/>
              <a:gd name="connsiteY1157" fmla="*/ 3308877 h 3811116"/>
              <a:gd name="connsiteX1158" fmla="*/ 9986692 w 10825551"/>
              <a:gd name="connsiteY1158" fmla="*/ 3319217 h 3811116"/>
              <a:gd name="connsiteX1159" fmla="*/ 9845029 w 10825551"/>
              <a:gd name="connsiteY1159" fmla="*/ 3333988 h 3811116"/>
              <a:gd name="connsiteX1160" fmla="*/ 9840933 w 10825551"/>
              <a:gd name="connsiteY1160" fmla="*/ 3333988 h 3811116"/>
              <a:gd name="connsiteX1161" fmla="*/ 9679366 w 10825551"/>
              <a:gd name="connsiteY1161" fmla="*/ 3358362 h 3811116"/>
              <a:gd name="connsiteX1162" fmla="*/ 9644242 w 10825551"/>
              <a:gd name="connsiteY1162" fmla="*/ 3378304 h 3811116"/>
              <a:gd name="connsiteX1163" fmla="*/ 9750198 w 10825551"/>
              <a:gd name="connsiteY1163" fmla="*/ 3363532 h 3811116"/>
              <a:gd name="connsiteX1164" fmla="*/ 9750198 w 10825551"/>
              <a:gd name="connsiteY1164" fmla="*/ 3368702 h 3811116"/>
              <a:gd name="connsiteX1165" fmla="*/ 10104940 w 10825551"/>
              <a:gd name="connsiteY1165" fmla="*/ 3333988 h 3811116"/>
              <a:gd name="connsiteX1166" fmla="*/ 10041720 w 10825551"/>
              <a:gd name="connsiteY1166" fmla="*/ 3348760 h 3811116"/>
              <a:gd name="connsiteX1167" fmla="*/ 9852640 w 10825551"/>
              <a:gd name="connsiteY1167" fmla="*/ 3368702 h 3811116"/>
              <a:gd name="connsiteX1168" fmla="*/ 9836835 w 10825551"/>
              <a:gd name="connsiteY1168" fmla="*/ 3373872 h 3811116"/>
              <a:gd name="connsiteX1169" fmla="*/ 9821029 w 10825551"/>
              <a:gd name="connsiteY1169" fmla="*/ 3373872 h 3811116"/>
              <a:gd name="connsiteX1170" fmla="*/ 9770101 w 10825551"/>
              <a:gd name="connsiteY1170" fmla="*/ 3383474 h 3811116"/>
              <a:gd name="connsiteX1171" fmla="*/ 9754294 w 10825551"/>
              <a:gd name="connsiteY1171" fmla="*/ 3383474 h 3811116"/>
              <a:gd name="connsiteX1172" fmla="*/ 9565214 w 10825551"/>
              <a:gd name="connsiteY1172" fmla="*/ 3403415 h 3811116"/>
              <a:gd name="connsiteX1173" fmla="*/ 9376136 w 10825551"/>
              <a:gd name="connsiteY1173" fmla="*/ 3427789 h 3811116"/>
              <a:gd name="connsiteX1174" fmla="*/ 9372038 w 10825551"/>
              <a:gd name="connsiteY1174" fmla="*/ 3427789 h 3811116"/>
              <a:gd name="connsiteX1175" fmla="*/ 9336914 w 10825551"/>
              <a:gd name="connsiteY1175" fmla="*/ 3447731 h 3811116"/>
              <a:gd name="connsiteX1176" fmla="*/ 9470969 w 10825551"/>
              <a:gd name="connsiteY1176" fmla="*/ 3438130 h 3811116"/>
              <a:gd name="connsiteX1177" fmla="*/ 9604435 w 10825551"/>
              <a:gd name="connsiteY1177" fmla="*/ 3423358 h 3811116"/>
              <a:gd name="connsiteX1178" fmla="*/ 9458674 w 10825551"/>
              <a:gd name="connsiteY1178" fmla="*/ 3458071 h 3811116"/>
              <a:gd name="connsiteX1179" fmla="*/ 9427063 w 10825551"/>
              <a:gd name="connsiteY1179" fmla="*/ 3478013 h 3811116"/>
              <a:gd name="connsiteX1180" fmla="*/ 9563011 w 10825551"/>
              <a:gd name="connsiteY1180" fmla="*/ 3464280 h 3811116"/>
              <a:gd name="connsiteX1181" fmla="*/ 9691082 w 10825551"/>
              <a:gd name="connsiteY1181" fmla="*/ 3447236 h 3811116"/>
              <a:gd name="connsiteX1182" fmla="*/ 9655951 w 10825551"/>
              <a:gd name="connsiteY1182" fmla="*/ 3452901 h 3811116"/>
              <a:gd name="connsiteX1183" fmla="*/ 9616144 w 10825551"/>
              <a:gd name="connsiteY1183" fmla="*/ 3478013 h 3811116"/>
              <a:gd name="connsiteX1184" fmla="*/ 9726783 w 10825551"/>
              <a:gd name="connsiteY1184" fmla="*/ 3472843 h 3811116"/>
              <a:gd name="connsiteX1185" fmla="*/ 9604435 w 10825551"/>
              <a:gd name="connsiteY1185" fmla="*/ 3502386 h 3811116"/>
              <a:gd name="connsiteX1186" fmla="*/ 9572826 w 10825551"/>
              <a:gd name="connsiteY1186" fmla="*/ 3522329 h 3811116"/>
              <a:gd name="connsiteX1187" fmla="*/ 9797614 w 10825551"/>
              <a:gd name="connsiteY1187" fmla="*/ 3502386 h 3811116"/>
              <a:gd name="connsiteX1188" fmla="*/ 9773611 w 10825551"/>
              <a:gd name="connsiteY1188" fmla="*/ 3522329 h 3811116"/>
              <a:gd name="connsiteX1189" fmla="*/ 10124259 w 10825551"/>
              <a:gd name="connsiteY1189" fmla="*/ 3478013 h 3811116"/>
              <a:gd name="connsiteX1190" fmla="*/ 10474905 w 10825551"/>
              <a:gd name="connsiteY1190" fmla="*/ 3413017 h 3811116"/>
              <a:gd name="connsiteX1191" fmla="*/ 10474905 w 10825551"/>
              <a:gd name="connsiteY1191" fmla="*/ 3418187 h 3811116"/>
              <a:gd name="connsiteX1192" fmla="*/ 10632374 w 10825551"/>
              <a:gd name="connsiteY1192" fmla="*/ 3393814 h 3811116"/>
              <a:gd name="connsiteX1193" fmla="*/ 10427489 w 10825551"/>
              <a:gd name="connsiteY1193" fmla="*/ 3432959 h 3811116"/>
              <a:gd name="connsiteX1194" fmla="*/ 10427489 w 10825551"/>
              <a:gd name="connsiteY1194" fmla="*/ 3427789 h 3811116"/>
              <a:gd name="connsiteX1195" fmla="*/ 10329144 w 10825551"/>
              <a:gd name="connsiteY1195" fmla="*/ 3447731 h 3811116"/>
              <a:gd name="connsiteX1196" fmla="*/ 10289922 w 10825551"/>
              <a:gd name="connsiteY1196" fmla="*/ 3472843 h 3811116"/>
              <a:gd name="connsiteX1197" fmla="*/ 10281728 w 10825551"/>
              <a:gd name="connsiteY1197" fmla="*/ 3472843 h 3811116"/>
              <a:gd name="connsiteX1198" fmla="*/ 10285826 w 10825551"/>
              <a:gd name="connsiteY1198" fmla="*/ 3467673 h 3811116"/>
              <a:gd name="connsiteX1199" fmla="*/ 10144164 w 10825551"/>
              <a:gd name="connsiteY1199" fmla="*/ 3492785 h 3811116"/>
              <a:gd name="connsiteX1200" fmla="*/ 10073331 w 10825551"/>
              <a:gd name="connsiteY1200" fmla="*/ 3507557 h 3811116"/>
              <a:gd name="connsiteX1201" fmla="*/ 10002499 w 10825551"/>
              <a:gd name="connsiteY1201" fmla="*/ 3512727 h 3811116"/>
              <a:gd name="connsiteX1202" fmla="*/ 9959181 w 10825551"/>
              <a:gd name="connsiteY1202" fmla="*/ 3537839 h 3811116"/>
              <a:gd name="connsiteX1203" fmla="*/ 9946887 w 10825551"/>
              <a:gd name="connsiteY1203" fmla="*/ 3552611 h 3811116"/>
              <a:gd name="connsiteX1204" fmla="*/ 9994305 w 10825551"/>
              <a:gd name="connsiteY1204" fmla="*/ 3532668 h 3811116"/>
              <a:gd name="connsiteX1205" fmla="*/ 10006011 w 10825551"/>
              <a:gd name="connsiteY1205" fmla="*/ 3532668 h 3811116"/>
              <a:gd name="connsiteX1206" fmla="*/ 10175773 w 10825551"/>
              <a:gd name="connsiteY1206" fmla="*/ 3502386 h 3811116"/>
              <a:gd name="connsiteX1207" fmla="*/ 10171674 w 10825551"/>
              <a:gd name="connsiteY1207" fmla="*/ 3507557 h 3811116"/>
              <a:gd name="connsiteX1208" fmla="*/ 10080939 w 10825551"/>
              <a:gd name="connsiteY1208" fmla="*/ 3527499 h 3811116"/>
              <a:gd name="connsiteX1209" fmla="*/ 9994305 w 10825551"/>
              <a:gd name="connsiteY1209" fmla="*/ 3542270 h 3811116"/>
              <a:gd name="connsiteX1210" fmla="*/ 9970888 w 10825551"/>
              <a:gd name="connsiteY1210" fmla="*/ 3552611 h 3811116"/>
              <a:gd name="connsiteX1211" fmla="*/ 9663559 w 10825551"/>
              <a:gd name="connsiteY1211" fmla="*/ 3587324 h 3811116"/>
              <a:gd name="connsiteX1212" fmla="*/ 9510188 w 10825551"/>
              <a:gd name="connsiteY1212" fmla="*/ 3607266 h 3811116"/>
              <a:gd name="connsiteX1213" fmla="*/ 9356231 w 10825551"/>
              <a:gd name="connsiteY1213" fmla="*/ 3622038 h 3811116"/>
              <a:gd name="connsiteX1214" fmla="*/ 9317012 w 10825551"/>
              <a:gd name="connsiteY1214" fmla="*/ 3641980 h 3811116"/>
              <a:gd name="connsiteX1215" fmla="*/ 9510188 w 10825551"/>
              <a:gd name="connsiteY1215" fmla="*/ 3622038 h 3811116"/>
              <a:gd name="connsiteX1216" fmla="*/ 9702781 w 10825551"/>
              <a:gd name="connsiteY1216" fmla="*/ 3596926 h 3811116"/>
              <a:gd name="connsiteX1217" fmla="*/ 10088531 w 10825551"/>
              <a:gd name="connsiteY1217" fmla="*/ 3557463 h 3811116"/>
              <a:gd name="connsiteX1218" fmla="*/ 10031475 w 10825551"/>
              <a:gd name="connsiteY1218" fmla="*/ 3570337 h 3811116"/>
              <a:gd name="connsiteX1219" fmla="*/ 9903568 w 10825551"/>
              <a:gd name="connsiteY1219" fmla="*/ 3587324 h 3811116"/>
              <a:gd name="connsiteX1220" fmla="*/ 9647755 w 10825551"/>
              <a:gd name="connsiteY1220" fmla="*/ 3612436 h 3811116"/>
              <a:gd name="connsiteX1221" fmla="*/ 9620242 w 10825551"/>
              <a:gd name="connsiteY1221" fmla="*/ 3616867 h 3811116"/>
              <a:gd name="connsiteX1222" fmla="*/ 9581020 w 10825551"/>
              <a:gd name="connsiteY1222" fmla="*/ 3641980 h 3811116"/>
              <a:gd name="connsiteX1223" fmla="*/ 10025914 w 10825551"/>
              <a:gd name="connsiteY1223" fmla="*/ 3587324 h 3811116"/>
              <a:gd name="connsiteX1224" fmla="*/ 10010109 w 10825551"/>
              <a:gd name="connsiteY1224" fmla="*/ 3602096 h 3811116"/>
              <a:gd name="connsiteX1225" fmla="*/ 10061039 w 10825551"/>
              <a:gd name="connsiteY1225" fmla="*/ 3596926 h 3811116"/>
              <a:gd name="connsiteX1226" fmla="*/ 9962692 w 10825551"/>
              <a:gd name="connsiteY1226" fmla="*/ 3616867 h 3811116"/>
              <a:gd name="connsiteX1227" fmla="*/ 9970888 w 10825551"/>
              <a:gd name="connsiteY1227" fmla="*/ 3607266 h 3811116"/>
              <a:gd name="connsiteX1228" fmla="*/ 9533605 w 10825551"/>
              <a:gd name="connsiteY1228" fmla="*/ 3656752 h 3811116"/>
              <a:gd name="connsiteX1229" fmla="*/ 9494384 w 10825551"/>
              <a:gd name="connsiteY1229" fmla="*/ 3681863 h 3811116"/>
              <a:gd name="connsiteX1230" fmla="*/ 9805224 w 10825551"/>
              <a:gd name="connsiteY1230" fmla="*/ 3641980 h 3811116"/>
              <a:gd name="connsiteX1231" fmla="*/ 9596827 w 10825551"/>
              <a:gd name="connsiteY1231" fmla="*/ 3681863 h 3811116"/>
              <a:gd name="connsiteX1232" fmla="*/ 9391940 w 10825551"/>
              <a:gd name="connsiteY1232" fmla="*/ 3716577 h 3811116"/>
              <a:gd name="connsiteX1233" fmla="*/ 8935341 w 10825551"/>
              <a:gd name="connsiteY1233" fmla="*/ 3760892 h 3811116"/>
              <a:gd name="connsiteX1234" fmla="*/ 8895533 w 10825551"/>
              <a:gd name="connsiteY1234" fmla="*/ 3780834 h 3811116"/>
              <a:gd name="connsiteX1235" fmla="*/ 9321108 w 10825551"/>
              <a:gd name="connsiteY1235" fmla="*/ 3740951 h 3811116"/>
              <a:gd name="connsiteX1236" fmla="*/ 9328720 w 10825551"/>
              <a:gd name="connsiteY1236" fmla="*/ 3740951 h 3811116"/>
              <a:gd name="connsiteX1237" fmla="*/ 9360329 w 10825551"/>
              <a:gd name="connsiteY1237" fmla="*/ 3736519 h 3811116"/>
              <a:gd name="connsiteX1238" fmla="*/ 9557020 w 10825551"/>
              <a:gd name="connsiteY1238" fmla="*/ 3711407 h 3811116"/>
              <a:gd name="connsiteX1239" fmla="*/ 9636046 w 10825551"/>
              <a:gd name="connsiteY1239" fmla="*/ 3701805 h 3811116"/>
              <a:gd name="connsiteX1240" fmla="*/ 9604435 w 10825551"/>
              <a:gd name="connsiteY1240" fmla="*/ 3716577 h 3811116"/>
              <a:gd name="connsiteX1241" fmla="*/ 9222764 w 10825551"/>
              <a:gd name="connsiteY1241" fmla="*/ 3756461 h 3811116"/>
              <a:gd name="connsiteX1242" fmla="*/ 9033684 w 10825551"/>
              <a:gd name="connsiteY1242" fmla="*/ 3771233 h 3811116"/>
              <a:gd name="connsiteX1243" fmla="*/ 8840507 w 10825551"/>
              <a:gd name="connsiteY1243" fmla="*/ 3786005 h 3811116"/>
              <a:gd name="connsiteX1244" fmla="*/ 8458835 w 10825551"/>
              <a:gd name="connsiteY1244" fmla="*/ 3805946 h 3811116"/>
              <a:gd name="connsiteX1245" fmla="*/ 8269754 w 10825551"/>
              <a:gd name="connsiteY1245" fmla="*/ 3811116 h 3811116"/>
              <a:gd name="connsiteX1246" fmla="*/ 8076577 w 10825551"/>
              <a:gd name="connsiteY1246" fmla="*/ 3811116 h 3811116"/>
              <a:gd name="connsiteX1247" fmla="*/ 7694320 w 10825551"/>
              <a:gd name="connsiteY1247" fmla="*/ 3811116 h 3811116"/>
              <a:gd name="connsiteX1248" fmla="*/ 7312646 w 10825551"/>
              <a:gd name="connsiteY1248" fmla="*/ 3795606 h 3811116"/>
              <a:gd name="connsiteX1249" fmla="*/ 7119470 w 10825551"/>
              <a:gd name="connsiteY1249" fmla="*/ 3791175 h 3811116"/>
              <a:gd name="connsiteX1250" fmla="*/ 6930390 w 10825551"/>
              <a:gd name="connsiteY1250" fmla="*/ 3775664 h 3811116"/>
              <a:gd name="connsiteX1251" fmla="*/ 6548718 w 10825551"/>
              <a:gd name="connsiteY1251" fmla="*/ 3746120 h 3811116"/>
              <a:gd name="connsiteX1252" fmla="*/ 6202169 w 10825551"/>
              <a:gd name="connsiteY1252" fmla="*/ 3706237 h 3811116"/>
              <a:gd name="connsiteX1253" fmla="*/ 6028895 w 10825551"/>
              <a:gd name="connsiteY1253" fmla="*/ 3686295 h 3811116"/>
              <a:gd name="connsiteX1254" fmla="*/ 5855621 w 10825551"/>
              <a:gd name="connsiteY1254" fmla="*/ 3661922 h 3811116"/>
              <a:gd name="connsiteX1255" fmla="*/ 5509658 w 10825551"/>
              <a:gd name="connsiteY1255" fmla="*/ 3607266 h 3811116"/>
              <a:gd name="connsiteX1256" fmla="*/ 5340480 w 10825551"/>
              <a:gd name="connsiteY1256" fmla="*/ 3576984 h 3811116"/>
              <a:gd name="connsiteX1257" fmla="*/ 5167207 w 10825551"/>
              <a:gd name="connsiteY1257" fmla="*/ 3542270 h 3811116"/>
              <a:gd name="connsiteX1258" fmla="*/ 3997604 w 10825551"/>
              <a:gd name="connsiteY1258" fmla="*/ 3264561 h 3811116"/>
              <a:gd name="connsiteX1259" fmla="*/ 4005215 w 10825551"/>
              <a:gd name="connsiteY1259" fmla="*/ 3259391 h 3811116"/>
              <a:gd name="connsiteX1260" fmla="*/ 3808524 w 10825551"/>
              <a:gd name="connsiteY1260" fmla="*/ 3204735 h 3811116"/>
              <a:gd name="connsiteX1261" fmla="*/ 3816134 w 10825551"/>
              <a:gd name="connsiteY1261" fmla="*/ 3199565 h 3811116"/>
              <a:gd name="connsiteX1262" fmla="*/ 3580224 w 10825551"/>
              <a:gd name="connsiteY1262" fmla="*/ 3124968 h 3811116"/>
              <a:gd name="connsiteX1263" fmla="*/ 3611250 w 10825551"/>
              <a:gd name="connsiteY1263" fmla="*/ 3124968 h 3811116"/>
              <a:gd name="connsiteX1264" fmla="*/ 3627054 w 10825551"/>
              <a:gd name="connsiteY1264" fmla="*/ 3130138 h 3811116"/>
              <a:gd name="connsiteX1265" fmla="*/ 3631152 w 10825551"/>
              <a:gd name="connsiteY1265" fmla="*/ 3130138 h 3811116"/>
              <a:gd name="connsiteX1266" fmla="*/ 3635251 w 10825551"/>
              <a:gd name="connsiteY1266" fmla="*/ 3130138 h 3811116"/>
              <a:gd name="connsiteX1267" fmla="*/ 3670373 w 10825551"/>
              <a:gd name="connsiteY1267" fmla="*/ 3124968 h 3811116"/>
              <a:gd name="connsiteX1268" fmla="*/ 3611250 w 10825551"/>
              <a:gd name="connsiteY1268" fmla="*/ 3100595 h 3811116"/>
              <a:gd name="connsiteX1269" fmla="*/ 3682080 w 10825551"/>
              <a:gd name="connsiteY1269" fmla="*/ 3120536 h 3811116"/>
              <a:gd name="connsiteX1270" fmla="*/ 3725399 w 10825551"/>
              <a:gd name="connsiteY1270" fmla="*/ 3115366 h 3811116"/>
              <a:gd name="connsiteX1271" fmla="*/ 3556222 w 10825551"/>
              <a:gd name="connsiteY1271" fmla="*/ 3060711 h 3811116"/>
              <a:gd name="connsiteX1272" fmla="*/ 3576125 w 10825551"/>
              <a:gd name="connsiteY1272" fmla="*/ 3055541 h 3811116"/>
              <a:gd name="connsiteX1273" fmla="*/ 3430365 w 10825551"/>
              <a:gd name="connsiteY1273" fmla="*/ 3000885 h 3811116"/>
              <a:gd name="connsiteX1274" fmla="*/ 3446170 w 10825551"/>
              <a:gd name="connsiteY1274" fmla="*/ 2995715 h 3811116"/>
              <a:gd name="connsiteX1275" fmla="*/ 3453780 w 10825551"/>
              <a:gd name="connsiteY1275" fmla="*/ 2995715 h 3811116"/>
              <a:gd name="connsiteX1276" fmla="*/ 3493001 w 10825551"/>
              <a:gd name="connsiteY1276" fmla="*/ 2990545 h 3811116"/>
              <a:gd name="connsiteX1277" fmla="*/ 3430365 w 10825551"/>
              <a:gd name="connsiteY1277" fmla="*/ 2966171 h 3811116"/>
              <a:gd name="connsiteX1278" fmla="*/ 3387047 w 10825551"/>
              <a:gd name="connsiteY1278" fmla="*/ 2966171 h 3811116"/>
              <a:gd name="connsiteX1279" fmla="*/ 3332020 w 10825551"/>
              <a:gd name="connsiteY1279" fmla="*/ 2951399 h 3811116"/>
              <a:gd name="connsiteX1280" fmla="*/ 3332020 w 10825551"/>
              <a:gd name="connsiteY1280" fmla="*/ 2946230 h 3811116"/>
              <a:gd name="connsiteX1281" fmla="*/ 3166356 w 10825551"/>
              <a:gd name="connsiteY1281" fmla="*/ 2876802 h 3811116"/>
              <a:gd name="connsiteX1282" fmla="*/ 3245383 w 10825551"/>
              <a:gd name="connsiteY1282" fmla="*/ 2896744 h 3811116"/>
              <a:gd name="connsiteX1283" fmla="*/ 3493001 w 10825551"/>
              <a:gd name="connsiteY1283" fmla="*/ 2975773 h 3811116"/>
              <a:gd name="connsiteX1284" fmla="*/ 3532808 w 10825551"/>
              <a:gd name="connsiteY1284" fmla="*/ 2971342 h 3811116"/>
              <a:gd name="connsiteX1285" fmla="*/ 3678569 w 10825551"/>
              <a:gd name="connsiteY1285" fmla="*/ 3015657 h 3811116"/>
              <a:gd name="connsiteX1286" fmla="*/ 3686178 w 10825551"/>
              <a:gd name="connsiteY1286" fmla="*/ 3015657 h 3811116"/>
              <a:gd name="connsiteX1287" fmla="*/ 3694373 w 10825551"/>
              <a:gd name="connsiteY1287" fmla="*/ 3020827 h 3811116"/>
              <a:gd name="connsiteX1288" fmla="*/ 3843648 w 10825551"/>
              <a:gd name="connsiteY1288" fmla="*/ 3055541 h 3811116"/>
              <a:gd name="connsiteX1289" fmla="*/ 3886966 w 10825551"/>
              <a:gd name="connsiteY1289" fmla="*/ 3050370 h 3811116"/>
              <a:gd name="connsiteX1290" fmla="*/ 3776913 w 10825551"/>
              <a:gd name="connsiteY1290" fmla="*/ 3015657 h 3811116"/>
              <a:gd name="connsiteX1291" fmla="*/ 3792719 w 10825551"/>
              <a:gd name="connsiteY1291" fmla="*/ 3006055 h 3811116"/>
              <a:gd name="connsiteX1292" fmla="*/ 3686178 w 10825551"/>
              <a:gd name="connsiteY1292" fmla="*/ 2966171 h 3811116"/>
              <a:gd name="connsiteX1293" fmla="*/ 3721887 w 10825551"/>
              <a:gd name="connsiteY1293" fmla="*/ 2961001 h 3811116"/>
              <a:gd name="connsiteX1294" fmla="*/ 3591931 w 10825551"/>
              <a:gd name="connsiteY1294" fmla="*/ 2916686 h 3811116"/>
              <a:gd name="connsiteX1295" fmla="*/ 3465488 w 10825551"/>
              <a:gd name="connsiteY1295" fmla="*/ 2871632 h 3811116"/>
              <a:gd name="connsiteX1296" fmla="*/ 3450269 w 10825551"/>
              <a:gd name="connsiteY1296" fmla="*/ 2871632 h 3811116"/>
              <a:gd name="connsiteX1297" fmla="*/ 3068011 w 10825551"/>
              <a:gd name="connsiteY1297" fmla="*/ 2752719 h 3811116"/>
              <a:gd name="connsiteX1298" fmla="*/ 3063913 w 10825551"/>
              <a:gd name="connsiteY1298" fmla="*/ 2752719 h 3811116"/>
              <a:gd name="connsiteX1299" fmla="*/ 2828002 w 10825551"/>
              <a:gd name="connsiteY1299" fmla="*/ 2647840 h 3811116"/>
              <a:gd name="connsiteX1300" fmla="*/ 2831515 w 10825551"/>
              <a:gd name="connsiteY1300" fmla="*/ 2643408 h 3811116"/>
              <a:gd name="connsiteX1301" fmla="*/ 2721462 w 10825551"/>
              <a:gd name="connsiteY1301" fmla="*/ 2603524 h 3811116"/>
              <a:gd name="connsiteX1302" fmla="*/ 2748976 w 10825551"/>
              <a:gd name="connsiteY1302" fmla="*/ 2608695 h 3811116"/>
              <a:gd name="connsiteX1303" fmla="*/ 2792294 w 10825551"/>
              <a:gd name="connsiteY1303" fmla="*/ 2613126 h 3811116"/>
              <a:gd name="connsiteX1304" fmla="*/ 2973179 w 10825551"/>
              <a:gd name="connsiteY1304" fmla="*/ 2678122 h 3811116"/>
              <a:gd name="connsiteX1305" fmla="*/ 2933958 w 10825551"/>
              <a:gd name="connsiteY1305" fmla="*/ 2683292 h 3811116"/>
              <a:gd name="connsiteX1306" fmla="*/ 3008887 w 10825551"/>
              <a:gd name="connsiteY1306" fmla="*/ 2712836 h 3811116"/>
              <a:gd name="connsiteX1307" fmla="*/ 3056303 w 10825551"/>
              <a:gd name="connsiteY1307" fmla="*/ 2727608 h 3811116"/>
              <a:gd name="connsiteX1308" fmla="*/ 3079719 w 10825551"/>
              <a:gd name="connsiteY1308" fmla="*/ 2737948 h 3811116"/>
              <a:gd name="connsiteX1309" fmla="*/ 3115427 w 10825551"/>
              <a:gd name="connsiteY1309" fmla="*/ 2737948 h 3811116"/>
              <a:gd name="connsiteX1310" fmla="*/ 3123037 w 10825551"/>
              <a:gd name="connsiteY1310" fmla="*/ 2737948 h 3811116"/>
              <a:gd name="connsiteX1311" fmla="*/ 3154648 w 10825551"/>
              <a:gd name="connsiteY1311" fmla="*/ 2742379 h 3811116"/>
              <a:gd name="connsiteX1312" fmla="*/ 3158747 w 10825551"/>
              <a:gd name="connsiteY1312" fmla="*/ 2742379 h 3811116"/>
              <a:gd name="connsiteX1313" fmla="*/ 3332020 w 10825551"/>
              <a:gd name="connsiteY1313" fmla="*/ 2791864 h 3811116"/>
              <a:gd name="connsiteX1314" fmla="*/ 3351338 w 10825551"/>
              <a:gd name="connsiteY1314" fmla="*/ 2791864 h 3811116"/>
              <a:gd name="connsiteX1315" fmla="*/ 3434463 w 10825551"/>
              <a:gd name="connsiteY1315" fmla="*/ 2822147 h 3811116"/>
              <a:gd name="connsiteX1316" fmla="*/ 3477782 w 10825551"/>
              <a:gd name="connsiteY1316" fmla="*/ 2822147 h 3811116"/>
              <a:gd name="connsiteX1317" fmla="*/ 3414633 w 10825551"/>
              <a:gd name="connsiteY1317" fmla="*/ 2796758 h 3811116"/>
              <a:gd name="connsiteX1318" fmla="*/ 3394052 w 10825551"/>
              <a:gd name="connsiteY1318" fmla="*/ 2788727 h 3811116"/>
              <a:gd name="connsiteX1319" fmla="*/ 3426267 w 10825551"/>
              <a:gd name="connsiteY1319" fmla="*/ 2797035 h 3811116"/>
              <a:gd name="connsiteX1320" fmla="*/ 3465488 w 10825551"/>
              <a:gd name="connsiteY1320" fmla="*/ 2791864 h 3811116"/>
              <a:gd name="connsiteX1321" fmla="*/ 3296311 w 10825551"/>
              <a:gd name="connsiteY1321" fmla="*/ 2732777 h 3811116"/>
              <a:gd name="connsiteX1322" fmla="*/ 3359533 w 10825551"/>
              <a:gd name="connsiteY1322" fmla="*/ 2747549 h 3811116"/>
              <a:gd name="connsiteX1323" fmla="*/ 3442072 w 10825551"/>
              <a:gd name="connsiteY1323" fmla="*/ 2777093 h 3811116"/>
              <a:gd name="connsiteX1324" fmla="*/ 3536319 w 10825551"/>
              <a:gd name="connsiteY1324" fmla="*/ 2811806 h 3811116"/>
              <a:gd name="connsiteX1325" fmla="*/ 3627054 w 10825551"/>
              <a:gd name="connsiteY1325" fmla="*/ 2846520 h 3811116"/>
              <a:gd name="connsiteX1326" fmla="*/ 3670373 w 10825551"/>
              <a:gd name="connsiteY1326" fmla="*/ 2842089 h 3811116"/>
              <a:gd name="connsiteX1327" fmla="*/ 3434463 w 10825551"/>
              <a:gd name="connsiteY1327" fmla="*/ 2752719 h 3811116"/>
              <a:gd name="connsiteX1328" fmla="*/ 3430365 w 10825551"/>
              <a:gd name="connsiteY1328" fmla="*/ 2747549 h 3811116"/>
              <a:gd name="connsiteX1329" fmla="*/ 3414559 w 10825551"/>
              <a:gd name="connsiteY1329" fmla="*/ 2742379 h 3811116"/>
              <a:gd name="connsiteX1330" fmla="*/ 3414559 w 10825551"/>
              <a:gd name="connsiteY1330" fmla="*/ 2737948 h 3811116"/>
              <a:gd name="connsiteX1331" fmla="*/ 3264701 w 10825551"/>
              <a:gd name="connsiteY1331" fmla="*/ 2678122 h 3811116"/>
              <a:gd name="connsiteX1332" fmla="*/ 3257090 w 10825551"/>
              <a:gd name="connsiteY1332" fmla="*/ 2672951 h 3811116"/>
              <a:gd name="connsiteX1333" fmla="*/ 3237188 w 10825551"/>
              <a:gd name="connsiteY1333" fmla="*/ 2667782 h 3811116"/>
              <a:gd name="connsiteX1334" fmla="*/ 3237188 w 10825551"/>
              <a:gd name="connsiteY1334" fmla="*/ 2663350 h 3811116"/>
              <a:gd name="connsiteX1335" fmla="*/ 3264701 w 10825551"/>
              <a:gd name="connsiteY1335" fmla="*/ 2658180 h 3811116"/>
              <a:gd name="connsiteX1336" fmla="*/ 3115427 w 10825551"/>
              <a:gd name="connsiteY1336" fmla="*/ 2603524 h 3811116"/>
              <a:gd name="connsiteX1337" fmla="*/ 3079719 w 10825551"/>
              <a:gd name="connsiteY1337" fmla="*/ 2603524 h 3811116"/>
              <a:gd name="connsiteX1338" fmla="*/ 2764781 w 10825551"/>
              <a:gd name="connsiteY1338" fmla="*/ 2508985 h 3811116"/>
              <a:gd name="connsiteX1339" fmla="*/ 2737268 w 10825551"/>
              <a:gd name="connsiteY1339" fmla="*/ 2514155 h 3811116"/>
              <a:gd name="connsiteX1340" fmla="*/ 2819807 w 10825551"/>
              <a:gd name="connsiteY1340" fmla="*/ 2548869 h 3811116"/>
              <a:gd name="connsiteX1341" fmla="*/ 2894736 w 10825551"/>
              <a:gd name="connsiteY1341" fmla="*/ 2578413 h 3811116"/>
              <a:gd name="connsiteX1342" fmla="*/ 2949763 w 10825551"/>
              <a:gd name="connsiteY1342" fmla="*/ 2598355 h 3811116"/>
              <a:gd name="connsiteX1343" fmla="*/ 2938055 w 10825551"/>
              <a:gd name="connsiteY1343" fmla="*/ 2603524 h 3811116"/>
              <a:gd name="connsiteX1344" fmla="*/ 2887127 w 10825551"/>
              <a:gd name="connsiteY1344" fmla="*/ 2593184 h 3811116"/>
              <a:gd name="connsiteX1345" fmla="*/ 2874834 w 10825551"/>
              <a:gd name="connsiteY1345" fmla="*/ 2593184 h 3811116"/>
              <a:gd name="connsiteX1346" fmla="*/ 2524772 w 10825551"/>
              <a:gd name="connsiteY1346" fmla="*/ 2449160 h 3811116"/>
              <a:gd name="connsiteX1347" fmla="*/ 2178223 w 10825551"/>
              <a:gd name="connsiteY1347" fmla="*/ 2295533 h 3811116"/>
              <a:gd name="connsiteX1348" fmla="*/ 2244958 w 10825551"/>
              <a:gd name="connsiteY1348" fmla="*/ 2319907 h 3811116"/>
              <a:gd name="connsiteX1349" fmla="*/ 2272471 w 10825551"/>
              <a:gd name="connsiteY1349" fmla="*/ 2325077 h 3811116"/>
              <a:gd name="connsiteX1350" fmla="*/ 2299984 w 10825551"/>
              <a:gd name="connsiteY1350" fmla="*/ 2334679 h 3811116"/>
              <a:gd name="connsiteX1351" fmla="*/ 2339205 w 10825551"/>
              <a:gd name="connsiteY1351" fmla="*/ 2339848 h 3811116"/>
              <a:gd name="connsiteX1352" fmla="*/ 2500771 w 10825551"/>
              <a:gd name="connsiteY1352" fmla="*/ 2404844 h 3811116"/>
              <a:gd name="connsiteX1353" fmla="*/ 2544090 w 10825551"/>
              <a:gd name="connsiteY1353" fmla="*/ 2399674 h 3811116"/>
              <a:gd name="connsiteX1354" fmla="*/ 2416695 w 10825551"/>
              <a:gd name="connsiteY1354" fmla="*/ 2348250 h 3811116"/>
              <a:gd name="connsiteX1355" fmla="*/ 2294818 w 10825551"/>
              <a:gd name="connsiteY1355" fmla="*/ 2301638 h 3811116"/>
              <a:gd name="connsiteX1356" fmla="*/ 2337449 w 10825551"/>
              <a:gd name="connsiteY1356" fmla="*/ 2315752 h 3811116"/>
              <a:gd name="connsiteX1357" fmla="*/ 2414135 w 10825551"/>
              <a:gd name="connsiteY1357" fmla="*/ 2345018 h 3811116"/>
              <a:gd name="connsiteX1358" fmla="*/ 2449843 w 10825551"/>
              <a:gd name="connsiteY1358" fmla="*/ 2345018 h 3811116"/>
              <a:gd name="connsiteX1359" fmla="*/ 2634825 w 10825551"/>
              <a:gd name="connsiteY1359" fmla="*/ 2404844 h 3811116"/>
              <a:gd name="connsiteX1360" fmla="*/ 2662338 w 10825551"/>
              <a:gd name="connsiteY1360" fmla="*/ 2409276 h 3811116"/>
              <a:gd name="connsiteX1361" fmla="*/ 2709755 w 10825551"/>
              <a:gd name="connsiteY1361" fmla="*/ 2429217 h 3811116"/>
              <a:gd name="connsiteX1362" fmla="*/ 2705657 w 10825551"/>
              <a:gd name="connsiteY1362" fmla="*/ 2434388 h 3811116"/>
              <a:gd name="connsiteX1363" fmla="*/ 2894736 w 10825551"/>
              <a:gd name="connsiteY1363" fmla="*/ 2508985 h 3811116"/>
              <a:gd name="connsiteX1364" fmla="*/ 3398754 w 10825551"/>
              <a:gd name="connsiteY1364" fmla="*/ 2678122 h 3811116"/>
              <a:gd name="connsiteX1365" fmla="*/ 3619445 w 10825551"/>
              <a:gd name="connsiteY1365" fmla="*/ 2742379 h 3811116"/>
              <a:gd name="connsiteX1366" fmla="*/ 3662763 w 10825551"/>
              <a:gd name="connsiteY1366" fmla="*/ 2737948 h 3811116"/>
              <a:gd name="connsiteX1367" fmla="*/ 3512904 w 10825551"/>
              <a:gd name="connsiteY1367" fmla="*/ 2678122 h 3811116"/>
              <a:gd name="connsiteX1368" fmla="*/ 3532808 w 10825551"/>
              <a:gd name="connsiteY1368" fmla="*/ 2683292 h 3811116"/>
              <a:gd name="connsiteX1369" fmla="*/ 3572028 w 10825551"/>
              <a:gd name="connsiteY1369" fmla="*/ 2678122 h 3811116"/>
              <a:gd name="connsiteX1370" fmla="*/ 3327922 w 10825551"/>
              <a:gd name="connsiteY1370" fmla="*/ 2593184 h 3811116"/>
              <a:gd name="connsiteX1371" fmla="*/ 3205577 w 10825551"/>
              <a:gd name="connsiteY1371" fmla="*/ 2543698 h 3811116"/>
              <a:gd name="connsiteX1372" fmla="*/ 3391143 w 10825551"/>
              <a:gd name="connsiteY1372" fmla="*/ 2593184 h 3811116"/>
              <a:gd name="connsiteX1373" fmla="*/ 3469585 w 10825551"/>
              <a:gd name="connsiteY1373" fmla="*/ 2613126 h 3811116"/>
              <a:gd name="connsiteX1374" fmla="*/ 3489489 w 10825551"/>
              <a:gd name="connsiteY1374" fmla="*/ 2618296 h 3811116"/>
              <a:gd name="connsiteX1375" fmla="*/ 3505295 w 10825551"/>
              <a:gd name="connsiteY1375" fmla="*/ 2618296 h 3811116"/>
              <a:gd name="connsiteX1376" fmla="*/ 3536319 w 10825551"/>
              <a:gd name="connsiteY1376" fmla="*/ 2613126 h 3811116"/>
              <a:gd name="connsiteX1377" fmla="*/ 3430365 w 10825551"/>
              <a:gd name="connsiteY1377" fmla="*/ 2588753 h 3811116"/>
              <a:gd name="connsiteX1378" fmla="*/ 3422169 w 10825551"/>
              <a:gd name="connsiteY1378" fmla="*/ 2583583 h 3811116"/>
              <a:gd name="connsiteX1379" fmla="*/ 3453780 w 10825551"/>
              <a:gd name="connsiteY1379" fmla="*/ 2593184 h 3811116"/>
              <a:gd name="connsiteX1380" fmla="*/ 3493001 w 10825551"/>
              <a:gd name="connsiteY1380" fmla="*/ 2588753 h 3811116"/>
              <a:gd name="connsiteX1381" fmla="*/ 3532808 w 10825551"/>
              <a:gd name="connsiteY1381" fmla="*/ 2593184 h 3811116"/>
              <a:gd name="connsiteX1382" fmla="*/ 3567930 w 10825551"/>
              <a:gd name="connsiteY1382" fmla="*/ 2588753 h 3811116"/>
              <a:gd name="connsiteX1383" fmla="*/ 3477782 w 10825551"/>
              <a:gd name="connsiteY1383" fmla="*/ 2548869 h 3811116"/>
              <a:gd name="connsiteX1384" fmla="*/ 3477782 w 10825551"/>
              <a:gd name="connsiteY1384" fmla="*/ 2543698 h 3811116"/>
              <a:gd name="connsiteX1385" fmla="*/ 3430365 w 10825551"/>
              <a:gd name="connsiteY1385" fmla="*/ 2523757 h 3811116"/>
              <a:gd name="connsiteX1386" fmla="*/ 3489489 w 10825551"/>
              <a:gd name="connsiteY1386" fmla="*/ 2534097 h 3811116"/>
              <a:gd name="connsiteX1387" fmla="*/ 3521100 w 10825551"/>
              <a:gd name="connsiteY1387" fmla="*/ 2528927 h 3811116"/>
              <a:gd name="connsiteX1388" fmla="*/ 3280506 w 10825551"/>
              <a:gd name="connsiteY1388" fmla="*/ 2449160 h 3811116"/>
              <a:gd name="connsiteX1389" fmla="*/ 3280506 w 10825551"/>
              <a:gd name="connsiteY1389" fmla="*/ 2444728 h 3811116"/>
              <a:gd name="connsiteX1390" fmla="*/ 3272896 w 10825551"/>
              <a:gd name="connsiteY1390" fmla="*/ 2439558 h 3811116"/>
              <a:gd name="connsiteX1391" fmla="*/ 3391143 w 10825551"/>
              <a:gd name="connsiteY1391" fmla="*/ 2469101 h 3811116"/>
              <a:gd name="connsiteX1392" fmla="*/ 3426267 w 10825551"/>
              <a:gd name="connsiteY1392" fmla="*/ 2464670 h 3811116"/>
              <a:gd name="connsiteX1393" fmla="*/ 3394656 w 10825551"/>
              <a:gd name="connsiteY1393" fmla="*/ 2449160 h 3811116"/>
              <a:gd name="connsiteX1394" fmla="*/ 3489489 w 10825551"/>
              <a:gd name="connsiteY1394" fmla="*/ 2469101 h 3811116"/>
              <a:gd name="connsiteX1395" fmla="*/ 3524612 w 10825551"/>
              <a:gd name="connsiteY1395" fmla="*/ 2464670 h 3811116"/>
              <a:gd name="connsiteX1396" fmla="*/ 3508806 w 10825551"/>
              <a:gd name="connsiteY1396" fmla="*/ 2459499 h 3811116"/>
              <a:gd name="connsiteX1397" fmla="*/ 3544515 w 10825551"/>
              <a:gd name="connsiteY1397" fmla="*/ 2449160 h 3811116"/>
              <a:gd name="connsiteX1398" fmla="*/ 3332020 w 10825551"/>
              <a:gd name="connsiteY1398" fmla="*/ 2384902 h 3811116"/>
              <a:gd name="connsiteX1399" fmla="*/ 3365606 w 10825551"/>
              <a:gd name="connsiteY1399" fmla="*/ 2378359 h 3811116"/>
              <a:gd name="connsiteX1400" fmla="*/ 3363636 w 10825551"/>
              <a:gd name="connsiteY1400" fmla="*/ 2375438 h 3811116"/>
              <a:gd name="connsiteX1401" fmla="*/ 3415071 w 10825551"/>
              <a:gd name="connsiteY1401" fmla="*/ 2389149 h 3811116"/>
              <a:gd name="connsiteX1402" fmla="*/ 3489489 w 10825551"/>
              <a:gd name="connsiteY1402" fmla="*/ 2404844 h 3811116"/>
              <a:gd name="connsiteX1403" fmla="*/ 3517002 w 10825551"/>
              <a:gd name="connsiteY1403" fmla="*/ 2399674 h 3811116"/>
              <a:gd name="connsiteX1404" fmla="*/ 3118939 w 10825551"/>
              <a:gd name="connsiteY1404" fmla="*/ 2310305 h 3811116"/>
              <a:gd name="connsiteX1405" fmla="*/ 3245383 w 10825551"/>
              <a:gd name="connsiteY1405" fmla="*/ 2354620 h 3811116"/>
              <a:gd name="connsiteX1406" fmla="*/ 3217869 w 10825551"/>
              <a:gd name="connsiteY1406" fmla="*/ 2359790 h 3811116"/>
              <a:gd name="connsiteX1407" fmla="*/ 3261189 w 10825551"/>
              <a:gd name="connsiteY1407" fmla="*/ 2374562 h 3811116"/>
              <a:gd name="connsiteX1408" fmla="*/ 3237188 w 10825551"/>
              <a:gd name="connsiteY1408" fmla="*/ 2370131 h 3811116"/>
              <a:gd name="connsiteX1409" fmla="*/ 3095524 w 10825551"/>
              <a:gd name="connsiteY1409" fmla="*/ 2325077 h 3811116"/>
              <a:gd name="connsiteX1410" fmla="*/ 2981373 w 10825551"/>
              <a:gd name="connsiteY1410" fmla="*/ 2275591 h 3811116"/>
              <a:gd name="connsiteX1411" fmla="*/ 2823905 w 10825551"/>
              <a:gd name="connsiteY1411" fmla="*/ 2235708 h 3811116"/>
              <a:gd name="connsiteX1412" fmla="*/ 2878931 w 10825551"/>
              <a:gd name="connsiteY1412" fmla="*/ 2255649 h 3811116"/>
              <a:gd name="connsiteX1413" fmla="*/ 2867223 w 10825551"/>
              <a:gd name="connsiteY1413" fmla="*/ 2260819 h 3811116"/>
              <a:gd name="connsiteX1414" fmla="*/ 2894736 w 10825551"/>
              <a:gd name="connsiteY1414" fmla="*/ 2270421 h 3811116"/>
              <a:gd name="connsiteX1415" fmla="*/ 2662338 w 10825551"/>
              <a:gd name="connsiteY1415" fmla="*/ 2200994 h 3811116"/>
              <a:gd name="connsiteX1416" fmla="*/ 2626629 w 10825551"/>
              <a:gd name="connsiteY1416" fmla="*/ 2200994 h 3811116"/>
              <a:gd name="connsiteX1417" fmla="*/ 2993082 w 10825551"/>
              <a:gd name="connsiteY1417" fmla="*/ 2339848 h 3811116"/>
              <a:gd name="connsiteX1418" fmla="*/ 2977276 w 10825551"/>
              <a:gd name="connsiteY1418" fmla="*/ 2350189 h 3811116"/>
              <a:gd name="connsiteX1419" fmla="*/ 3044596 w 10825551"/>
              <a:gd name="connsiteY1419" fmla="*/ 2379732 h 3811116"/>
              <a:gd name="connsiteX1420" fmla="*/ 3016497 w 10825551"/>
              <a:gd name="connsiteY1420" fmla="*/ 2370131 h 3811116"/>
              <a:gd name="connsiteX1421" fmla="*/ 2993082 w 10825551"/>
              <a:gd name="connsiteY1421" fmla="*/ 2370131 h 3811116"/>
              <a:gd name="connsiteX1422" fmla="*/ 2949763 w 10825551"/>
              <a:gd name="connsiteY1422" fmla="*/ 2350189 h 3811116"/>
              <a:gd name="connsiteX1423" fmla="*/ 2906444 w 10825551"/>
              <a:gd name="connsiteY1423" fmla="*/ 2354620 h 3811116"/>
              <a:gd name="connsiteX1424" fmla="*/ 2977276 w 10825551"/>
              <a:gd name="connsiteY1424" fmla="*/ 2384902 h 3811116"/>
              <a:gd name="connsiteX1425" fmla="*/ 2953860 w 10825551"/>
              <a:gd name="connsiteY1425" fmla="*/ 2384902 h 3811116"/>
              <a:gd name="connsiteX1426" fmla="*/ 2851418 w 10825551"/>
              <a:gd name="connsiteY1426" fmla="*/ 2345018 h 3811116"/>
              <a:gd name="connsiteX1427" fmla="*/ 2815710 w 10825551"/>
              <a:gd name="connsiteY1427" fmla="*/ 2339848 h 3811116"/>
              <a:gd name="connsiteX1428" fmla="*/ 2709755 w 10825551"/>
              <a:gd name="connsiteY1428" fmla="*/ 2300703 h 3811116"/>
              <a:gd name="connsiteX1429" fmla="*/ 2669948 w 10825551"/>
              <a:gd name="connsiteY1429" fmla="*/ 2305135 h 3811116"/>
              <a:gd name="connsiteX1430" fmla="*/ 2725560 w 10825551"/>
              <a:gd name="connsiteY1430" fmla="*/ 2330247 h 3811116"/>
              <a:gd name="connsiteX1431" fmla="*/ 2717364 w 10825551"/>
              <a:gd name="connsiteY1431" fmla="*/ 2334679 h 3811116"/>
              <a:gd name="connsiteX1432" fmla="*/ 2981373 w 10825551"/>
              <a:gd name="connsiteY1432" fmla="*/ 2439558 h 3811116"/>
              <a:gd name="connsiteX1433" fmla="*/ 2965569 w 10825551"/>
              <a:gd name="connsiteY1433" fmla="*/ 2444728 h 3811116"/>
              <a:gd name="connsiteX1434" fmla="*/ 2910542 w 10825551"/>
              <a:gd name="connsiteY1434" fmla="*/ 2424786 h 3811116"/>
              <a:gd name="connsiteX1435" fmla="*/ 2871321 w 10825551"/>
              <a:gd name="connsiteY1435" fmla="*/ 2424786 h 3811116"/>
              <a:gd name="connsiteX1436" fmla="*/ 2902346 w 10825551"/>
              <a:gd name="connsiteY1436" fmla="*/ 2444728 h 3811116"/>
              <a:gd name="connsiteX1437" fmla="*/ 2729072 w 10825551"/>
              <a:gd name="connsiteY1437" fmla="*/ 2390072 h 3811116"/>
              <a:gd name="connsiteX1438" fmla="*/ 2693949 w 10825551"/>
              <a:gd name="connsiteY1438" fmla="*/ 2390072 h 3811116"/>
              <a:gd name="connsiteX1439" fmla="*/ 2698047 w 10825551"/>
              <a:gd name="connsiteY1439" fmla="*/ 2394504 h 3811116"/>
              <a:gd name="connsiteX1440" fmla="*/ 2646533 w 10825551"/>
              <a:gd name="connsiteY1440" fmla="*/ 2379732 h 3811116"/>
              <a:gd name="connsiteX1441" fmla="*/ 2563994 w 10825551"/>
              <a:gd name="connsiteY1441" fmla="*/ 2345018 h 3811116"/>
              <a:gd name="connsiteX1442" fmla="*/ 2568091 w 10825551"/>
              <a:gd name="connsiteY1442" fmla="*/ 2339848 h 3811116"/>
              <a:gd name="connsiteX1443" fmla="*/ 2520675 w 10825551"/>
              <a:gd name="connsiteY1443" fmla="*/ 2325077 h 3811116"/>
              <a:gd name="connsiteX1444" fmla="*/ 2493161 w 10825551"/>
              <a:gd name="connsiteY1444" fmla="*/ 2310305 h 3811116"/>
              <a:gd name="connsiteX1445" fmla="*/ 2563994 w 10825551"/>
              <a:gd name="connsiteY1445" fmla="*/ 2319907 h 3811116"/>
              <a:gd name="connsiteX1446" fmla="*/ 2595605 w 10825551"/>
              <a:gd name="connsiteY1446" fmla="*/ 2315475 h 3811116"/>
              <a:gd name="connsiteX1447" fmla="*/ 2410622 w 10825551"/>
              <a:gd name="connsiteY1447" fmla="*/ 2226106 h 3811116"/>
              <a:gd name="connsiteX1448" fmla="*/ 2406524 w 10825551"/>
              <a:gd name="connsiteY1448" fmla="*/ 2226106 h 3811116"/>
              <a:gd name="connsiteX1449" fmla="*/ 2406524 w 10825551"/>
              <a:gd name="connsiteY1449" fmla="*/ 2220936 h 3811116"/>
              <a:gd name="connsiteX1450" fmla="*/ 2441647 w 10825551"/>
              <a:gd name="connsiteY1450" fmla="*/ 2235708 h 3811116"/>
              <a:gd name="connsiteX1451" fmla="*/ 2484966 w 10825551"/>
              <a:gd name="connsiteY1451" fmla="*/ 2235708 h 3811116"/>
              <a:gd name="connsiteX1452" fmla="*/ 2351498 w 10825551"/>
              <a:gd name="connsiteY1452" fmla="*/ 2171450 h 3811116"/>
              <a:gd name="connsiteX1453" fmla="*/ 2386621 w 10825551"/>
              <a:gd name="connsiteY1453" fmla="*/ 2166280 h 3811116"/>
              <a:gd name="connsiteX1454" fmla="*/ 2327497 w 10825551"/>
              <a:gd name="connsiteY1454" fmla="*/ 2141168 h 3811116"/>
              <a:gd name="connsiteX1455" fmla="*/ 2367303 w 10825551"/>
              <a:gd name="connsiteY1455" fmla="*/ 2155940 h 3811116"/>
              <a:gd name="connsiteX1456" fmla="*/ 2410622 w 10825551"/>
              <a:gd name="connsiteY1456" fmla="*/ 2171450 h 3811116"/>
              <a:gd name="connsiteX1457" fmla="*/ 2453355 w 10825551"/>
              <a:gd name="connsiteY1457" fmla="*/ 2171450 h 3811116"/>
              <a:gd name="connsiteX1458" fmla="*/ 2410622 w 10825551"/>
              <a:gd name="connsiteY1458" fmla="*/ 2155940 h 3811116"/>
              <a:gd name="connsiteX1459" fmla="*/ 2379011 w 10825551"/>
              <a:gd name="connsiteY1459" fmla="*/ 2141168 h 3811116"/>
              <a:gd name="connsiteX1460" fmla="*/ 2548188 w 10825551"/>
              <a:gd name="connsiteY1460" fmla="*/ 2200994 h 3811116"/>
              <a:gd name="connsiteX1461" fmla="*/ 2583897 w 10825551"/>
              <a:gd name="connsiteY1461" fmla="*/ 2195824 h 3811116"/>
              <a:gd name="connsiteX1462" fmla="*/ 2370816 w 10825551"/>
              <a:gd name="connsiteY1462" fmla="*/ 2101285 h 3811116"/>
              <a:gd name="connsiteX1463" fmla="*/ 2032462 w 10825551"/>
              <a:gd name="connsiteY1463" fmla="*/ 1987542 h 3811116"/>
              <a:gd name="connsiteX1464" fmla="*/ 1689426 w 10825551"/>
              <a:gd name="connsiteY1464" fmla="*/ 1863459 h 3811116"/>
              <a:gd name="connsiteX1465" fmla="*/ 1520249 w 10825551"/>
              <a:gd name="connsiteY1465" fmla="*/ 1798463 h 3811116"/>
              <a:gd name="connsiteX1466" fmla="*/ 1351072 w 10825551"/>
              <a:gd name="connsiteY1466" fmla="*/ 1729036 h 3811116"/>
              <a:gd name="connsiteX1467" fmla="*/ 1059549 w 10825551"/>
              <a:gd name="connsiteY1467" fmla="*/ 1614555 h 3811116"/>
              <a:gd name="connsiteX1468" fmla="*/ 776223 w 10825551"/>
              <a:gd name="connsiteY1468" fmla="*/ 1475700 h 3811116"/>
              <a:gd name="connsiteX1469" fmla="*/ 783833 w 10825551"/>
              <a:gd name="connsiteY1469" fmla="*/ 1470530 h 3811116"/>
              <a:gd name="connsiteX1470" fmla="*/ 685488 w 10825551"/>
              <a:gd name="connsiteY1470" fmla="*/ 1430646 h 3811116"/>
              <a:gd name="connsiteX1471" fmla="*/ 689586 w 10825551"/>
              <a:gd name="connsiteY1471" fmla="*/ 1421045 h 3811116"/>
              <a:gd name="connsiteX1472" fmla="*/ 575435 w 10825551"/>
              <a:gd name="connsiteY1472" fmla="*/ 1361219 h 3811116"/>
              <a:gd name="connsiteX1473" fmla="*/ 590655 w 10825551"/>
              <a:gd name="connsiteY1473" fmla="*/ 1361219 h 3811116"/>
              <a:gd name="connsiteX1474" fmla="*/ 602948 w 10825551"/>
              <a:gd name="connsiteY1474" fmla="*/ 1361219 h 3811116"/>
              <a:gd name="connsiteX1475" fmla="*/ 626364 w 10825551"/>
              <a:gd name="connsiteY1475" fmla="*/ 1356048 h 3811116"/>
              <a:gd name="connsiteX1476" fmla="*/ 598850 w 10825551"/>
              <a:gd name="connsiteY1476" fmla="*/ 1336107 h 3811116"/>
              <a:gd name="connsiteX1477" fmla="*/ 634559 w 10825551"/>
              <a:gd name="connsiteY1477" fmla="*/ 1351617 h 3811116"/>
              <a:gd name="connsiteX1478" fmla="*/ 657974 w 10825551"/>
              <a:gd name="connsiteY1478" fmla="*/ 1346447 h 3811116"/>
              <a:gd name="connsiteX1479" fmla="*/ 575435 w 10825551"/>
              <a:gd name="connsiteY1479" fmla="*/ 1301393 h 3811116"/>
              <a:gd name="connsiteX1480" fmla="*/ 587143 w 10825551"/>
              <a:gd name="connsiteY1480" fmla="*/ 1291792 h 3811116"/>
              <a:gd name="connsiteX1481" fmla="*/ 516311 w 10825551"/>
              <a:gd name="connsiteY1481" fmla="*/ 1257078 h 3811116"/>
              <a:gd name="connsiteX1482" fmla="*/ 528019 w 10825551"/>
              <a:gd name="connsiteY1482" fmla="*/ 1246738 h 3811116"/>
              <a:gd name="connsiteX1483" fmla="*/ 532116 w 10825551"/>
              <a:gd name="connsiteY1483" fmla="*/ 1251908 h 3811116"/>
              <a:gd name="connsiteX1484" fmla="*/ 551434 w 10825551"/>
              <a:gd name="connsiteY1484" fmla="*/ 1242306 h 3811116"/>
              <a:gd name="connsiteX1485" fmla="*/ 523921 w 10825551"/>
              <a:gd name="connsiteY1485" fmla="*/ 1222365 h 3811116"/>
              <a:gd name="connsiteX1486" fmla="*/ 500506 w 10825551"/>
              <a:gd name="connsiteY1486" fmla="*/ 1222365 h 3811116"/>
              <a:gd name="connsiteX1487" fmla="*/ 472993 w 10825551"/>
              <a:gd name="connsiteY1487" fmla="*/ 1212024 h 3811116"/>
              <a:gd name="connsiteX1488" fmla="*/ 472993 w 10825551"/>
              <a:gd name="connsiteY1488" fmla="*/ 1207593 h 3811116"/>
              <a:gd name="connsiteX1489" fmla="*/ 393965 w 10825551"/>
              <a:gd name="connsiteY1489" fmla="*/ 1157368 h 3811116"/>
              <a:gd name="connsiteX1490" fmla="*/ 433186 w 10825551"/>
              <a:gd name="connsiteY1490" fmla="*/ 1167709 h 3811116"/>
              <a:gd name="connsiteX1491" fmla="*/ 555532 w 10825551"/>
              <a:gd name="connsiteY1491" fmla="*/ 1226796 h 3811116"/>
              <a:gd name="connsiteX1492" fmla="*/ 578947 w 10825551"/>
              <a:gd name="connsiteY1492" fmla="*/ 1217194 h 3811116"/>
              <a:gd name="connsiteX1493" fmla="*/ 649779 w 10825551"/>
              <a:gd name="connsiteY1493" fmla="*/ 1251908 h 3811116"/>
              <a:gd name="connsiteX1494" fmla="*/ 653877 w 10825551"/>
              <a:gd name="connsiteY1494" fmla="*/ 1251908 h 3811116"/>
              <a:gd name="connsiteX1495" fmla="*/ 657974 w 10825551"/>
              <a:gd name="connsiteY1495" fmla="*/ 1257078 h 3811116"/>
              <a:gd name="connsiteX1496" fmla="*/ 732904 w 10825551"/>
              <a:gd name="connsiteY1496" fmla="*/ 1286621 h 3811116"/>
              <a:gd name="connsiteX1497" fmla="*/ 756319 w 10825551"/>
              <a:gd name="connsiteY1497" fmla="*/ 1281451 h 3811116"/>
              <a:gd name="connsiteX1498" fmla="*/ 705391 w 10825551"/>
              <a:gd name="connsiteY1498" fmla="*/ 1251908 h 3811116"/>
              <a:gd name="connsiteX1499" fmla="*/ 713001 w 10825551"/>
              <a:gd name="connsiteY1499" fmla="*/ 1242306 h 3811116"/>
              <a:gd name="connsiteX1500" fmla="*/ 665585 w 10825551"/>
              <a:gd name="connsiteY1500" fmla="*/ 1207593 h 3811116"/>
              <a:gd name="connsiteX1501" fmla="*/ 685488 w 10825551"/>
              <a:gd name="connsiteY1501" fmla="*/ 1197252 h 3811116"/>
              <a:gd name="connsiteX1502" fmla="*/ 559629 w 10825551"/>
              <a:gd name="connsiteY1502" fmla="*/ 1132995 h 3811116"/>
              <a:gd name="connsiteX1503" fmla="*/ 551434 w 10825551"/>
              <a:gd name="connsiteY1503" fmla="*/ 1132995 h 3811116"/>
              <a:gd name="connsiteX1504" fmla="*/ 362354 w 10825551"/>
              <a:gd name="connsiteY1504" fmla="*/ 1042887 h 3811116"/>
              <a:gd name="connsiteX1505" fmla="*/ 248204 w 10825551"/>
              <a:gd name="connsiteY1505" fmla="*/ 969029 h 3811116"/>
              <a:gd name="connsiteX1506" fmla="*/ 252302 w 10825551"/>
              <a:gd name="connsiteY1506" fmla="*/ 963858 h 3811116"/>
              <a:gd name="connsiteX1507" fmla="*/ 229088 w 10825551"/>
              <a:gd name="connsiteY1507" fmla="*/ 951395 h 3811116"/>
              <a:gd name="connsiteX1508" fmla="*/ 214962 w 10825551"/>
              <a:gd name="connsiteY1508" fmla="*/ 943811 h 3811116"/>
              <a:gd name="connsiteX1509" fmla="*/ 224569 w 10825551"/>
              <a:gd name="connsiteY1509" fmla="*/ 943270 h 3811116"/>
              <a:gd name="connsiteX1510" fmla="*/ 236497 w 10825551"/>
              <a:gd name="connsiteY1510" fmla="*/ 938746 h 3811116"/>
              <a:gd name="connsiteX1511" fmla="*/ 323134 w 10825551"/>
              <a:gd name="connsiteY1511" fmla="*/ 983800 h 3811116"/>
              <a:gd name="connsiteX1512" fmla="*/ 303231 w 10825551"/>
              <a:gd name="connsiteY1512" fmla="*/ 993402 h 3811116"/>
              <a:gd name="connsiteX1513" fmla="*/ 374062 w 10825551"/>
              <a:gd name="connsiteY1513" fmla="*/ 1028115 h 3811116"/>
              <a:gd name="connsiteX1514" fmla="*/ 393965 w 10825551"/>
              <a:gd name="connsiteY1514" fmla="*/ 1028115 h 3811116"/>
              <a:gd name="connsiteX1515" fmla="*/ 398064 w 10825551"/>
              <a:gd name="connsiteY1515" fmla="*/ 1028115 h 3811116"/>
              <a:gd name="connsiteX1516" fmla="*/ 413868 w 10825551"/>
              <a:gd name="connsiteY1516" fmla="*/ 1028115 h 3811116"/>
              <a:gd name="connsiteX1517" fmla="*/ 417381 w 10825551"/>
              <a:gd name="connsiteY1517" fmla="*/ 1028115 h 3811116"/>
              <a:gd name="connsiteX1518" fmla="*/ 504603 w 10825551"/>
              <a:gd name="connsiteY1518" fmla="*/ 1062829 h 3811116"/>
              <a:gd name="connsiteX1519" fmla="*/ 512213 w 10825551"/>
              <a:gd name="connsiteY1519" fmla="*/ 1062829 h 3811116"/>
              <a:gd name="connsiteX1520" fmla="*/ 551434 w 10825551"/>
              <a:gd name="connsiteY1520" fmla="*/ 1087941 h 3811116"/>
              <a:gd name="connsiteX1521" fmla="*/ 575435 w 10825551"/>
              <a:gd name="connsiteY1521" fmla="*/ 1082771 h 3811116"/>
              <a:gd name="connsiteX1522" fmla="*/ 512213 w 10825551"/>
              <a:gd name="connsiteY1522" fmla="*/ 1042887 h 3811116"/>
              <a:gd name="connsiteX1523" fmla="*/ 555532 w 10825551"/>
              <a:gd name="connsiteY1523" fmla="*/ 1062829 h 3811116"/>
              <a:gd name="connsiteX1524" fmla="*/ 575435 w 10825551"/>
              <a:gd name="connsiteY1524" fmla="*/ 1053227 h 3811116"/>
              <a:gd name="connsiteX1525" fmla="*/ 492310 w 10825551"/>
              <a:gd name="connsiteY1525" fmla="*/ 1013344 h 3811116"/>
              <a:gd name="connsiteX1526" fmla="*/ 528019 w 10825551"/>
              <a:gd name="connsiteY1526" fmla="*/ 1018514 h 3811116"/>
              <a:gd name="connsiteX1527" fmla="*/ 567240 w 10825551"/>
              <a:gd name="connsiteY1527" fmla="*/ 1042887 h 3811116"/>
              <a:gd name="connsiteX1528" fmla="*/ 610558 w 10825551"/>
              <a:gd name="connsiteY1528" fmla="*/ 1067999 h 3811116"/>
              <a:gd name="connsiteX1529" fmla="*/ 657974 w 10825551"/>
              <a:gd name="connsiteY1529" fmla="*/ 1097543 h 3811116"/>
              <a:gd name="connsiteX1530" fmla="*/ 681390 w 10825551"/>
              <a:gd name="connsiteY1530" fmla="*/ 1087941 h 3811116"/>
              <a:gd name="connsiteX1531" fmla="*/ 567240 w 10825551"/>
              <a:gd name="connsiteY1531" fmla="*/ 1018514 h 3811116"/>
              <a:gd name="connsiteX1532" fmla="*/ 555532 w 10825551"/>
              <a:gd name="connsiteY1532" fmla="*/ 1013344 h 3811116"/>
              <a:gd name="connsiteX1533" fmla="*/ 559629 w 10825551"/>
              <a:gd name="connsiteY1533" fmla="*/ 1008173 h 3811116"/>
              <a:gd name="connsiteX1534" fmla="*/ 488798 w 10825551"/>
              <a:gd name="connsiteY1534" fmla="*/ 963858 h 3811116"/>
              <a:gd name="connsiteX1535" fmla="*/ 484700 w 10825551"/>
              <a:gd name="connsiteY1535" fmla="*/ 958688 h 3811116"/>
              <a:gd name="connsiteX1536" fmla="*/ 476505 w 10825551"/>
              <a:gd name="connsiteY1536" fmla="*/ 953518 h 3811116"/>
              <a:gd name="connsiteX1537" fmla="*/ 476505 w 10825551"/>
              <a:gd name="connsiteY1537" fmla="*/ 949086 h 3811116"/>
              <a:gd name="connsiteX1538" fmla="*/ 472993 w 10825551"/>
              <a:gd name="connsiteY1538" fmla="*/ 949086 h 3811116"/>
              <a:gd name="connsiteX1539" fmla="*/ 492310 w 10825551"/>
              <a:gd name="connsiteY1539" fmla="*/ 943916 h 3811116"/>
              <a:gd name="connsiteX1540" fmla="*/ 417381 w 10825551"/>
              <a:gd name="connsiteY1540" fmla="*/ 904032 h 3811116"/>
              <a:gd name="connsiteX1541" fmla="*/ 398064 w 10825551"/>
              <a:gd name="connsiteY1541" fmla="*/ 904032 h 3811116"/>
              <a:gd name="connsiteX1542" fmla="*/ 240594 w 10825551"/>
              <a:gd name="connsiteY1542" fmla="*/ 844207 h 3811116"/>
              <a:gd name="connsiteX1543" fmla="*/ 224789 w 10825551"/>
              <a:gd name="connsiteY1543" fmla="*/ 854548 h 3811116"/>
              <a:gd name="connsiteX1544" fmla="*/ 264010 w 10825551"/>
              <a:gd name="connsiteY1544" fmla="*/ 874489 h 3811116"/>
              <a:gd name="connsiteX1545" fmla="*/ 264010 w 10825551"/>
              <a:gd name="connsiteY1545" fmla="*/ 878920 h 3811116"/>
              <a:gd name="connsiteX1546" fmla="*/ 299718 w 10825551"/>
              <a:gd name="connsiteY1546" fmla="*/ 894431 h 3811116"/>
              <a:gd name="connsiteX1547" fmla="*/ 327231 w 10825551"/>
              <a:gd name="connsiteY1547" fmla="*/ 909203 h 3811116"/>
              <a:gd name="connsiteX1548" fmla="*/ 319036 w 10825551"/>
              <a:gd name="connsiteY1548" fmla="*/ 914373 h 3811116"/>
              <a:gd name="connsiteX1549" fmla="*/ 291523 w 10825551"/>
              <a:gd name="connsiteY1549" fmla="*/ 914373 h 3811116"/>
              <a:gd name="connsiteX1550" fmla="*/ 288011 w 10825551"/>
              <a:gd name="connsiteY1550" fmla="*/ 914373 h 3811116"/>
              <a:gd name="connsiteX1551" fmla="*/ 74930 w 10825551"/>
              <a:gd name="connsiteY1551" fmla="*/ 785120 h 3811116"/>
              <a:gd name="connsiteX1552" fmla="*/ 39806 w 10825551"/>
              <a:gd name="connsiteY1552" fmla="*/ 774779 h 3811116"/>
              <a:gd name="connsiteX1553" fmla="*/ 31611 w 10825551"/>
              <a:gd name="connsiteY1553" fmla="*/ 770349 h 3811116"/>
              <a:gd name="connsiteX1554" fmla="*/ 67320 w 10825551"/>
              <a:gd name="connsiteY1554" fmla="*/ 779950 h 3811116"/>
              <a:gd name="connsiteX1555" fmla="*/ 35709 w 10825551"/>
              <a:gd name="connsiteY1555" fmla="*/ 760008 h 3811116"/>
              <a:gd name="connsiteX1556" fmla="*/ 27513 w 10825551"/>
              <a:gd name="connsiteY1556" fmla="*/ 765178 h 3811116"/>
              <a:gd name="connsiteX1557" fmla="*/ 0 w 10825551"/>
              <a:gd name="connsiteY1557" fmla="*/ 745236 h 3811116"/>
              <a:gd name="connsiteX1558" fmla="*/ 8195 w 10825551"/>
              <a:gd name="connsiteY1558" fmla="*/ 730464 h 3811116"/>
              <a:gd name="connsiteX1559" fmla="*/ 31611 w 10825551"/>
              <a:gd name="connsiteY1559" fmla="*/ 730464 h 3811116"/>
              <a:gd name="connsiteX1560" fmla="*/ 114736 w 10825551"/>
              <a:gd name="connsiteY1560" fmla="*/ 770349 h 3811116"/>
              <a:gd name="connsiteX1561" fmla="*/ 138152 w 10825551"/>
              <a:gd name="connsiteY1561" fmla="*/ 765178 h 3811116"/>
              <a:gd name="connsiteX1562" fmla="*/ 31611 w 10825551"/>
              <a:gd name="connsiteY1562" fmla="*/ 710523 h 3811116"/>
              <a:gd name="connsiteX1563" fmla="*/ 74930 w 10825551"/>
              <a:gd name="connsiteY1563" fmla="*/ 725294 h 3811116"/>
              <a:gd name="connsiteX1564" fmla="*/ 94833 w 10825551"/>
              <a:gd name="connsiteY1564" fmla="*/ 725294 h 3811116"/>
              <a:gd name="connsiteX1565" fmla="*/ 185568 w 10825551"/>
              <a:gd name="connsiteY1565" fmla="*/ 760008 h 3811116"/>
              <a:gd name="connsiteX1566" fmla="*/ 200788 w 10825551"/>
              <a:gd name="connsiteY1566" fmla="*/ 760008 h 3811116"/>
              <a:gd name="connsiteX1567" fmla="*/ 224789 w 10825551"/>
              <a:gd name="connsiteY1567" fmla="*/ 774779 h 3811116"/>
              <a:gd name="connsiteX1568" fmla="*/ 220691 w 10825551"/>
              <a:gd name="connsiteY1568" fmla="*/ 779950 h 3811116"/>
              <a:gd name="connsiteX1569" fmla="*/ 311426 w 10825551"/>
              <a:gd name="connsiteY1569" fmla="*/ 834605 h 3811116"/>
              <a:gd name="connsiteX1570" fmla="*/ 563142 w 10825551"/>
              <a:gd name="connsiteY1570" fmla="*/ 949086 h 3811116"/>
              <a:gd name="connsiteX1571" fmla="*/ 673780 w 10825551"/>
              <a:gd name="connsiteY1571" fmla="*/ 998572 h 3811116"/>
              <a:gd name="connsiteX1572" fmla="*/ 697195 w 10825551"/>
              <a:gd name="connsiteY1572" fmla="*/ 988970 h 3811116"/>
              <a:gd name="connsiteX1573" fmla="*/ 663316 w 10825551"/>
              <a:gd name="connsiteY1573" fmla="*/ 962566 h 3811116"/>
              <a:gd name="connsiteX1574" fmla="*/ 636057 w 10825551"/>
              <a:gd name="connsiteY1574" fmla="*/ 948808 h 3811116"/>
              <a:gd name="connsiteX1575" fmla="*/ 651974 w 10825551"/>
              <a:gd name="connsiteY1575" fmla="*/ 945855 h 3811116"/>
              <a:gd name="connsiteX1576" fmla="*/ 657974 w 10825551"/>
              <a:gd name="connsiteY1576" fmla="*/ 938746 h 3811116"/>
              <a:gd name="connsiteX1577" fmla="*/ 539726 w 10825551"/>
              <a:gd name="connsiteY1577" fmla="*/ 878920 h 3811116"/>
              <a:gd name="connsiteX1578" fmla="*/ 480603 w 10825551"/>
              <a:gd name="connsiteY1578" fmla="*/ 839776 h 3811116"/>
              <a:gd name="connsiteX1579" fmla="*/ 575435 w 10825551"/>
              <a:gd name="connsiteY1579" fmla="*/ 874489 h 3811116"/>
              <a:gd name="connsiteX1580" fmla="*/ 614656 w 10825551"/>
              <a:gd name="connsiteY1580" fmla="*/ 889261 h 3811116"/>
              <a:gd name="connsiteX1581" fmla="*/ 622266 w 10825551"/>
              <a:gd name="connsiteY1581" fmla="*/ 889261 h 3811116"/>
              <a:gd name="connsiteX1582" fmla="*/ 630461 w 10825551"/>
              <a:gd name="connsiteY1582" fmla="*/ 889261 h 3811116"/>
              <a:gd name="connsiteX1583" fmla="*/ 649779 w 10825551"/>
              <a:gd name="connsiteY1583" fmla="*/ 884091 h 3811116"/>
              <a:gd name="connsiteX1584" fmla="*/ 624534 w 10825551"/>
              <a:gd name="connsiteY1584" fmla="*/ 874120 h 3811116"/>
              <a:gd name="connsiteX1585" fmla="*/ 611588 w 10825551"/>
              <a:gd name="connsiteY1585" fmla="*/ 869094 h 3811116"/>
              <a:gd name="connsiteX1586" fmla="*/ 624901 w 10825551"/>
              <a:gd name="connsiteY1586" fmla="*/ 866180 h 3811116"/>
              <a:gd name="connsiteX1587" fmla="*/ 630461 w 10825551"/>
              <a:gd name="connsiteY1587" fmla="*/ 859717 h 3811116"/>
              <a:gd name="connsiteX1588" fmla="*/ 653877 w 10825551"/>
              <a:gd name="connsiteY1588" fmla="*/ 864148 h 3811116"/>
              <a:gd name="connsiteX1589" fmla="*/ 673780 w 10825551"/>
              <a:gd name="connsiteY1589" fmla="*/ 854548 h 3811116"/>
              <a:gd name="connsiteX1590" fmla="*/ 630461 w 10825551"/>
              <a:gd name="connsiteY1590" fmla="*/ 824265 h 3811116"/>
              <a:gd name="connsiteX1591" fmla="*/ 630461 w 10825551"/>
              <a:gd name="connsiteY1591" fmla="*/ 819833 h 3811116"/>
              <a:gd name="connsiteX1592" fmla="*/ 610558 w 10825551"/>
              <a:gd name="connsiteY1592" fmla="*/ 805062 h 3811116"/>
              <a:gd name="connsiteX1593" fmla="*/ 638072 w 10825551"/>
              <a:gd name="connsiteY1593" fmla="*/ 809493 h 3811116"/>
              <a:gd name="connsiteX1594" fmla="*/ 657974 w 10825551"/>
              <a:gd name="connsiteY1594" fmla="*/ 805062 h 3811116"/>
              <a:gd name="connsiteX1595" fmla="*/ 539726 w 10825551"/>
              <a:gd name="connsiteY1595" fmla="*/ 745236 h 3811116"/>
              <a:gd name="connsiteX1596" fmla="*/ 542730 w 10825551"/>
              <a:gd name="connsiteY1596" fmla="*/ 740816 h 3811116"/>
              <a:gd name="connsiteX1597" fmla="*/ 598850 w 10825551"/>
              <a:gd name="connsiteY1597" fmla="*/ 754838 h 3811116"/>
              <a:gd name="connsiteX1598" fmla="*/ 618754 w 10825551"/>
              <a:gd name="connsiteY1598" fmla="*/ 750406 h 3811116"/>
              <a:gd name="connsiteX1599" fmla="*/ 602948 w 10825551"/>
              <a:gd name="connsiteY1599" fmla="*/ 740066 h 3811116"/>
              <a:gd name="connsiteX1600" fmla="*/ 653877 w 10825551"/>
              <a:gd name="connsiteY1600" fmla="*/ 750406 h 3811116"/>
              <a:gd name="connsiteX1601" fmla="*/ 673780 w 10825551"/>
              <a:gd name="connsiteY1601" fmla="*/ 740066 h 3811116"/>
              <a:gd name="connsiteX1602" fmla="*/ 665585 w 10825551"/>
              <a:gd name="connsiteY1602" fmla="*/ 734896 h 3811116"/>
              <a:gd name="connsiteX1603" fmla="*/ 685488 w 10825551"/>
              <a:gd name="connsiteY1603" fmla="*/ 730464 h 3811116"/>
              <a:gd name="connsiteX1604" fmla="*/ 583045 w 10825551"/>
              <a:gd name="connsiteY1604" fmla="*/ 680240 h 3811116"/>
              <a:gd name="connsiteX1605" fmla="*/ 598850 w 10825551"/>
              <a:gd name="connsiteY1605" fmla="*/ 670639 h 3811116"/>
              <a:gd name="connsiteX1606" fmla="*/ 590655 w 10825551"/>
              <a:gd name="connsiteY1606" fmla="*/ 665468 h 3811116"/>
              <a:gd name="connsiteX1607" fmla="*/ 665585 w 10825551"/>
              <a:gd name="connsiteY1607" fmla="*/ 685411 h 3811116"/>
              <a:gd name="connsiteX1608" fmla="*/ 685488 w 10825551"/>
              <a:gd name="connsiteY1608" fmla="*/ 680240 h 3811116"/>
              <a:gd name="connsiteX1609" fmla="*/ 496408 w 10825551"/>
              <a:gd name="connsiteY1609" fmla="*/ 590871 h 3811116"/>
              <a:gd name="connsiteX1610" fmla="*/ 638072 w 10825551"/>
              <a:gd name="connsiteY1610" fmla="*/ 655867 h 3811116"/>
              <a:gd name="connsiteX1611" fmla="*/ 653877 w 10825551"/>
              <a:gd name="connsiteY1611" fmla="*/ 650697 h 3811116"/>
              <a:gd name="connsiteX1612" fmla="*/ 701293 w 10825551"/>
              <a:gd name="connsiteY1612" fmla="*/ 670639 h 3811116"/>
              <a:gd name="connsiteX1613" fmla="*/ 720611 w 10825551"/>
              <a:gd name="connsiteY1613" fmla="*/ 665468 h 3811116"/>
              <a:gd name="connsiteX1614" fmla="*/ 763930 w 10825551"/>
              <a:gd name="connsiteY1614" fmla="*/ 690581 h 3811116"/>
              <a:gd name="connsiteX1615" fmla="*/ 787931 w 10825551"/>
              <a:gd name="connsiteY1615" fmla="*/ 680240 h 3811116"/>
              <a:gd name="connsiteX1616" fmla="*/ 732904 w 10825551"/>
              <a:gd name="connsiteY1616" fmla="*/ 650697 h 3811116"/>
              <a:gd name="connsiteX1617" fmla="*/ 744612 w 10825551"/>
              <a:gd name="connsiteY1617" fmla="*/ 645527 h 3811116"/>
              <a:gd name="connsiteX1618" fmla="*/ 500506 w 10825551"/>
              <a:gd name="connsiteY1618" fmla="*/ 531784 h 3811116"/>
              <a:gd name="connsiteX1619" fmla="*/ 677878 w 10825551"/>
              <a:gd name="connsiteY1619" fmla="*/ 610813 h 3811116"/>
              <a:gd name="connsiteX1620" fmla="*/ 697195 w 10825551"/>
              <a:gd name="connsiteY1620" fmla="*/ 601211 h 3811116"/>
              <a:gd name="connsiteX1621" fmla="*/ 583045 w 10825551"/>
              <a:gd name="connsiteY1621" fmla="*/ 546556 h 3811116"/>
              <a:gd name="connsiteX1622" fmla="*/ 720611 w 10825551"/>
              <a:gd name="connsiteY1622" fmla="*/ 601211 h 3811116"/>
              <a:gd name="connsiteX1623" fmla="*/ 740514 w 10825551"/>
              <a:gd name="connsiteY1623" fmla="*/ 596041 h 3811116"/>
              <a:gd name="connsiteX1624" fmla="*/ 555532 w 10825551"/>
              <a:gd name="connsiteY1624" fmla="*/ 497070 h 3811116"/>
              <a:gd name="connsiteX1625" fmla="*/ 555532 w 10825551"/>
              <a:gd name="connsiteY1625" fmla="*/ 491900 h 3811116"/>
              <a:gd name="connsiteX1626" fmla="*/ 559629 w 10825551"/>
              <a:gd name="connsiteY1626" fmla="*/ 497070 h 3811116"/>
              <a:gd name="connsiteX1627" fmla="*/ 708903 w 10825551"/>
              <a:gd name="connsiteY1627" fmla="*/ 566498 h 3811116"/>
              <a:gd name="connsiteX1628" fmla="*/ 732904 w 10825551"/>
              <a:gd name="connsiteY1628" fmla="*/ 561328 h 3811116"/>
              <a:gd name="connsiteX1629" fmla="*/ 724709 w 10825551"/>
              <a:gd name="connsiteY1629" fmla="*/ 561328 h 3811116"/>
              <a:gd name="connsiteX1630" fmla="*/ 740514 w 10825551"/>
              <a:gd name="connsiteY1630" fmla="*/ 551726 h 3811116"/>
              <a:gd name="connsiteX1631" fmla="*/ 705391 w 10825551"/>
              <a:gd name="connsiteY1631" fmla="*/ 536215 h 3811116"/>
              <a:gd name="connsiteX1632" fmla="*/ 724709 w 10825551"/>
              <a:gd name="connsiteY1632" fmla="*/ 526613 h 3811116"/>
              <a:gd name="connsiteX1633" fmla="*/ 681390 w 10825551"/>
              <a:gd name="connsiteY1633" fmla="*/ 506672 h 3811116"/>
              <a:gd name="connsiteX1634" fmla="*/ 693684 w 10825551"/>
              <a:gd name="connsiteY1634" fmla="*/ 501502 h 3811116"/>
              <a:gd name="connsiteX1635" fmla="*/ 437284 w 10825551"/>
              <a:gd name="connsiteY1635" fmla="*/ 337535 h 3811116"/>
              <a:gd name="connsiteX1636" fmla="*/ 437284 w 10825551"/>
              <a:gd name="connsiteY1636" fmla="*/ 333104 h 3811116"/>
              <a:gd name="connsiteX1637" fmla="*/ 366452 w 10825551"/>
              <a:gd name="connsiteY1637" fmla="*/ 293220 h 3811116"/>
              <a:gd name="connsiteX1638" fmla="*/ 350647 w 10825551"/>
              <a:gd name="connsiteY1638" fmla="*/ 278448 h 3811116"/>
              <a:gd name="connsiteX1639" fmla="*/ 417381 w 10825551"/>
              <a:gd name="connsiteY1639" fmla="*/ 313162 h 3811116"/>
              <a:gd name="connsiteX1640" fmla="*/ 441382 w 10825551"/>
              <a:gd name="connsiteY1640" fmla="*/ 307992 h 3811116"/>
              <a:gd name="connsiteX1641" fmla="*/ 319036 w 10825551"/>
              <a:gd name="connsiteY1641" fmla="*/ 228224 h 3811116"/>
              <a:gd name="connsiteX1642" fmla="*/ 296480 w 10825551"/>
              <a:gd name="connsiteY1642" fmla="*/ 229055 h 3811116"/>
              <a:gd name="connsiteX1643" fmla="*/ 295990 w 10825551"/>
              <a:gd name="connsiteY1643" fmla="*/ 231531 h 3811116"/>
              <a:gd name="connsiteX1644" fmla="*/ 292328 w 10825551"/>
              <a:gd name="connsiteY1644" fmla="*/ 229701 h 3811116"/>
              <a:gd name="connsiteX1645" fmla="*/ 240594 w 10825551"/>
              <a:gd name="connsiteY1645" fmla="*/ 203851 h 3811116"/>
              <a:gd name="connsiteX1646" fmla="*/ 252302 w 10825551"/>
              <a:gd name="connsiteY1646" fmla="*/ 198680 h 3811116"/>
              <a:gd name="connsiteX1647" fmla="*/ 248204 w 10825551"/>
              <a:gd name="connsiteY1647" fmla="*/ 198680 h 3811116"/>
              <a:gd name="connsiteX1648" fmla="*/ 248204 w 10825551"/>
              <a:gd name="connsiteY1648" fmla="*/ 193510 h 3811116"/>
              <a:gd name="connsiteX1649" fmla="*/ 240594 w 10825551"/>
              <a:gd name="connsiteY1649" fmla="*/ 188341 h 3811116"/>
              <a:gd name="connsiteX1650" fmla="*/ 256399 w 10825551"/>
              <a:gd name="connsiteY1650" fmla="*/ 183909 h 3811116"/>
              <a:gd name="connsiteX1651" fmla="*/ 208983 w 10825551"/>
              <a:gd name="connsiteY1651" fmla="*/ 153627 h 3811116"/>
              <a:gd name="connsiteX1652" fmla="*/ 216593 w 10825551"/>
              <a:gd name="connsiteY1652" fmla="*/ 153627 h 3811116"/>
              <a:gd name="connsiteX1653" fmla="*/ 268107 w 10825551"/>
              <a:gd name="connsiteY1653" fmla="*/ 188341 h 3811116"/>
              <a:gd name="connsiteX1654" fmla="*/ 288011 w 10825551"/>
              <a:gd name="connsiteY1654" fmla="*/ 183909 h 3811116"/>
              <a:gd name="connsiteX1655" fmla="*/ 433186 w 10825551"/>
              <a:gd name="connsiteY1655" fmla="*/ 273278 h 3811116"/>
              <a:gd name="connsiteX1656" fmla="*/ 457187 w 10825551"/>
              <a:gd name="connsiteY1656" fmla="*/ 268108 h 3811116"/>
              <a:gd name="connsiteX1657" fmla="*/ 295621 w 10825551"/>
              <a:gd name="connsiteY1657" fmla="*/ 168398 h 3811116"/>
              <a:gd name="connsiteX1658" fmla="*/ 279815 w 10825551"/>
              <a:gd name="connsiteY1658" fmla="*/ 173569 h 3811116"/>
              <a:gd name="connsiteX1659" fmla="*/ 216593 w 10825551"/>
              <a:gd name="connsiteY1659" fmla="*/ 134423 h 3811116"/>
              <a:gd name="connsiteX1660" fmla="*/ 216593 w 10825551"/>
              <a:gd name="connsiteY1660" fmla="*/ 124083 h 3811116"/>
              <a:gd name="connsiteX1661" fmla="*/ 204886 w 10825551"/>
              <a:gd name="connsiteY1661" fmla="*/ 98971 h 3811116"/>
              <a:gd name="connsiteX1662" fmla="*/ 220691 w 10825551"/>
              <a:gd name="connsiteY1662" fmla="*/ 104142 h 3811116"/>
              <a:gd name="connsiteX1663" fmla="*/ 244106 w 10825551"/>
              <a:gd name="connsiteY1663" fmla="*/ 98971 h 3811116"/>
              <a:gd name="connsiteX1664" fmla="*/ 213081 w 10825551"/>
              <a:gd name="connsiteY1664" fmla="*/ 79029 h 3811116"/>
              <a:gd name="connsiteX1665" fmla="*/ 228886 w 10825551"/>
              <a:gd name="connsiteY1665" fmla="*/ 19942 h 3811116"/>
              <a:gd name="connsiteX1666" fmla="*/ 252302 w 10825551"/>
              <a:gd name="connsiteY1666" fmla="*/ 34714 h 3811116"/>
              <a:gd name="connsiteX1667" fmla="*/ 275717 w 10825551"/>
              <a:gd name="connsiteY1667" fmla="*/ 24374 h 3811116"/>
              <a:gd name="connsiteX1668" fmla="*/ 236497 w 10825551"/>
              <a:gd name="connsiteY1668" fmla="*/ 0 h 381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Lst>
            <a:rect l="l" t="t" r="r" b="b"/>
            <a:pathLst>
              <a:path w="10825551" h="3811116">
                <a:moveTo>
                  <a:pt x="10101831" y="3554463"/>
                </a:moveTo>
                <a:lnTo>
                  <a:pt x="10092648" y="3557042"/>
                </a:lnTo>
                <a:lnTo>
                  <a:pt x="10088531" y="3557463"/>
                </a:lnTo>
                <a:close/>
                <a:moveTo>
                  <a:pt x="10461895" y="3478800"/>
                </a:moveTo>
                <a:lnTo>
                  <a:pt x="10454783" y="3483091"/>
                </a:lnTo>
                <a:cubicBezTo>
                  <a:pt x="10451344" y="3484291"/>
                  <a:pt x="10447392" y="3485399"/>
                  <a:pt x="10443294" y="3487614"/>
                </a:cubicBezTo>
                <a:cubicBezTo>
                  <a:pt x="10349046" y="3512727"/>
                  <a:pt x="10246605" y="3532668"/>
                  <a:pt x="10151772" y="3552611"/>
                </a:cubicBezTo>
                <a:cubicBezTo>
                  <a:pt x="10159968" y="3547440"/>
                  <a:pt x="10167578" y="3542270"/>
                  <a:pt x="10155870" y="3542270"/>
                </a:cubicBezTo>
                <a:lnTo>
                  <a:pt x="10101831" y="3554463"/>
                </a:lnTo>
                <a:lnTo>
                  <a:pt x="10112039" y="3551595"/>
                </a:lnTo>
                <a:cubicBezTo>
                  <a:pt x="10118406" y="3548548"/>
                  <a:pt x="10124260" y="3544855"/>
                  <a:pt x="10128357" y="3542270"/>
                </a:cubicBezTo>
                <a:cubicBezTo>
                  <a:pt x="10214994" y="3527499"/>
                  <a:pt x="10301631" y="3512727"/>
                  <a:pt x="10384170" y="3487614"/>
                </a:cubicBezTo>
                <a:cubicBezTo>
                  <a:pt x="10397927" y="3487614"/>
                  <a:pt x="10411685" y="3486506"/>
                  <a:pt x="10425440" y="3484753"/>
                </a:cubicBezTo>
                <a:close/>
                <a:moveTo>
                  <a:pt x="10463198" y="3478013"/>
                </a:moveTo>
                <a:cubicBezTo>
                  <a:pt x="10466711" y="3478013"/>
                  <a:pt x="10466711" y="3478013"/>
                  <a:pt x="10466711" y="3478013"/>
                </a:cubicBezTo>
                <a:lnTo>
                  <a:pt x="10461895" y="3478800"/>
                </a:lnTo>
                <a:close/>
                <a:moveTo>
                  <a:pt x="9751777" y="3437743"/>
                </a:moveTo>
                <a:lnTo>
                  <a:pt x="9698464" y="3446254"/>
                </a:lnTo>
                <a:lnTo>
                  <a:pt x="9691082" y="3447236"/>
                </a:lnTo>
                <a:lnTo>
                  <a:pt x="9744124" y="3438683"/>
                </a:lnTo>
                <a:close/>
                <a:moveTo>
                  <a:pt x="9842632" y="3423237"/>
                </a:moveTo>
                <a:lnTo>
                  <a:pt x="9832735" y="3427789"/>
                </a:lnTo>
                <a:lnTo>
                  <a:pt x="9751777" y="3437743"/>
                </a:lnTo>
                <a:close/>
                <a:moveTo>
                  <a:pt x="9860834" y="3418187"/>
                </a:moveTo>
                <a:lnTo>
                  <a:pt x="9864437" y="3419756"/>
                </a:lnTo>
                <a:lnTo>
                  <a:pt x="9842632" y="3423237"/>
                </a:lnTo>
                <a:lnTo>
                  <a:pt x="9846786" y="3421327"/>
                </a:lnTo>
                <a:cubicBezTo>
                  <a:pt x="9851760" y="3419480"/>
                  <a:pt x="9856738" y="3418187"/>
                  <a:pt x="9860834" y="3418187"/>
                </a:cubicBezTo>
                <a:close/>
                <a:moveTo>
                  <a:pt x="10049478" y="3387324"/>
                </a:moveTo>
                <a:lnTo>
                  <a:pt x="10045524" y="3389198"/>
                </a:lnTo>
                <a:cubicBezTo>
                  <a:pt x="10039671" y="3392337"/>
                  <a:pt x="10033818" y="3396030"/>
                  <a:pt x="10030014" y="3398246"/>
                </a:cubicBezTo>
                <a:cubicBezTo>
                  <a:pt x="10002499" y="3403415"/>
                  <a:pt x="9974986" y="3408586"/>
                  <a:pt x="9946887" y="3413017"/>
                </a:cubicBezTo>
                <a:cubicBezTo>
                  <a:pt x="9946887" y="3413017"/>
                  <a:pt x="9946887" y="3413017"/>
                  <a:pt x="9887763" y="3423358"/>
                </a:cubicBezTo>
                <a:cubicBezTo>
                  <a:pt x="9881910" y="3423358"/>
                  <a:pt x="9876055" y="3423358"/>
                  <a:pt x="9871225" y="3422712"/>
                </a:cubicBezTo>
                <a:lnTo>
                  <a:pt x="9864437" y="3419756"/>
                </a:lnTo>
                <a:lnTo>
                  <a:pt x="9966790" y="3403415"/>
                </a:lnTo>
                <a:close/>
                <a:moveTo>
                  <a:pt x="10076795" y="3382009"/>
                </a:moveTo>
                <a:lnTo>
                  <a:pt x="10049478" y="3387324"/>
                </a:lnTo>
                <a:lnTo>
                  <a:pt x="10054051" y="3385158"/>
                </a:lnTo>
                <a:cubicBezTo>
                  <a:pt x="10056720" y="3384120"/>
                  <a:pt x="10059136" y="3383474"/>
                  <a:pt x="10061039" y="3383474"/>
                </a:cubicBezTo>
                <a:close/>
                <a:moveTo>
                  <a:pt x="10490711" y="3229109"/>
                </a:moveTo>
                <a:cubicBezTo>
                  <a:pt x="10494809" y="3229109"/>
                  <a:pt x="10494809" y="3229109"/>
                  <a:pt x="10494809" y="3229109"/>
                </a:cubicBezTo>
                <a:lnTo>
                  <a:pt x="10491060" y="3230041"/>
                </a:lnTo>
                <a:close/>
                <a:moveTo>
                  <a:pt x="10798040" y="3219507"/>
                </a:moveTo>
                <a:cubicBezTo>
                  <a:pt x="10738916" y="3234279"/>
                  <a:pt x="10687400" y="3254221"/>
                  <a:pt x="10636472" y="3274163"/>
                </a:cubicBezTo>
                <a:cubicBezTo>
                  <a:pt x="10632374" y="3279332"/>
                  <a:pt x="10596667" y="3294105"/>
                  <a:pt x="10608959" y="3294105"/>
                </a:cubicBezTo>
                <a:cubicBezTo>
                  <a:pt x="10616570" y="3294105"/>
                  <a:pt x="10624766" y="3294105"/>
                  <a:pt x="10632374" y="3294105"/>
                </a:cubicBezTo>
                <a:cubicBezTo>
                  <a:pt x="10596667" y="3303706"/>
                  <a:pt x="10565642" y="3308877"/>
                  <a:pt x="10529933" y="3319217"/>
                </a:cubicBezTo>
                <a:cubicBezTo>
                  <a:pt x="10529933" y="3314047"/>
                  <a:pt x="10529933" y="3314047"/>
                  <a:pt x="10525835" y="3314047"/>
                </a:cubicBezTo>
                <a:cubicBezTo>
                  <a:pt x="10525835" y="3314047"/>
                  <a:pt x="10525835" y="3314047"/>
                  <a:pt x="10392366" y="3339158"/>
                </a:cubicBezTo>
                <a:cubicBezTo>
                  <a:pt x="10395878" y="3333988"/>
                  <a:pt x="10404074" y="3328818"/>
                  <a:pt x="10404074" y="3323648"/>
                </a:cubicBezTo>
                <a:cubicBezTo>
                  <a:pt x="10404074" y="3323648"/>
                  <a:pt x="10404074" y="3319217"/>
                  <a:pt x="10399976" y="3323648"/>
                </a:cubicBezTo>
                <a:cubicBezTo>
                  <a:pt x="10360755" y="3328818"/>
                  <a:pt x="10325046" y="3333988"/>
                  <a:pt x="10285826" y="3343590"/>
                </a:cubicBezTo>
                <a:cubicBezTo>
                  <a:pt x="10289922" y="3339158"/>
                  <a:pt x="10285826" y="3339158"/>
                  <a:pt x="10281728" y="3339158"/>
                </a:cubicBezTo>
                <a:cubicBezTo>
                  <a:pt x="10265922" y="3343590"/>
                  <a:pt x="10254215" y="3348760"/>
                  <a:pt x="10238411" y="3348760"/>
                </a:cubicBezTo>
                <a:cubicBezTo>
                  <a:pt x="10199189" y="3358362"/>
                  <a:pt x="10155870" y="3368702"/>
                  <a:pt x="10116649" y="3378304"/>
                </a:cubicBezTo>
                <a:cubicBezTo>
                  <a:pt x="10116649" y="3378304"/>
                  <a:pt x="10116649" y="3378304"/>
                  <a:pt x="10093189" y="3380485"/>
                </a:cubicBezTo>
                <a:lnTo>
                  <a:pt x="10076795" y="3382009"/>
                </a:lnTo>
                <a:lnTo>
                  <a:pt x="10097259" y="3378027"/>
                </a:lnTo>
                <a:cubicBezTo>
                  <a:pt x="10141089" y="3368702"/>
                  <a:pt x="10185432" y="3358732"/>
                  <a:pt x="10230798" y="3348760"/>
                </a:cubicBezTo>
                <a:cubicBezTo>
                  <a:pt x="10317437" y="3328818"/>
                  <a:pt x="10407587" y="3308877"/>
                  <a:pt x="10494809" y="3294105"/>
                </a:cubicBezTo>
                <a:cubicBezTo>
                  <a:pt x="10514126" y="3288934"/>
                  <a:pt x="10541641" y="3268993"/>
                  <a:pt x="10534029" y="3268993"/>
                </a:cubicBezTo>
                <a:cubicBezTo>
                  <a:pt x="10372463" y="3299275"/>
                  <a:pt x="10210896" y="3339158"/>
                  <a:pt x="10049330" y="3368702"/>
                </a:cubicBezTo>
                <a:cubicBezTo>
                  <a:pt x="9887763" y="3398246"/>
                  <a:pt x="9726783" y="3423358"/>
                  <a:pt x="9565214" y="3443299"/>
                </a:cubicBezTo>
                <a:cubicBezTo>
                  <a:pt x="9714489" y="3413017"/>
                  <a:pt x="9880153" y="3398246"/>
                  <a:pt x="10030014" y="3368702"/>
                </a:cubicBezTo>
                <a:cubicBezTo>
                  <a:pt x="10080939" y="3358362"/>
                  <a:pt x="10132455" y="3343590"/>
                  <a:pt x="10175773" y="3333988"/>
                </a:cubicBezTo>
                <a:cubicBezTo>
                  <a:pt x="10183383" y="3328818"/>
                  <a:pt x="10226702" y="3308877"/>
                  <a:pt x="10214994" y="3308877"/>
                </a:cubicBezTo>
                <a:cubicBezTo>
                  <a:pt x="10191579" y="3308877"/>
                  <a:pt x="10171674" y="3303706"/>
                  <a:pt x="10144164" y="3308877"/>
                </a:cubicBezTo>
                <a:cubicBezTo>
                  <a:pt x="10207092" y="3296320"/>
                  <a:pt x="10268117" y="3283949"/>
                  <a:pt x="10326730" y="3270932"/>
                </a:cubicBezTo>
                <a:lnTo>
                  <a:pt x="10491060" y="3230041"/>
                </a:lnTo>
                <a:lnTo>
                  <a:pt x="10495002" y="3240569"/>
                </a:lnTo>
                <a:cubicBezTo>
                  <a:pt x="10508968" y="3248774"/>
                  <a:pt x="10549689" y="3247943"/>
                  <a:pt x="10596667" y="3244619"/>
                </a:cubicBezTo>
                <a:cubicBezTo>
                  <a:pt x="10663985" y="3239449"/>
                  <a:pt x="10742426" y="3224677"/>
                  <a:pt x="10798040" y="3219507"/>
                </a:cubicBezTo>
                <a:close/>
                <a:moveTo>
                  <a:pt x="10144164" y="3130138"/>
                </a:moveTo>
                <a:cubicBezTo>
                  <a:pt x="10151772" y="3130138"/>
                  <a:pt x="10151772" y="3130138"/>
                  <a:pt x="10151772" y="3130138"/>
                </a:cubicBezTo>
                <a:lnTo>
                  <a:pt x="10142532" y="3130420"/>
                </a:lnTo>
                <a:close/>
                <a:moveTo>
                  <a:pt x="9845029" y="2807375"/>
                </a:moveTo>
                <a:cubicBezTo>
                  <a:pt x="9836835" y="2807375"/>
                  <a:pt x="9829225" y="2811806"/>
                  <a:pt x="9817516" y="2811806"/>
                </a:cubicBezTo>
                <a:cubicBezTo>
                  <a:pt x="9809320" y="2816977"/>
                  <a:pt x="9801710" y="2822147"/>
                  <a:pt x="9813418" y="2822147"/>
                </a:cubicBezTo>
                <a:cubicBezTo>
                  <a:pt x="9817516" y="2822147"/>
                  <a:pt x="9825127" y="2822147"/>
                  <a:pt x="9829225" y="2822147"/>
                </a:cubicBezTo>
                <a:cubicBezTo>
                  <a:pt x="9840933" y="2816977"/>
                  <a:pt x="9852640" y="2807375"/>
                  <a:pt x="9845029" y="2807375"/>
                </a:cubicBezTo>
                <a:close/>
                <a:moveTo>
                  <a:pt x="3339631" y="2767491"/>
                </a:moveTo>
                <a:lnTo>
                  <a:pt x="3394052" y="2788727"/>
                </a:lnTo>
                <a:lnTo>
                  <a:pt x="3382948" y="2785864"/>
                </a:lnTo>
                <a:cubicBezTo>
                  <a:pt x="3368168" y="2780970"/>
                  <a:pt x="3353387" y="2774877"/>
                  <a:pt x="3339631" y="2767491"/>
                </a:cubicBezTo>
                <a:close/>
                <a:moveTo>
                  <a:pt x="9482677" y="2762321"/>
                </a:moveTo>
                <a:cubicBezTo>
                  <a:pt x="9442870" y="2767491"/>
                  <a:pt x="9403649" y="2777093"/>
                  <a:pt x="9364427" y="2782263"/>
                </a:cubicBezTo>
                <a:cubicBezTo>
                  <a:pt x="9360329" y="2782263"/>
                  <a:pt x="9356231" y="2782263"/>
                  <a:pt x="9356231" y="2787433"/>
                </a:cubicBezTo>
                <a:cubicBezTo>
                  <a:pt x="9415355" y="2787433"/>
                  <a:pt x="9486187" y="2782263"/>
                  <a:pt x="9537703" y="2787433"/>
                </a:cubicBezTo>
                <a:cubicBezTo>
                  <a:pt x="9498480" y="2791864"/>
                  <a:pt x="9462773" y="2802204"/>
                  <a:pt x="9427063" y="2807375"/>
                </a:cubicBezTo>
                <a:cubicBezTo>
                  <a:pt x="9446968" y="2807375"/>
                  <a:pt x="9466871" y="2807375"/>
                  <a:pt x="9486187" y="2802204"/>
                </a:cubicBezTo>
                <a:cubicBezTo>
                  <a:pt x="9478579" y="2807375"/>
                  <a:pt x="9474479" y="2811806"/>
                  <a:pt x="9470969" y="2811806"/>
                </a:cubicBezTo>
                <a:cubicBezTo>
                  <a:pt x="9510188" y="2807375"/>
                  <a:pt x="9549409" y="2797035"/>
                  <a:pt x="9588631" y="2791864"/>
                </a:cubicBezTo>
                <a:cubicBezTo>
                  <a:pt x="9596827" y="2787433"/>
                  <a:pt x="9636046" y="2771923"/>
                  <a:pt x="9624338" y="2771923"/>
                </a:cubicBezTo>
                <a:cubicBezTo>
                  <a:pt x="9585119" y="2762321"/>
                  <a:pt x="9533605" y="2762321"/>
                  <a:pt x="9482677" y="2762321"/>
                </a:cubicBezTo>
                <a:close/>
                <a:moveTo>
                  <a:pt x="10018305" y="2747549"/>
                </a:moveTo>
                <a:cubicBezTo>
                  <a:pt x="9939277" y="2757151"/>
                  <a:pt x="9856738" y="2767491"/>
                  <a:pt x="9777709" y="2777093"/>
                </a:cubicBezTo>
                <a:cubicBezTo>
                  <a:pt x="9821029" y="2777093"/>
                  <a:pt x="9868444" y="2777093"/>
                  <a:pt x="9911764" y="2777093"/>
                </a:cubicBezTo>
                <a:cubicBezTo>
                  <a:pt x="9915862" y="2777093"/>
                  <a:pt x="9915862" y="2777093"/>
                  <a:pt x="9915862" y="2777093"/>
                </a:cubicBezTo>
                <a:cubicBezTo>
                  <a:pt x="9939277" y="2771923"/>
                  <a:pt x="9959181" y="2771923"/>
                  <a:pt x="9982596" y="2767491"/>
                </a:cubicBezTo>
                <a:cubicBezTo>
                  <a:pt x="9998401" y="2767491"/>
                  <a:pt x="10030014" y="2747549"/>
                  <a:pt x="10018305" y="2747549"/>
                </a:cubicBezTo>
                <a:close/>
                <a:moveTo>
                  <a:pt x="9470969" y="2692894"/>
                </a:moveTo>
                <a:cubicBezTo>
                  <a:pt x="9451064" y="2698064"/>
                  <a:pt x="9435260" y="2698064"/>
                  <a:pt x="9415355" y="2698064"/>
                </a:cubicBezTo>
                <a:cubicBezTo>
                  <a:pt x="9403649" y="2702496"/>
                  <a:pt x="9360329" y="2722437"/>
                  <a:pt x="9380232" y="2722437"/>
                </a:cubicBezTo>
                <a:cubicBezTo>
                  <a:pt x="9423553" y="2722437"/>
                  <a:pt x="9470969" y="2718006"/>
                  <a:pt x="9517798" y="2712836"/>
                </a:cubicBezTo>
                <a:cubicBezTo>
                  <a:pt x="9529505" y="2707665"/>
                  <a:pt x="9533605" y="2702496"/>
                  <a:pt x="9529505" y="2702496"/>
                </a:cubicBezTo>
                <a:cubicBezTo>
                  <a:pt x="9510188" y="2702496"/>
                  <a:pt x="9494384" y="2698064"/>
                  <a:pt x="9474479" y="2698064"/>
                </a:cubicBezTo>
                <a:cubicBezTo>
                  <a:pt x="9478579" y="2698064"/>
                  <a:pt x="9478579" y="2692894"/>
                  <a:pt x="9474479" y="2692894"/>
                </a:cubicBezTo>
                <a:close/>
                <a:moveTo>
                  <a:pt x="8947047" y="2653010"/>
                </a:moveTo>
                <a:cubicBezTo>
                  <a:pt x="8915436" y="2658180"/>
                  <a:pt x="8879727" y="2658180"/>
                  <a:pt x="8844604" y="2663350"/>
                </a:cubicBezTo>
                <a:cubicBezTo>
                  <a:pt x="8915436" y="2663350"/>
                  <a:pt x="8982170" y="2658180"/>
                  <a:pt x="9049490" y="2653010"/>
                </a:cubicBezTo>
                <a:cubicBezTo>
                  <a:pt x="9017877" y="2653010"/>
                  <a:pt x="8982170" y="2653010"/>
                  <a:pt x="8947047" y="2653010"/>
                </a:cubicBezTo>
                <a:close/>
                <a:moveTo>
                  <a:pt x="9179447" y="2643408"/>
                </a:moveTo>
                <a:cubicBezTo>
                  <a:pt x="9198764" y="2643408"/>
                  <a:pt x="9198764" y="2643408"/>
                  <a:pt x="9198764" y="2643408"/>
                </a:cubicBezTo>
                <a:lnTo>
                  <a:pt x="9178279" y="2643748"/>
                </a:lnTo>
                <a:close/>
                <a:moveTo>
                  <a:pt x="9055186" y="2557449"/>
                </a:moveTo>
                <a:lnTo>
                  <a:pt x="9053001" y="2558470"/>
                </a:lnTo>
                <a:cubicBezTo>
                  <a:pt x="9025490" y="2558470"/>
                  <a:pt x="9025490" y="2558470"/>
                  <a:pt x="9025490" y="2558470"/>
                </a:cubicBezTo>
                <a:close/>
                <a:moveTo>
                  <a:pt x="3343728" y="2370131"/>
                </a:moveTo>
                <a:cubicBezTo>
                  <a:pt x="3363045" y="2374562"/>
                  <a:pt x="3363045" y="2374562"/>
                  <a:pt x="3363045" y="2374562"/>
                </a:cubicBezTo>
                <a:lnTo>
                  <a:pt x="3363636" y="2375438"/>
                </a:lnTo>
                <a:close/>
                <a:moveTo>
                  <a:pt x="3457878" y="2364961"/>
                </a:moveTo>
                <a:cubicBezTo>
                  <a:pt x="3485392" y="2370131"/>
                  <a:pt x="3517002" y="2379732"/>
                  <a:pt x="3548613" y="2390072"/>
                </a:cubicBezTo>
                <a:cubicBezTo>
                  <a:pt x="3556222" y="2390072"/>
                  <a:pt x="3576125" y="2390072"/>
                  <a:pt x="3583736" y="2390072"/>
                </a:cubicBezTo>
                <a:cubicBezTo>
                  <a:pt x="3611250" y="2399674"/>
                  <a:pt x="3642860" y="2409276"/>
                  <a:pt x="3670373" y="2419616"/>
                </a:cubicBezTo>
                <a:cubicBezTo>
                  <a:pt x="3674471" y="2419616"/>
                  <a:pt x="3678569" y="2419616"/>
                  <a:pt x="3682080" y="2419616"/>
                </a:cubicBezTo>
                <a:cubicBezTo>
                  <a:pt x="3686178" y="2419616"/>
                  <a:pt x="3686178" y="2419616"/>
                  <a:pt x="3690276" y="2419616"/>
                </a:cubicBezTo>
                <a:cubicBezTo>
                  <a:pt x="3697886" y="2419616"/>
                  <a:pt x="3701984" y="2414446"/>
                  <a:pt x="3709594" y="2414446"/>
                </a:cubicBezTo>
                <a:cubicBezTo>
                  <a:pt x="3674471" y="2399674"/>
                  <a:pt x="3638762" y="2390072"/>
                  <a:pt x="3607736" y="2374562"/>
                </a:cubicBezTo>
                <a:cubicBezTo>
                  <a:pt x="3556222" y="2370131"/>
                  <a:pt x="3505295" y="2364961"/>
                  <a:pt x="3457878" y="2364961"/>
                </a:cubicBezTo>
                <a:close/>
                <a:moveTo>
                  <a:pt x="3363045" y="2345018"/>
                </a:moveTo>
                <a:cubicBezTo>
                  <a:pt x="3382948" y="2350189"/>
                  <a:pt x="3402852" y="2354620"/>
                  <a:pt x="3422169" y="2359790"/>
                </a:cubicBezTo>
                <a:cubicBezTo>
                  <a:pt x="3426267" y="2359790"/>
                  <a:pt x="3437975" y="2364961"/>
                  <a:pt x="3450269" y="2359790"/>
                </a:cubicBezTo>
                <a:cubicBezTo>
                  <a:pt x="3418657" y="2354620"/>
                  <a:pt x="3391143" y="2350189"/>
                  <a:pt x="3363045" y="2345018"/>
                </a:cubicBezTo>
                <a:close/>
                <a:moveTo>
                  <a:pt x="3524612" y="2339848"/>
                </a:moveTo>
                <a:cubicBezTo>
                  <a:pt x="3517002" y="2339848"/>
                  <a:pt x="3505295" y="2350189"/>
                  <a:pt x="3512904" y="2350189"/>
                </a:cubicBezTo>
                <a:cubicBezTo>
                  <a:pt x="3548613" y="2359790"/>
                  <a:pt x="3583736" y="2364961"/>
                  <a:pt x="3619445" y="2370131"/>
                </a:cubicBezTo>
                <a:cubicBezTo>
                  <a:pt x="3587834" y="2354620"/>
                  <a:pt x="3556222" y="2345018"/>
                  <a:pt x="3524612" y="2339848"/>
                </a:cubicBezTo>
                <a:close/>
                <a:moveTo>
                  <a:pt x="3213936" y="2314794"/>
                </a:moveTo>
                <a:cubicBezTo>
                  <a:pt x="3205320" y="2316767"/>
                  <a:pt x="3194894" y="2325077"/>
                  <a:pt x="3197967" y="2325077"/>
                </a:cubicBezTo>
                <a:cubicBezTo>
                  <a:pt x="3272896" y="2345018"/>
                  <a:pt x="3343728" y="2359790"/>
                  <a:pt x="3414559" y="2374562"/>
                </a:cubicBezTo>
                <a:cubicBezTo>
                  <a:pt x="3414559" y="2374562"/>
                  <a:pt x="3414559" y="2374562"/>
                  <a:pt x="3418657" y="2374562"/>
                </a:cubicBezTo>
                <a:cubicBezTo>
                  <a:pt x="3418657" y="2374562"/>
                  <a:pt x="3418657" y="2374562"/>
                  <a:pt x="3434463" y="2374562"/>
                </a:cubicBezTo>
                <a:lnTo>
                  <a:pt x="3481293" y="2384902"/>
                </a:lnTo>
                <a:cubicBezTo>
                  <a:pt x="3422169" y="2364961"/>
                  <a:pt x="3359533" y="2350189"/>
                  <a:pt x="3300409" y="2334679"/>
                </a:cubicBezTo>
                <a:cubicBezTo>
                  <a:pt x="3272896" y="2330247"/>
                  <a:pt x="3248895" y="2319907"/>
                  <a:pt x="3221382" y="2315475"/>
                </a:cubicBezTo>
                <a:cubicBezTo>
                  <a:pt x="3219480" y="2314183"/>
                  <a:pt x="3216808" y="2314136"/>
                  <a:pt x="3213936" y="2314794"/>
                </a:cubicBezTo>
                <a:close/>
                <a:moveTo>
                  <a:pt x="2260763" y="2290364"/>
                </a:moveTo>
                <a:cubicBezTo>
                  <a:pt x="2292374" y="2300703"/>
                  <a:pt x="2292374" y="2300703"/>
                  <a:pt x="2292374" y="2300703"/>
                </a:cubicBezTo>
                <a:lnTo>
                  <a:pt x="2294818" y="2301638"/>
                </a:lnTo>
                <a:close/>
                <a:moveTo>
                  <a:pt x="3489489" y="2270421"/>
                </a:moveTo>
                <a:cubicBezTo>
                  <a:pt x="3501196" y="2275591"/>
                  <a:pt x="3512904" y="2275591"/>
                  <a:pt x="3521100" y="2280762"/>
                </a:cubicBezTo>
                <a:cubicBezTo>
                  <a:pt x="3524612" y="2280762"/>
                  <a:pt x="3532808" y="2280762"/>
                  <a:pt x="3540417" y="2280762"/>
                </a:cubicBezTo>
                <a:cubicBezTo>
                  <a:pt x="3521100" y="2275591"/>
                  <a:pt x="3505295" y="2275591"/>
                  <a:pt x="3489489" y="2270421"/>
                </a:cubicBezTo>
                <a:close/>
                <a:moveTo>
                  <a:pt x="3446170" y="2260819"/>
                </a:moveTo>
                <a:cubicBezTo>
                  <a:pt x="3437975" y="2265251"/>
                  <a:pt x="3426267" y="2275591"/>
                  <a:pt x="3430365" y="2275591"/>
                </a:cubicBezTo>
                <a:cubicBezTo>
                  <a:pt x="3481293" y="2285193"/>
                  <a:pt x="3528709" y="2295533"/>
                  <a:pt x="3580224" y="2305135"/>
                </a:cubicBezTo>
                <a:cubicBezTo>
                  <a:pt x="3536319" y="2290364"/>
                  <a:pt x="3493001" y="2275591"/>
                  <a:pt x="3446170" y="2260819"/>
                </a:cubicBezTo>
                <a:close/>
                <a:moveTo>
                  <a:pt x="8101606" y="1870718"/>
                </a:moveTo>
                <a:lnTo>
                  <a:pt x="8101008" y="1871399"/>
                </a:lnTo>
                <a:lnTo>
                  <a:pt x="8101250" y="1870789"/>
                </a:lnTo>
                <a:close/>
                <a:moveTo>
                  <a:pt x="8206534" y="1833177"/>
                </a:moveTo>
                <a:lnTo>
                  <a:pt x="8206534" y="1838347"/>
                </a:lnTo>
                <a:cubicBezTo>
                  <a:pt x="8179020" y="1847949"/>
                  <a:pt x="8151508" y="1853119"/>
                  <a:pt x="8128090" y="1863459"/>
                </a:cubicBezTo>
                <a:cubicBezTo>
                  <a:pt x="8123992" y="1863459"/>
                  <a:pt x="8119896" y="1867891"/>
                  <a:pt x="8115798" y="1867891"/>
                </a:cubicBezTo>
                <a:lnTo>
                  <a:pt x="8101606" y="1870718"/>
                </a:lnTo>
                <a:lnTo>
                  <a:pt x="8104090" y="1867891"/>
                </a:lnTo>
                <a:cubicBezTo>
                  <a:pt x="8104090" y="1867891"/>
                  <a:pt x="8104090" y="1867891"/>
                  <a:pt x="8128090" y="1853119"/>
                </a:cubicBezTo>
                <a:cubicBezTo>
                  <a:pt x="8128090" y="1853119"/>
                  <a:pt x="8128090" y="1853119"/>
                  <a:pt x="8131603" y="1853119"/>
                </a:cubicBezTo>
                <a:cubicBezTo>
                  <a:pt x="8155604" y="1847949"/>
                  <a:pt x="8183116" y="1838347"/>
                  <a:pt x="8206534" y="1833177"/>
                </a:cubicBezTo>
                <a:close/>
                <a:moveTo>
                  <a:pt x="8336488" y="1823575"/>
                </a:moveTo>
                <a:cubicBezTo>
                  <a:pt x="8340586" y="1823575"/>
                  <a:pt x="8340586" y="1823575"/>
                  <a:pt x="8340586" y="1823575"/>
                </a:cubicBezTo>
                <a:lnTo>
                  <a:pt x="8336364" y="1823686"/>
                </a:lnTo>
                <a:close/>
                <a:moveTo>
                  <a:pt x="8048819" y="1739246"/>
                </a:moveTo>
                <a:lnTo>
                  <a:pt x="8048402" y="1739371"/>
                </a:lnTo>
                <a:lnTo>
                  <a:pt x="8048552" y="1739284"/>
                </a:lnTo>
                <a:close/>
                <a:moveTo>
                  <a:pt x="8324782" y="1574671"/>
                </a:moveTo>
                <a:lnTo>
                  <a:pt x="8324782" y="1579841"/>
                </a:lnTo>
                <a:cubicBezTo>
                  <a:pt x="8320684" y="1619725"/>
                  <a:pt x="8415514" y="1590181"/>
                  <a:pt x="8462346" y="1585011"/>
                </a:cubicBezTo>
                <a:cubicBezTo>
                  <a:pt x="8438931" y="1599783"/>
                  <a:pt x="8415514" y="1614555"/>
                  <a:pt x="8395612" y="1629327"/>
                </a:cubicBezTo>
                <a:cubicBezTo>
                  <a:pt x="8391514" y="1634497"/>
                  <a:pt x="8379808" y="1649268"/>
                  <a:pt x="8383906" y="1649268"/>
                </a:cubicBezTo>
                <a:cubicBezTo>
                  <a:pt x="8387416" y="1649268"/>
                  <a:pt x="8391514" y="1649268"/>
                  <a:pt x="8395612" y="1649268"/>
                </a:cubicBezTo>
                <a:cubicBezTo>
                  <a:pt x="8379808" y="1654438"/>
                  <a:pt x="8364002" y="1659608"/>
                  <a:pt x="8348196" y="1664040"/>
                </a:cubicBezTo>
                <a:cubicBezTo>
                  <a:pt x="8348196" y="1664040"/>
                  <a:pt x="8348196" y="1664040"/>
                  <a:pt x="8289072" y="1679550"/>
                </a:cubicBezTo>
                <a:cubicBezTo>
                  <a:pt x="8293170" y="1674380"/>
                  <a:pt x="8293170" y="1669210"/>
                  <a:pt x="8293170" y="1664040"/>
                </a:cubicBezTo>
                <a:cubicBezTo>
                  <a:pt x="8273266" y="1669210"/>
                  <a:pt x="8258047" y="1674380"/>
                  <a:pt x="8242240" y="1679550"/>
                </a:cubicBezTo>
                <a:cubicBezTo>
                  <a:pt x="8242240" y="1674380"/>
                  <a:pt x="8242240" y="1674380"/>
                  <a:pt x="8238144" y="1674380"/>
                </a:cubicBezTo>
                <a:cubicBezTo>
                  <a:pt x="8238144" y="1674380"/>
                  <a:pt x="8238144" y="1674380"/>
                  <a:pt x="8218240" y="1683982"/>
                </a:cubicBezTo>
                <a:cubicBezTo>
                  <a:pt x="8202434" y="1689152"/>
                  <a:pt x="8183116" y="1694322"/>
                  <a:pt x="8167311" y="1703924"/>
                </a:cubicBezTo>
                <a:cubicBezTo>
                  <a:pt x="8167311" y="1703924"/>
                  <a:pt x="8167311" y="1703924"/>
                  <a:pt x="8143310" y="1709094"/>
                </a:cubicBezTo>
                <a:cubicBezTo>
                  <a:pt x="8139799" y="1709094"/>
                  <a:pt x="8131603" y="1718696"/>
                  <a:pt x="8128090" y="1723865"/>
                </a:cubicBezTo>
                <a:cubicBezTo>
                  <a:pt x="8115798" y="1729036"/>
                  <a:pt x="8104090" y="1734206"/>
                  <a:pt x="8092382" y="1734206"/>
                </a:cubicBezTo>
                <a:cubicBezTo>
                  <a:pt x="8092382" y="1734206"/>
                  <a:pt x="8092382" y="1734206"/>
                  <a:pt x="8064868" y="1738637"/>
                </a:cubicBezTo>
                <a:cubicBezTo>
                  <a:pt x="8060772" y="1738637"/>
                  <a:pt x="8056674" y="1738637"/>
                  <a:pt x="8053160" y="1738637"/>
                </a:cubicBezTo>
                <a:lnTo>
                  <a:pt x="8048819" y="1739246"/>
                </a:lnTo>
                <a:lnTo>
                  <a:pt x="8099992" y="1723865"/>
                </a:lnTo>
                <a:cubicBezTo>
                  <a:pt x="8179020" y="1698754"/>
                  <a:pt x="8253949" y="1664040"/>
                  <a:pt x="8332390" y="1639667"/>
                </a:cubicBezTo>
                <a:cubicBezTo>
                  <a:pt x="8340586" y="1639667"/>
                  <a:pt x="8352294" y="1619725"/>
                  <a:pt x="8348196" y="1619725"/>
                </a:cubicBezTo>
                <a:cubicBezTo>
                  <a:pt x="8277364" y="1639667"/>
                  <a:pt x="8206534" y="1669210"/>
                  <a:pt x="8135701" y="1694322"/>
                </a:cubicBezTo>
                <a:cubicBezTo>
                  <a:pt x="8064868" y="1718696"/>
                  <a:pt x="7994036" y="1738637"/>
                  <a:pt x="7923205" y="1753409"/>
                </a:cubicBezTo>
                <a:cubicBezTo>
                  <a:pt x="7985842" y="1729036"/>
                  <a:pt x="8060772" y="1718696"/>
                  <a:pt x="8128090" y="1694322"/>
                </a:cubicBezTo>
                <a:cubicBezTo>
                  <a:pt x="8147408" y="1683982"/>
                  <a:pt x="8170824" y="1674380"/>
                  <a:pt x="8190727" y="1664040"/>
                </a:cubicBezTo>
                <a:cubicBezTo>
                  <a:pt x="8194825" y="1659608"/>
                  <a:pt x="8210632" y="1644836"/>
                  <a:pt x="8206534" y="1639667"/>
                </a:cubicBezTo>
                <a:cubicBezTo>
                  <a:pt x="8194825" y="1639667"/>
                  <a:pt x="8183116" y="1634497"/>
                  <a:pt x="8174922" y="1634497"/>
                </a:cubicBezTo>
                <a:cubicBezTo>
                  <a:pt x="8226435" y="1619725"/>
                  <a:pt x="8277364" y="1599783"/>
                  <a:pt x="8324782" y="1574671"/>
                </a:cubicBezTo>
                <a:close/>
                <a:moveTo>
                  <a:pt x="8194825" y="1545127"/>
                </a:moveTo>
                <a:lnTo>
                  <a:pt x="8191208" y="1546067"/>
                </a:lnTo>
                <a:lnTo>
                  <a:pt x="8191240" y="1545774"/>
                </a:lnTo>
                <a:cubicBezTo>
                  <a:pt x="8191752" y="1545127"/>
                  <a:pt x="8192776" y="1545127"/>
                  <a:pt x="8194825" y="1545127"/>
                </a:cubicBezTo>
                <a:close/>
                <a:moveTo>
                  <a:pt x="8155604" y="1460928"/>
                </a:moveTo>
                <a:cubicBezTo>
                  <a:pt x="8159116" y="1460928"/>
                  <a:pt x="8159116" y="1460928"/>
                  <a:pt x="8159116" y="1460928"/>
                </a:cubicBezTo>
                <a:lnTo>
                  <a:pt x="8154848" y="1461173"/>
                </a:lnTo>
                <a:close/>
                <a:moveTo>
                  <a:pt x="8245754" y="1435816"/>
                </a:moveTo>
                <a:cubicBezTo>
                  <a:pt x="8245754" y="1435816"/>
                  <a:pt x="8245754" y="1435816"/>
                  <a:pt x="8234046" y="1440986"/>
                </a:cubicBezTo>
                <a:cubicBezTo>
                  <a:pt x="8234046" y="1440986"/>
                  <a:pt x="8234046" y="1440986"/>
                  <a:pt x="8245754" y="1435816"/>
                </a:cubicBezTo>
                <a:close/>
                <a:moveTo>
                  <a:pt x="5034154" y="1341553"/>
                </a:moveTo>
                <a:lnTo>
                  <a:pt x="5040982" y="1341923"/>
                </a:lnTo>
                <a:cubicBezTo>
                  <a:pt x="5044860" y="1342570"/>
                  <a:pt x="5048666" y="1343862"/>
                  <a:pt x="5052471" y="1346447"/>
                </a:cubicBezTo>
                <a:close/>
                <a:moveTo>
                  <a:pt x="5095923" y="1271483"/>
                </a:moveTo>
                <a:lnTo>
                  <a:pt x="5122696" y="1276944"/>
                </a:lnTo>
                <a:lnTo>
                  <a:pt x="5111384" y="1275300"/>
                </a:lnTo>
                <a:close/>
                <a:moveTo>
                  <a:pt x="5072374" y="1261510"/>
                </a:moveTo>
                <a:cubicBezTo>
                  <a:pt x="5072374" y="1261510"/>
                  <a:pt x="5072374" y="1261510"/>
                  <a:pt x="5076471" y="1266680"/>
                </a:cubicBezTo>
                <a:lnTo>
                  <a:pt x="5095923" y="1271483"/>
                </a:lnTo>
                <a:lnTo>
                  <a:pt x="5072374" y="1266680"/>
                </a:lnTo>
                <a:cubicBezTo>
                  <a:pt x="5072374" y="1266680"/>
                  <a:pt x="5072374" y="1266680"/>
                  <a:pt x="5072374" y="1261510"/>
                </a:cubicBezTo>
                <a:close/>
                <a:moveTo>
                  <a:pt x="4812596" y="1096804"/>
                </a:moveTo>
                <a:lnTo>
                  <a:pt x="4815755" y="1097393"/>
                </a:lnTo>
                <a:cubicBezTo>
                  <a:pt x="4816560" y="1097543"/>
                  <a:pt x="4816560" y="1097543"/>
                  <a:pt x="4816560" y="1097543"/>
                </a:cubicBezTo>
                <a:cubicBezTo>
                  <a:pt x="4812463" y="1097543"/>
                  <a:pt x="4812463" y="1097543"/>
                  <a:pt x="4812463" y="1097543"/>
                </a:cubicBezTo>
                <a:close/>
                <a:moveTo>
                  <a:pt x="4651788" y="986242"/>
                </a:moveTo>
                <a:lnTo>
                  <a:pt x="4657554" y="986939"/>
                </a:lnTo>
                <a:lnTo>
                  <a:pt x="4664215" y="988421"/>
                </a:lnTo>
                <a:lnTo>
                  <a:pt x="4660847" y="987955"/>
                </a:lnTo>
                <a:close/>
                <a:moveTo>
                  <a:pt x="4584161" y="973460"/>
                </a:moveTo>
                <a:lnTo>
                  <a:pt x="4651788" y="986242"/>
                </a:lnTo>
                <a:lnTo>
                  <a:pt x="4631578" y="983800"/>
                </a:lnTo>
                <a:cubicBezTo>
                  <a:pt x="4615773" y="983800"/>
                  <a:pt x="4599967" y="978630"/>
                  <a:pt x="4584161" y="973460"/>
                </a:cubicBezTo>
                <a:close/>
                <a:moveTo>
                  <a:pt x="626364" y="943916"/>
                </a:moveTo>
                <a:lnTo>
                  <a:pt x="636057" y="948808"/>
                </a:lnTo>
                <a:lnTo>
                  <a:pt x="634559" y="949086"/>
                </a:lnTo>
                <a:cubicBezTo>
                  <a:pt x="626364" y="943916"/>
                  <a:pt x="626364" y="943916"/>
                  <a:pt x="626364" y="943916"/>
                </a:cubicBezTo>
                <a:close/>
                <a:moveTo>
                  <a:pt x="197276" y="934315"/>
                </a:moveTo>
                <a:lnTo>
                  <a:pt x="214962" y="943811"/>
                </a:lnTo>
                <a:lnTo>
                  <a:pt x="213081" y="943916"/>
                </a:lnTo>
                <a:cubicBezTo>
                  <a:pt x="197276" y="934315"/>
                  <a:pt x="197276" y="934315"/>
                  <a:pt x="197276" y="934315"/>
                </a:cubicBezTo>
                <a:close/>
                <a:moveTo>
                  <a:pt x="590655" y="864148"/>
                </a:moveTo>
                <a:cubicBezTo>
                  <a:pt x="598850" y="864148"/>
                  <a:pt x="598850" y="864148"/>
                  <a:pt x="598850" y="864148"/>
                </a:cubicBezTo>
                <a:lnTo>
                  <a:pt x="611588" y="869094"/>
                </a:lnTo>
                <a:lnTo>
                  <a:pt x="610558" y="869319"/>
                </a:lnTo>
                <a:cubicBezTo>
                  <a:pt x="590655" y="864148"/>
                  <a:pt x="590655" y="864148"/>
                  <a:pt x="590655" y="864148"/>
                </a:cubicBezTo>
                <a:close/>
                <a:moveTo>
                  <a:pt x="2481454" y="769433"/>
                </a:moveTo>
                <a:lnTo>
                  <a:pt x="2515890" y="787313"/>
                </a:lnTo>
                <a:lnTo>
                  <a:pt x="2481454" y="770349"/>
                </a:lnTo>
                <a:cubicBezTo>
                  <a:pt x="2481454" y="770349"/>
                  <a:pt x="2481454" y="770349"/>
                  <a:pt x="2481454" y="769702"/>
                </a:cubicBezTo>
                <a:close/>
                <a:moveTo>
                  <a:pt x="2473259" y="765178"/>
                </a:moveTo>
                <a:cubicBezTo>
                  <a:pt x="2473259" y="765178"/>
                  <a:pt x="2473259" y="765178"/>
                  <a:pt x="2481454" y="765178"/>
                </a:cubicBezTo>
                <a:lnTo>
                  <a:pt x="2481454" y="769433"/>
                </a:lnTo>
                <a:close/>
                <a:moveTo>
                  <a:pt x="539726" y="740066"/>
                </a:moveTo>
                <a:cubicBezTo>
                  <a:pt x="541775" y="740066"/>
                  <a:pt x="542800" y="740066"/>
                  <a:pt x="542800" y="740712"/>
                </a:cubicBezTo>
                <a:lnTo>
                  <a:pt x="542730" y="740816"/>
                </a:lnTo>
                <a:close/>
                <a:moveTo>
                  <a:pt x="1879265" y="586901"/>
                </a:moveTo>
                <a:cubicBezTo>
                  <a:pt x="1876347" y="587270"/>
                  <a:pt x="1875579" y="588471"/>
                  <a:pt x="1878506" y="590871"/>
                </a:cubicBezTo>
                <a:cubicBezTo>
                  <a:pt x="1898409" y="605643"/>
                  <a:pt x="1918312" y="621153"/>
                  <a:pt x="1937629" y="635925"/>
                </a:cubicBezTo>
                <a:cubicBezTo>
                  <a:pt x="1933532" y="630755"/>
                  <a:pt x="1930019" y="630755"/>
                  <a:pt x="1921824" y="630755"/>
                </a:cubicBezTo>
                <a:cubicBezTo>
                  <a:pt x="1921824" y="630755"/>
                  <a:pt x="1921824" y="630755"/>
                  <a:pt x="1918312" y="625585"/>
                </a:cubicBezTo>
                <a:cubicBezTo>
                  <a:pt x="1910117" y="621153"/>
                  <a:pt x="1866798" y="615983"/>
                  <a:pt x="1878506" y="625585"/>
                </a:cubicBezTo>
                <a:cubicBezTo>
                  <a:pt x="1902507" y="635925"/>
                  <a:pt x="1921824" y="650697"/>
                  <a:pt x="1941727" y="660298"/>
                </a:cubicBezTo>
                <a:cubicBezTo>
                  <a:pt x="2008462" y="690581"/>
                  <a:pt x="2075781" y="715692"/>
                  <a:pt x="2142515" y="745236"/>
                </a:cubicBezTo>
                <a:cubicBezTo>
                  <a:pt x="2083391" y="705352"/>
                  <a:pt x="2024267" y="670639"/>
                  <a:pt x="1969241" y="630755"/>
                </a:cubicBezTo>
                <a:cubicBezTo>
                  <a:pt x="1985046" y="630755"/>
                  <a:pt x="1996754" y="630755"/>
                  <a:pt x="1985046" y="625585"/>
                </a:cubicBezTo>
                <a:cubicBezTo>
                  <a:pt x="1985046" y="625585"/>
                  <a:pt x="1985046" y="625585"/>
                  <a:pt x="1921824" y="596041"/>
                </a:cubicBezTo>
                <a:cubicBezTo>
                  <a:pt x="1916117" y="592163"/>
                  <a:pt x="1888018" y="585793"/>
                  <a:pt x="1879265" y="586901"/>
                </a:cubicBezTo>
                <a:close/>
                <a:moveTo>
                  <a:pt x="1941091" y="495908"/>
                </a:moveTo>
                <a:lnTo>
                  <a:pt x="1961630" y="506672"/>
                </a:lnTo>
                <a:cubicBezTo>
                  <a:pt x="1941727" y="497070"/>
                  <a:pt x="1941727" y="497070"/>
                  <a:pt x="1941727" y="497070"/>
                </a:cubicBezTo>
                <a:close/>
                <a:moveTo>
                  <a:pt x="295990" y="231531"/>
                </a:moveTo>
                <a:lnTo>
                  <a:pt x="298795" y="232933"/>
                </a:lnTo>
                <a:cubicBezTo>
                  <a:pt x="299718" y="233395"/>
                  <a:pt x="299718" y="233395"/>
                  <a:pt x="299718" y="233395"/>
                </a:cubicBezTo>
                <a:cubicBezTo>
                  <a:pt x="295621" y="233395"/>
                  <a:pt x="295621" y="233395"/>
                  <a:pt x="295621" y="233395"/>
                </a:cubicBezTo>
                <a:close/>
                <a:moveTo>
                  <a:pt x="1669872" y="148045"/>
                </a:moveTo>
                <a:lnTo>
                  <a:pt x="1677865" y="151780"/>
                </a:lnTo>
                <a:cubicBezTo>
                  <a:pt x="1681815" y="153627"/>
                  <a:pt x="1681815" y="153627"/>
                  <a:pt x="1681815" y="153627"/>
                </a:cubicBezTo>
                <a:cubicBezTo>
                  <a:pt x="1670108" y="149195"/>
                  <a:pt x="1670108" y="149195"/>
                  <a:pt x="1670108" y="149195"/>
                </a:cubicBezTo>
                <a:close/>
                <a:moveTo>
                  <a:pt x="1638219" y="97417"/>
                </a:moveTo>
                <a:lnTo>
                  <a:pt x="1644863" y="100633"/>
                </a:lnTo>
                <a:lnTo>
                  <a:pt x="1653802" y="105946"/>
                </a:lnTo>
                <a:lnTo>
                  <a:pt x="1649986" y="103865"/>
                </a:lnTo>
                <a:close/>
                <a:moveTo>
                  <a:pt x="473034" y="31371"/>
                </a:moveTo>
                <a:lnTo>
                  <a:pt x="479139" y="34067"/>
                </a:lnTo>
                <a:cubicBezTo>
                  <a:pt x="480603" y="34714"/>
                  <a:pt x="480603" y="34714"/>
                  <a:pt x="480603" y="34714"/>
                </a:cubicBezTo>
                <a:lnTo>
                  <a:pt x="478773" y="33906"/>
                </a:lnTo>
                <a:close/>
                <a:moveTo>
                  <a:pt x="468895" y="29544"/>
                </a:moveTo>
                <a:lnTo>
                  <a:pt x="473034" y="31371"/>
                </a:lnTo>
                <a:lnTo>
                  <a:pt x="471822" y="30837"/>
                </a:lnTo>
                <a:cubicBezTo>
                  <a:pt x="468895" y="29544"/>
                  <a:pt x="468895" y="29544"/>
                  <a:pt x="468895" y="29544"/>
                </a:cubicBezTo>
                <a:close/>
                <a:moveTo>
                  <a:pt x="1496834" y="19942"/>
                </a:moveTo>
                <a:lnTo>
                  <a:pt x="1638219" y="97417"/>
                </a:lnTo>
                <a:lnTo>
                  <a:pt x="1591081" y="74598"/>
                </a:lnTo>
                <a:cubicBezTo>
                  <a:pt x="1560055" y="54656"/>
                  <a:pt x="1528444" y="39884"/>
                  <a:pt x="1496834" y="19942"/>
                </a:cubicBezTo>
                <a:close/>
                <a:moveTo>
                  <a:pt x="236497" y="0"/>
                </a:moveTo>
                <a:cubicBezTo>
                  <a:pt x="264010" y="9602"/>
                  <a:pt x="288011" y="24374"/>
                  <a:pt x="315524" y="39884"/>
                </a:cubicBezTo>
                <a:cubicBezTo>
                  <a:pt x="323134" y="44316"/>
                  <a:pt x="343037" y="39884"/>
                  <a:pt x="338939" y="34714"/>
                </a:cubicBezTo>
                <a:cubicBezTo>
                  <a:pt x="338939" y="34714"/>
                  <a:pt x="338939" y="34714"/>
                  <a:pt x="319036" y="24374"/>
                </a:cubicBezTo>
                <a:cubicBezTo>
                  <a:pt x="331329" y="29544"/>
                  <a:pt x="343037" y="34714"/>
                  <a:pt x="354745" y="39884"/>
                </a:cubicBezTo>
                <a:cubicBezTo>
                  <a:pt x="350647" y="39884"/>
                  <a:pt x="350647" y="39884"/>
                  <a:pt x="350647" y="44316"/>
                </a:cubicBezTo>
                <a:cubicBezTo>
                  <a:pt x="393965" y="64257"/>
                  <a:pt x="437284" y="89370"/>
                  <a:pt x="480603" y="109312"/>
                </a:cubicBezTo>
                <a:cubicBezTo>
                  <a:pt x="504603" y="124083"/>
                  <a:pt x="528019" y="134423"/>
                  <a:pt x="551434" y="144025"/>
                </a:cubicBezTo>
                <a:cubicBezTo>
                  <a:pt x="559629" y="149195"/>
                  <a:pt x="578947" y="144025"/>
                  <a:pt x="575435" y="138855"/>
                </a:cubicBezTo>
                <a:cubicBezTo>
                  <a:pt x="563142" y="134423"/>
                  <a:pt x="551434" y="129253"/>
                  <a:pt x="543825" y="124083"/>
                </a:cubicBezTo>
                <a:cubicBezTo>
                  <a:pt x="543825" y="124083"/>
                  <a:pt x="547337" y="124083"/>
                  <a:pt x="547337" y="118913"/>
                </a:cubicBezTo>
                <a:cubicBezTo>
                  <a:pt x="555532" y="124083"/>
                  <a:pt x="567240" y="118913"/>
                  <a:pt x="567240" y="114482"/>
                </a:cubicBezTo>
                <a:cubicBezTo>
                  <a:pt x="567240" y="114482"/>
                  <a:pt x="567240" y="114482"/>
                  <a:pt x="563142" y="109312"/>
                </a:cubicBezTo>
                <a:cubicBezTo>
                  <a:pt x="563142" y="109312"/>
                  <a:pt x="563142" y="109312"/>
                  <a:pt x="555532" y="104142"/>
                </a:cubicBezTo>
                <a:cubicBezTo>
                  <a:pt x="555532" y="104142"/>
                  <a:pt x="551434" y="104142"/>
                  <a:pt x="547337" y="104142"/>
                </a:cubicBezTo>
                <a:cubicBezTo>
                  <a:pt x="516311" y="89370"/>
                  <a:pt x="488798" y="69428"/>
                  <a:pt x="457187" y="54656"/>
                </a:cubicBezTo>
                <a:cubicBezTo>
                  <a:pt x="453090" y="49486"/>
                  <a:pt x="441382" y="54656"/>
                  <a:pt x="433186" y="54656"/>
                </a:cubicBezTo>
                <a:cubicBezTo>
                  <a:pt x="429674" y="54656"/>
                  <a:pt x="425576" y="54656"/>
                  <a:pt x="421479" y="54656"/>
                </a:cubicBezTo>
                <a:cubicBezTo>
                  <a:pt x="421479" y="54656"/>
                  <a:pt x="421479" y="54656"/>
                  <a:pt x="413868" y="49486"/>
                </a:cubicBezTo>
                <a:cubicBezTo>
                  <a:pt x="425576" y="49486"/>
                  <a:pt x="433186" y="44316"/>
                  <a:pt x="429674" y="39884"/>
                </a:cubicBezTo>
                <a:cubicBezTo>
                  <a:pt x="421479" y="34714"/>
                  <a:pt x="409771" y="29544"/>
                  <a:pt x="402161" y="24374"/>
                </a:cubicBezTo>
                <a:cubicBezTo>
                  <a:pt x="421479" y="29544"/>
                  <a:pt x="437284" y="39884"/>
                  <a:pt x="457187" y="44316"/>
                </a:cubicBezTo>
                <a:cubicBezTo>
                  <a:pt x="460261" y="44316"/>
                  <a:pt x="476505" y="41823"/>
                  <a:pt x="480977" y="38395"/>
                </a:cubicBezTo>
                <a:lnTo>
                  <a:pt x="480603" y="34714"/>
                </a:lnTo>
                <a:lnTo>
                  <a:pt x="492310" y="39884"/>
                </a:lnTo>
                <a:cubicBezTo>
                  <a:pt x="484700" y="44316"/>
                  <a:pt x="480603" y="44316"/>
                  <a:pt x="480603" y="49486"/>
                </a:cubicBezTo>
                <a:cubicBezTo>
                  <a:pt x="567240" y="89370"/>
                  <a:pt x="649779" y="138855"/>
                  <a:pt x="736417" y="183909"/>
                </a:cubicBezTo>
                <a:cubicBezTo>
                  <a:pt x="740514" y="188341"/>
                  <a:pt x="763930" y="183909"/>
                  <a:pt x="760418" y="178739"/>
                </a:cubicBezTo>
                <a:cubicBezTo>
                  <a:pt x="748710" y="168398"/>
                  <a:pt x="740514" y="163967"/>
                  <a:pt x="732904" y="158797"/>
                </a:cubicBezTo>
                <a:cubicBezTo>
                  <a:pt x="752222" y="168398"/>
                  <a:pt x="768027" y="178739"/>
                  <a:pt x="787931" y="188341"/>
                </a:cubicBezTo>
                <a:cubicBezTo>
                  <a:pt x="792028" y="193510"/>
                  <a:pt x="803736" y="188341"/>
                  <a:pt x="807834" y="183909"/>
                </a:cubicBezTo>
                <a:cubicBezTo>
                  <a:pt x="807834" y="183909"/>
                  <a:pt x="807834" y="183909"/>
                  <a:pt x="819541" y="188341"/>
                </a:cubicBezTo>
                <a:cubicBezTo>
                  <a:pt x="886276" y="228224"/>
                  <a:pt x="957107" y="262938"/>
                  <a:pt x="1027939" y="293220"/>
                </a:cubicBezTo>
                <a:cubicBezTo>
                  <a:pt x="1032036" y="293220"/>
                  <a:pt x="1032036" y="293220"/>
                  <a:pt x="1036135" y="293220"/>
                </a:cubicBezTo>
                <a:cubicBezTo>
                  <a:pt x="1063648" y="307992"/>
                  <a:pt x="1091161" y="317594"/>
                  <a:pt x="1118674" y="333104"/>
                </a:cubicBezTo>
                <a:cubicBezTo>
                  <a:pt x="1126284" y="333104"/>
                  <a:pt x="1146188" y="327933"/>
                  <a:pt x="1142089" y="322763"/>
                </a:cubicBezTo>
                <a:cubicBezTo>
                  <a:pt x="1142089" y="322763"/>
                  <a:pt x="1142089" y="322763"/>
                  <a:pt x="1095259" y="302822"/>
                </a:cubicBezTo>
                <a:cubicBezTo>
                  <a:pt x="1114576" y="307992"/>
                  <a:pt x="1134480" y="313162"/>
                  <a:pt x="1150285" y="317594"/>
                </a:cubicBezTo>
                <a:cubicBezTo>
                  <a:pt x="1154382" y="317594"/>
                  <a:pt x="1169602" y="317594"/>
                  <a:pt x="1173700" y="313162"/>
                </a:cubicBezTo>
                <a:cubicBezTo>
                  <a:pt x="1262386" y="357846"/>
                  <a:pt x="1351950" y="401239"/>
                  <a:pt x="1442539" y="443430"/>
                </a:cubicBezTo>
                <a:lnTo>
                  <a:pt x="1708557" y="562485"/>
                </a:lnTo>
                <a:lnTo>
                  <a:pt x="1709402" y="563266"/>
                </a:lnTo>
                <a:cubicBezTo>
                  <a:pt x="1712403" y="565205"/>
                  <a:pt x="1715476" y="566498"/>
                  <a:pt x="1717525" y="566498"/>
                </a:cubicBezTo>
                <a:lnTo>
                  <a:pt x="1708557" y="562485"/>
                </a:lnTo>
                <a:lnTo>
                  <a:pt x="1701719" y="556157"/>
                </a:lnTo>
                <a:cubicBezTo>
                  <a:pt x="1725135" y="570930"/>
                  <a:pt x="1745038" y="581270"/>
                  <a:pt x="1768453" y="590871"/>
                </a:cubicBezTo>
                <a:cubicBezTo>
                  <a:pt x="1772551" y="590871"/>
                  <a:pt x="1772551" y="590871"/>
                  <a:pt x="1776063" y="590871"/>
                </a:cubicBezTo>
                <a:cubicBezTo>
                  <a:pt x="1784259" y="596041"/>
                  <a:pt x="1823479" y="601211"/>
                  <a:pt x="1807674" y="596041"/>
                </a:cubicBezTo>
                <a:cubicBezTo>
                  <a:pt x="1725135" y="541385"/>
                  <a:pt x="1638497" y="491900"/>
                  <a:pt x="1560055" y="437245"/>
                </a:cubicBezTo>
                <a:cubicBezTo>
                  <a:pt x="1595179" y="457186"/>
                  <a:pt x="1634399" y="477129"/>
                  <a:pt x="1674206" y="497070"/>
                </a:cubicBezTo>
                <a:cubicBezTo>
                  <a:pt x="1681815" y="501502"/>
                  <a:pt x="1697622" y="501502"/>
                  <a:pt x="1705231" y="501502"/>
                </a:cubicBezTo>
                <a:cubicBezTo>
                  <a:pt x="1705231" y="501502"/>
                  <a:pt x="1705231" y="501502"/>
                  <a:pt x="1740940" y="521444"/>
                </a:cubicBezTo>
                <a:cubicBezTo>
                  <a:pt x="1752647" y="526613"/>
                  <a:pt x="1788356" y="531784"/>
                  <a:pt x="1780160" y="521444"/>
                </a:cubicBezTo>
                <a:cubicBezTo>
                  <a:pt x="1736842" y="497070"/>
                  <a:pt x="1697622" y="477129"/>
                  <a:pt x="1658401" y="452016"/>
                </a:cubicBezTo>
                <a:cubicBezTo>
                  <a:pt x="1705231" y="477129"/>
                  <a:pt x="1752647" y="501502"/>
                  <a:pt x="1800064" y="521444"/>
                </a:cubicBezTo>
                <a:cubicBezTo>
                  <a:pt x="1807674" y="526613"/>
                  <a:pt x="1847480" y="536215"/>
                  <a:pt x="1835187" y="526613"/>
                </a:cubicBezTo>
                <a:cubicBezTo>
                  <a:pt x="1835187" y="526613"/>
                  <a:pt x="1835187" y="526613"/>
                  <a:pt x="1788356" y="497070"/>
                </a:cubicBezTo>
                <a:cubicBezTo>
                  <a:pt x="1795965" y="501502"/>
                  <a:pt x="1835187" y="506672"/>
                  <a:pt x="1823479" y="497070"/>
                </a:cubicBezTo>
                <a:cubicBezTo>
                  <a:pt x="1795965" y="477129"/>
                  <a:pt x="1772551" y="461618"/>
                  <a:pt x="1745038" y="446846"/>
                </a:cubicBezTo>
                <a:cubicBezTo>
                  <a:pt x="1745038" y="446846"/>
                  <a:pt x="1745038" y="446846"/>
                  <a:pt x="1748549" y="446846"/>
                </a:cubicBezTo>
                <a:cubicBezTo>
                  <a:pt x="1756746" y="446846"/>
                  <a:pt x="1795965" y="457186"/>
                  <a:pt x="1784259" y="446846"/>
                </a:cubicBezTo>
                <a:cubicBezTo>
                  <a:pt x="1725135" y="412132"/>
                  <a:pt x="1670108" y="377419"/>
                  <a:pt x="1615082" y="337535"/>
                </a:cubicBezTo>
                <a:cubicBezTo>
                  <a:pt x="1674206" y="362647"/>
                  <a:pt x="1729232" y="392191"/>
                  <a:pt x="1788356" y="417303"/>
                </a:cubicBezTo>
                <a:cubicBezTo>
                  <a:pt x="1791868" y="417303"/>
                  <a:pt x="1831674" y="426904"/>
                  <a:pt x="1819382" y="417303"/>
                </a:cubicBezTo>
                <a:cubicBezTo>
                  <a:pt x="1800064" y="402531"/>
                  <a:pt x="1784259" y="392191"/>
                  <a:pt x="1764355" y="377419"/>
                </a:cubicBezTo>
                <a:cubicBezTo>
                  <a:pt x="1776063" y="382590"/>
                  <a:pt x="1791868" y="382590"/>
                  <a:pt x="1788356" y="377419"/>
                </a:cubicBezTo>
                <a:cubicBezTo>
                  <a:pt x="1835187" y="406963"/>
                  <a:pt x="1878506" y="432075"/>
                  <a:pt x="1921824" y="457186"/>
                </a:cubicBezTo>
                <a:cubicBezTo>
                  <a:pt x="1914214" y="457186"/>
                  <a:pt x="1910117" y="457186"/>
                  <a:pt x="1918312" y="461618"/>
                </a:cubicBezTo>
                <a:cubicBezTo>
                  <a:pt x="1937629" y="471958"/>
                  <a:pt x="1957533" y="486730"/>
                  <a:pt x="1976851" y="497070"/>
                </a:cubicBezTo>
                <a:cubicBezTo>
                  <a:pt x="1965436" y="493193"/>
                  <a:pt x="1944800" y="492223"/>
                  <a:pt x="1940136" y="494162"/>
                </a:cubicBezTo>
                <a:lnTo>
                  <a:pt x="1941091" y="495908"/>
                </a:lnTo>
                <a:lnTo>
                  <a:pt x="1847480" y="446846"/>
                </a:lnTo>
                <a:cubicBezTo>
                  <a:pt x="1839284" y="441676"/>
                  <a:pt x="1795965" y="432075"/>
                  <a:pt x="1811772" y="441676"/>
                </a:cubicBezTo>
                <a:cubicBezTo>
                  <a:pt x="1843383" y="466788"/>
                  <a:pt x="1874993" y="486730"/>
                  <a:pt x="1906604" y="506672"/>
                </a:cubicBezTo>
                <a:cubicBezTo>
                  <a:pt x="1898409" y="501502"/>
                  <a:pt x="1886701" y="501502"/>
                  <a:pt x="1878506" y="497070"/>
                </a:cubicBezTo>
                <a:cubicBezTo>
                  <a:pt x="1874993" y="497070"/>
                  <a:pt x="1843383" y="491900"/>
                  <a:pt x="1859188" y="501502"/>
                </a:cubicBezTo>
                <a:cubicBezTo>
                  <a:pt x="1921824" y="551726"/>
                  <a:pt x="1992656" y="586439"/>
                  <a:pt x="2064073" y="621153"/>
                </a:cubicBezTo>
                <a:cubicBezTo>
                  <a:pt x="2059976" y="621153"/>
                  <a:pt x="2059976" y="621153"/>
                  <a:pt x="2064073" y="625585"/>
                </a:cubicBezTo>
                <a:cubicBezTo>
                  <a:pt x="2064073" y="625585"/>
                  <a:pt x="2064073" y="625585"/>
                  <a:pt x="2071683" y="630755"/>
                </a:cubicBezTo>
                <a:cubicBezTo>
                  <a:pt x="2024267" y="605643"/>
                  <a:pt x="1976851" y="581270"/>
                  <a:pt x="1930019" y="556157"/>
                </a:cubicBezTo>
                <a:cubicBezTo>
                  <a:pt x="1914214" y="546556"/>
                  <a:pt x="1878506" y="546556"/>
                  <a:pt x="1890799" y="551726"/>
                </a:cubicBezTo>
                <a:cubicBezTo>
                  <a:pt x="1961630" y="596041"/>
                  <a:pt x="2040072" y="641096"/>
                  <a:pt x="2110904" y="690581"/>
                </a:cubicBezTo>
                <a:cubicBezTo>
                  <a:pt x="2119100" y="695751"/>
                  <a:pt x="2138417" y="695751"/>
                  <a:pt x="2146613" y="695751"/>
                </a:cubicBezTo>
                <a:cubicBezTo>
                  <a:pt x="2205737" y="730464"/>
                  <a:pt x="2264861" y="765178"/>
                  <a:pt x="2315790" y="799892"/>
                </a:cubicBezTo>
                <a:cubicBezTo>
                  <a:pt x="2249056" y="770349"/>
                  <a:pt x="2181736" y="734896"/>
                  <a:pt x="2115002" y="700182"/>
                </a:cubicBezTo>
                <a:cubicBezTo>
                  <a:pt x="2099197" y="695751"/>
                  <a:pt x="2059976" y="690581"/>
                  <a:pt x="2071683" y="695751"/>
                </a:cubicBezTo>
                <a:cubicBezTo>
                  <a:pt x="2099197" y="715692"/>
                  <a:pt x="2126710" y="730464"/>
                  <a:pt x="2154223" y="745236"/>
                </a:cubicBezTo>
                <a:cubicBezTo>
                  <a:pt x="2363206" y="829435"/>
                  <a:pt x="2575701" y="904032"/>
                  <a:pt x="2788196" y="973460"/>
                </a:cubicBezTo>
                <a:cubicBezTo>
                  <a:pt x="2654729" y="909203"/>
                  <a:pt x="2516576" y="859717"/>
                  <a:pt x="2386621" y="785120"/>
                </a:cubicBezTo>
                <a:cubicBezTo>
                  <a:pt x="2489064" y="824265"/>
                  <a:pt x="2611410" y="894431"/>
                  <a:pt x="2713852" y="938746"/>
                </a:cubicBezTo>
                <a:cubicBezTo>
                  <a:pt x="2725560" y="938746"/>
                  <a:pt x="2764781" y="943916"/>
                  <a:pt x="2748976" y="934315"/>
                </a:cubicBezTo>
                <a:cubicBezTo>
                  <a:pt x="2682241" y="898862"/>
                  <a:pt x="2607312" y="869319"/>
                  <a:pt x="2536480" y="829435"/>
                </a:cubicBezTo>
                <a:cubicBezTo>
                  <a:pt x="2619019" y="864148"/>
                  <a:pt x="2709755" y="914373"/>
                  <a:pt x="2788196" y="943916"/>
                </a:cubicBezTo>
                <a:cubicBezTo>
                  <a:pt x="2796392" y="949086"/>
                  <a:pt x="2839710" y="949086"/>
                  <a:pt x="2823905" y="943916"/>
                </a:cubicBezTo>
                <a:cubicBezTo>
                  <a:pt x="2766830" y="914003"/>
                  <a:pt x="2707706" y="885383"/>
                  <a:pt x="2648581" y="856209"/>
                </a:cubicBezTo>
                <a:lnTo>
                  <a:pt x="2515890" y="787313"/>
                </a:lnTo>
                <a:lnTo>
                  <a:pt x="2621068" y="839129"/>
                </a:lnTo>
                <a:cubicBezTo>
                  <a:pt x="2667314" y="860825"/>
                  <a:pt x="2713559" y="881875"/>
                  <a:pt x="2760683" y="904032"/>
                </a:cubicBezTo>
                <a:cubicBezTo>
                  <a:pt x="2776489" y="909203"/>
                  <a:pt x="2808099" y="909203"/>
                  <a:pt x="2799904" y="904032"/>
                </a:cubicBezTo>
                <a:cubicBezTo>
                  <a:pt x="2799904" y="904032"/>
                  <a:pt x="2799904" y="904032"/>
                  <a:pt x="2788196" y="898862"/>
                </a:cubicBezTo>
                <a:cubicBezTo>
                  <a:pt x="2804002" y="904032"/>
                  <a:pt x="2831515" y="898862"/>
                  <a:pt x="2815710" y="894431"/>
                </a:cubicBezTo>
                <a:cubicBezTo>
                  <a:pt x="2808099" y="889261"/>
                  <a:pt x="2776489" y="878920"/>
                  <a:pt x="2748976" y="864148"/>
                </a:cubicBezTo>
                <a:cubicBezTo>
                  <a:pt x="2764781" y="869319"/>
                  <a:pt x="2788196" y="869319"/>
                  <a:pt x="2780586" y="864148"/>
                </a:cubicBezTo>
                <a:cubicBezTo>
                  <a:pt x="2753073" y="849377"/>
                  <a:pt x="2725560" y="839776"/>
                  <a:pt x="2698047" y="824265"/>
                </a:cubicBezTo>
                <a:cubicBezTo>
                  <a:pt x="2709755" y="824265"/>
                  <a:pt x="2725560" y="824265"/>
                  <a:pt x="2717364" y="819833"/>
                </a:cubicBezTo>
                <a:cubicBezTo>
                  <a:pt x="2638923" y="770349"/>
                  <a:pt x="2555798" y="725294"/>
                  <a:pt x="2473259" y="680240"/>
                </a:cubicBezTo>
                <a:cubicBezTo>
                  <a:pt x="2394816" y="635925"/>
                  <a:pt x="2311692" y="586439"/>
                  <a:pt x="2229152" y="541385"/>
                </a:cubicBezTo>
                <a:cubicBezTo>
                  <a:pt x="2233250" y="541385"/>
                  <a:pt x="2237347" y="541385"/>
                  <a:pt x="2233250" y="536215"/>
                </a:cubicBezTo>
                <a:cubicBezTo>
                  <a:pt x="2233250" y="536215"/>
                  <a:pt x="2233250" y="536215"/>
                  <a:pt x="2099197" y="461618"/>
                </a:cubicBezTo>
                <a:cubicBezTo>
                  <a:pt x="2087488" y="452016"/>
                  <a:pt x="2075781" y="441676"/>
                  <a:pt x="2064073" y="437245"/>
                </a:cubicBezTo>
                <a:cubicBezTo>
                  <a:pt x="2064073" y="437245"/>
                  <a:pt x="2064073" y="437245"/>
                  <a:pt x="2067586" y="437245"/>
                </a:cubicBezTo>
                <a:cubicBezTo>
                  <a:pt x="2106806" y="461618"/>
                  <a:pt x="2150125" y="481560"/>
                  <a:pt x="2189931" y="506672"/>
                </a:cubicBezTo>
                <a:cubicBezTo>
                  <a:pt x="2205737" y="511843"/>
                  <a:pt x="2237347" y="511843"/>
                  <a:pt x="2229152" y="506672"/>
                </a:cubicBezTo>
                <a:cubicBezTo>
                  <a:pt x="2150125" y="466788"/>
                  <a:pt x="2067586" y="422473"/>
                  <a:pt x="2000851" y="367817"/>
                </a:cubicBezTo>
                <a:cubicBezTo>
                  <a:pt x="1985046" y="357477"/>
                  <a:pt x="1949337" y="357477"/>
                  <a:pt x="1953435" y="362647"/>
                </a:cubicBezTo>
                <a:cubicBezTo>
                  <a:pt x="1953435" y="362647"/>
                  <a:pt x="1953435" y="362647"/>
                  <a:pt x="1961630" y="367817"/>
                </a:cubicBezTo>
                <a:cubicBezTo>
                  <a:pt x="1961630" y="367817"/>
                  <a:pt x="1961630" y="367817"/>
                  <a:pt x="1855090" y="302822"/>
                </a:cubicBezTo>
                <a:cubicBezTo>
                  <a:pt x="1866798" y="307992"/>
                  <a:pt x="1878506" y="307992"/>
                  <a:pt x="1870896" y="302822"/>
                </a:cubicBezTo>
                <a:cubicBezTo>
                  <a:pt x="1870896" y="297651"/>
                  <a:pt x="1870896" y="297651"/>
                  <a:pt x="1866798" y="297651"/>
                </a:cubicBezTo>
                <a:cubicBezTo>
                  <a:pt x="1866798" y="297651"/>
                  <a:pt x="1866798" y="297651"/>
                  <a:pt x="1855090" y="288050"/>
                </a:cubicBezTo>
                <a:cubicBezTo>
                  <a:pt x="1866798" y="293220"/>
                  <a:pt x="1882603" y="293220"/>
                  <a:pt x="1878506" y="288050"/>
                </a:cubicBezTo>
                <a:cubicBezTo>
                  <a:pt x="1847480" y="268108"/>
                  <a:pt x="1819382" y="253336"/>
                  <a:pt x="1791868" y="233395"/>
                </a:cubicBezTo>
                <a:cubicBezTo>
                  <a:pt x="1795965" y="233395"/>
                  <a:pt x="1800064" y="238564"/>
                  <a:pt x="1803576" y="238564"/>
                </a:cubicBezTo>
                <a:cubicBezTo>
                  <a:pt x="1803576" y="238564"/>
                  <a:pt x="1803576" y="238564"/>
                  <a:pt x="1898409" y="297651"/>
                </a:cubicBezTo>
                <a:cubicBezTo>
                  <a:pt x="1906604" y="302822"/>
                  <a:pt x="1925922" y="307992"/>
                  <a:pt x="1933532" y="302822"/>
                </a:cubicBezTo>
                <a:cubicBezTo>
                  <a:pt x="2024267" y="357477"/>
                  <a:pt x="2115002" y="406963"/>
                  <a:pt x="2205737" y="461618"/>
                </a:cubicBezTo>
                <a:cubicBezTo>
                  <a:pt x="2221542" y="471958"/>
                  <a:pt x="2256666" y="471958"/>
                  <a:pt x="2244958" y="466788"/>
                </a:cubicBezTo>
                <a:cubicBezTo>
                  <a:pt x="2146613" y="406963"/>
                  <a:pt x="2048267" y="347876"/>
                  <a:pt x="1945825" y="293220"/>
                </a:cubicBezTo>
                <a:cubicBezTo>
                  <a:pt x="1937629" y="288050"/>
                  <a:pt x="1921824" y="288050"/>
                  <a:pt x="1914214" y="288050"/>
                </a:cubicBezTo>
                <a:cubicBezTo>
                  <a:pt x="1843383" y="242996"/>
                  <a:pt x="1776063" y="198680"/>
                  <a:pt x="1709328" y="153627"/>
                </a:cubicBezTo>
                <a:cubicBezTo>
                  <a:pt x="1697475" y="146426"/>
                  <a:pt x="1674755" y="141717"/>
                  <a:pt x="1669075" y="144176"/>
                </a:cubicBezTo>
                <a:lnTo>
                  <a:pt x="1669872" y="148045"/>
                </a:lnTo>
                <a:lnTo>
                  <a:pt x="1668480" y="147394"/>
                </a:lnTo>
                <a:cubicBezTo>
                  <a:pt x="1664035" y="145318"/>
                  <a:pt x="1658107" y="142548"/>
                  <a:pt x="1650205" y="138855"/>
                </a:cubicBezTo>
                <a:cubicBezTo>
                  <a:pt x="1606887" y="114482"/>
                  <a:pt x="1567666" y="84199"/>
                  <a:pt x="1528444" y="59826"/>
                </a:cubicBezTo>
                <a:cubicBezTo>
                  <a:pt x="1536055" y="64257"/>
                  <a:pt x="1547762" y="64257"/>
                  <a:pt x="1555958" y="69428"/>
                </a:cubicBezTo>
                <a:cubicBezTo>
                  <a:pt x="1591081" y="89370"/>
                  <a:pt x="1626790" y="109312"/>
                  <a:pt x="1661913" y="129253"/>
                </a:cubicBezTo>
                <a:cubicBezTo>
                  <a:pt x="1674206" y="134423"/>
                  <a:pt x="1709328" y="138855"/>
                  <a:pt x="1701719" y="134423"/>
                </a:cubicBezTo>
                <a:lnTo>
                  <a:pt x="1653802" y="105946"/>
                </a:lnTo>
                <a:lnTo>
                  <a:pt x="1725601" y="145098"/>
                </a:lnTo>
                <a:cubicBezTo>
                  <a:pt x="1750635" y="158520"/>
                  <a:pt x="1775478" y="171537"/>
                  <a:pt x="1800064" y="183909"/>
                </a:cubicBezTo>
                <a:cubicBezTo>
                  <a:pt x="1811772" y="188341"/>
                  <a:pt x="1850993" y="193510"/>
                  <a:pt x="1835187" y="183909"/>
                </a:cubicBezTo>
                <a:cubicBezTo>
                  <a:pt x="1745038" y="124083"/>
                  <a:pt x="1658401" y="69428"/>
                  <a:pt x="1571763" y="9602"/>
                </a:cubicBezTo>
                <a:cubicBezTo>
                  <a:pt x="1599276" y="24374"/>
                  <a:pt x="1630302" y="39884"/>
                  <a:pt x="1658401" y="54656"/>
                </a:cubicBezTo>
                <a:cubicBezTo>
                  <a:pt x="1666011" y="59826"/>
                  <a:pt x="1697622" y="64257"/>
                  <a:pt x="1697622" y="59826"/>
                </a:cubicBezTo>
                <a:cubicBezTo>
                  <a:pt x="1713427" y="59826"/>
                  <a:pt x="1725135" y="59826"/>
                  <a:pt x="1717525" y="54656"/>
                </a:cubicBezTo>
                <a:cubicBezTo>
                  <a:pt x="1689426" y="39884"/>
                  <a:pt x="1661913" y="19942"/>
                  <a:pt x="1638497" y="4431"/>
                </a:cubicBezTo>
                <a:cubicBezTo>
                  <a:pt x="1705231" y="39884"/>
                  <a:pt x="1768453" y="74598"/>
                  <a:pt x="1835187" y="114482"/>
                </a:cubicBezTo>
                <a:cubicBezTo>
                  <a:pt x="1847480" y="118913"/>
                  <a:pt x="1886701" y="124083"/>
                  <a:pt x="1874993" y="114482"/>
                </a:cubicBezTo>
                <a:cubicBezTo>
                  <a:pt x="1874993" y="114482"/>
                  <a:pt x="1874993" y="114482"/>
                  <a:pt x="1740940" y="34714"/>
                </a:cubicBezTo>
                <a:cubicBezTo>
                  <a:pt x="1740940" y="34714"/>
                  <a:pt x="1740940" y="34714"/>
                  <a:pt x="1745038" y="34714"/>
                </a:cubicBezTo>
                <a:cubicBezTo>
                  <a:pt x="1811772" y="74598"/>
                  <a:pt x="1878506" y="109312"/>
                  <a:pt x="1941727" y="149195"/>
                </a:cubicBezTo>
                <a:cubicBezTo>
                  <a:pt x="1957533" y="158797"/>
                  <a:pt x="1989144" y="158797"/>
                  <a:pt x="1980948" y="153627"/>
                </a:cubicBezTo>
                <a:cubicBezTo>
                  <a:pt x="1980948" y="153627"/>
                  <a:pt x="1980948" y="153627"/>
                  <a:pt x="1945825" y="134423"/>
                </a:cubicBezTo>
                <a:cubicBezTo>
                  <a:pt x="1965143" y="144025"/>
                  <a:pt x="1989144" y="153627"/>
                  <a:pt x="2012559" y="163967"/>
                </a:cubicBezTo>
                <a:cubicBezTo>
                  <a:pt x="2004949" y="163967"/>
                  <a:pt x="2004949" y="168398"/>
                  <a:pt x="2004949" y="168398"/>
                </a:cubicBezTo>
                <a:cubicBezTo>
                  <a:pt x="2087488" y="213452"/>
                  <a:pt x="2170028" y="258506"/>
                  <a:pt x="2249056" y="293220"/>
                </a:cubicBezTo>
                <a:cubicBezTo>
                  <a:pt x="2292374" y="317594"/>
                  <a:pt x="2335693" y="342705"/>
                  <a:pt x="2374914" y="367817"/>
                </a:cubicBezTo>
                <a:cubicBezTo>
                  <a:pt x="2390719" y="372249"/>
                  <a:pt x="2426427" y="372249"/>
                  <a:pt x="2414135" y="367817"/>
                </a:cubicBezTo>
                <a:cubicBezTo>
                  <a:pt x="2394816" y="357477"/>
                  <a:pt x="2379011" y="347876"/>
                  <a:pt x="2359108" y="337535"/>
                </a:cubicBezTo>
                <a:cubicBezTo>
                  <a:pt x="2359108" y="337535"/>
                  <a:pt x="2363206" y="337535"/>
                  <a:pt x="2367303" y="337535"/>
                </a:cubicBezTo>
                <a:cubicBezTo>
                  <a:pt x="2382524" y="342705"/>
                  <a:pt x="2402426" y="342705"/>
                  <a:pt x="2394816" y="337535"/>
                </a:cubicBezTo>
                <a:cubicBezTo>
                  <a:pt x="2394816" y="337535"/>
                  <a:pt x="2394816" y="337535"/>
                  <a:pt x="2390719" y="327933"/>
                </a:cubicBezTo>
                <a:cubicBezTo>
                  <a:pt x="2390719" y="327933"/>
                  <a:pt x="2390719" y="327933"/>
                  <a:pt x="2379011" y="322763"/>
                </a:cubicBezTo>
                <a:cubicBezTo>
                  <a:pt x="2370816" y="317594"/>
                  <a:pt x="2367303" y="317594"/>
                  <a:pt x="2359108" y="317594"/>
                </a:cubicBezTo>
                <a:cubicBezTo>
                  <a:pt x="2304082" y="288050"/>
                  <a:pt x="2249056" y="253336"/>
                  <a:pt x="2194029" y="223054"/>
                </a:cubicBezTo>
                <a:cubicBezTo>
                  <a:pt x="2181736" y="218623"/>
                  <a:pt x="2162418" y="218623"/>
                  <a:pt x="2154223" y="218623"/>
                </a:cubicBezTo>
                <a:cubicBezTo>
                  <a:pt x="2154223" y="218623"/>
                  <a:pt x="2154223" y="218623"/>
                  <a:pt x="2146613" y="213452"/>
                </a:cubicBezTo>
                <a:cubicBezTo>
                  <a:pt x="2146613" y="213452"/>
                  <a:pt x="2138417" y="213452"/>
                  <a:pt x="2134905" y="213452"/>
                </a:cubicBezTo>
                <a:cubicBezTo>
                  <a:pt x="2134905" y="213452"/>
                  <a:pt x="2134905" y="213452"/>
                  <a:pt x="2119100" y="203851"/>
                </a:cubicBezTo>
                <a:cubicBezTo>
                  <a:pt x="2134905" y="203851"/>
                  <a:pt x="2150125" y="203851"/>
                  <a:pt x="2142515" y="198680"/>
                </a:cubicBezTo>
                <a:cubicBezTo>
                  <a:pt x="2122612" y="188341"/>
                  <a:pt x="2106806" y="178739"/>
                  <a:pt x="2087488" y="168398"/>
                </a:cubicBezTo>
                <a:cubicBezTo>
                  <a:pt x="2122612" y="183909"/>
                  <a:pt x="2158321" y="198680"/>
                  <a:pt x="2189931" y="213452"/>
                </a:cubicBezTo>
                <a:cubicBezTo>
                  <a:pt x="2197542" y="213452"/>
                  <a:pt x="2240860" y="223054"/>
                  <a:pt x="2225055" y="213452"/>
                </a:cubicBezTo>
                <a:cubicBezTo>
                  <a:pt x="2225055" y="213452"/>
                  <a:pt x="2225055" y="213452"/>
                  <a:pt x="2205737" y="198680"/>
                </a:cubicBezTo>
                <a:cubicBezTo>
                  <a:pt x="2205737" y="198680"/>
                  <a:pt x="2205737" y="198680"/>
                  <a:pt x="2253153" y="223054"/>
                </a:cubicBezTo>
                <a:cubicBezTo>
                  <a:pt x="2237347" y="223054"/>
                  <a:pt x="2229152" y="223054"/>
                  <a:pt x="2233250" y="228224"/>
                </a:cubicBezTo>
                <a:cubicBezTo>
                  <a:pt x="2394816" y="307992"/>
                  <a:pt x="2548188" y="406963"/>
                  <a:pt x="2709755" y="481560"/>
                </a:cubicBezTo>
                <a:cubicBezTo>
                  <a:pt x="2721462" y="486730"/>
                  <a:pt x="2760683" y="491900"/>
                  <a:pt x="2748976" y="481560"/>
                </a:cubicBezTo>
                <a:cubicBezTo>
                  <a:pt x="2748976" y="481560"/>
                  <a:pt x="2748976" y="481560"/>
                  <a:pt x="2698047" y="452016"/>
                </a:cubicBezTo>
                <a:cubicBezTo>
                  <a:pt x="2733170" y="466788"/>
                  <a:pt x="2764781" y="486730"/>
                  <a:pt x="2799904" y="501502"/>
                </a:cubicBezTo>
                <a:cubicBezTo>
                  <a:pt x="2812197" y="506672"/>
                  <a:pt x="2831515" y="506672"/>
                  <a:pt x="2839710" y="506672"/>
                </a:cubicBezTo>
                <a:cubicBezTo>
                  <a:pt x="2839710" y="506672"/>
                  <a:pt x="2839710" y="506672"/>
                  <a:pt x="2855515" y="511843"/>
                </a:cubicBezTo>
                <a:cubicBezTo>
                  <a:pt x="2918152" y="551726"/>
                  <a:pt x="2985472" y="586439"/>
                  <a:pt x="3052206" y="615983"/>
                </a:cubicBezTo>
                <a:cubicBezTo>
                  <a:pt x="3115427" y="645527"/>
                  <a:pt x="3186259" y="675809"/>
                  <a:pt x="3252993" y="700182"/>
                </a:cubicBezTo>
                <a:cubicBezTo>
                  <a:pt x="3257090" y="705352"/>
                  <a:pt x="3261189" y="705352"/>
                  <a:pt x="3264701" y="705352"/>
                </a:cubicBezTo>
                <a:cubicBezTo>
                  <a:pt x="3316215" y="725294"/>
                  <a:pt x="3371241" y="750406"/>
                  <a:pt x="3422169" y="774779"/>
                </a:cubicBezTo>
                <a:cubicBezTo>
                  <a:pt x="3437975" y="779950"/>
                  <a:pt x="3469585" y="774779"/>
                  <a:pt x="3461976" y="770349"/>
                </a:cubicBezTo>
                <a:cubicBezTo>
                  <a:pt x="3430365" y="760008"/>
                  <a:pt x="3402852" y="745236"/>
                  <a:pt x="3371241" y="734896"/>
                </a:cubicBezTo>
                <a:cubicBezTo>
                  <a:pt x="3406949" y="745236"/>
                  <a:pt x="3442072" y="760008"/>
                  <a:pt x="3473683" y="770349"/>
                </a:cubicBezTo>
                <a:cubicBezTo>
                  <a:pt x="3481293" y="770349"/>
                  <a:pt x="3505295" y="774779"/>
                  <a:pt x="3512904" y="774779"/>
                </a:cubicBezTo>
                <a:cubicBezTo>
                  <a:pt x="3891065" y="938746"/>
                  <a:pt x="4269224" y="1087941"/>
                  <a:pt x="4654993" y="1222365"/>
                </a:cubicBezTo>
                <a:cubicBezTo>
                  <a:pt x="4682507" y="1222365"/>
                  <a:pt x="4705922" y="1222365"/>
                  <a:pt x="4729923" y="1217194"/>
                </a:cubicBezTo>
                <a:cubicBezTo>
                  <a:pt x="4734021" y="1217194"/>
                  <a:pt x="4753338" y="1207593"/>
                  <a:pt x="4745728" y="1207593"/>
                </a:cubicBezTo>
                <a:cubicBezTo>
                  <a:pt x="4737533" y="1202422"/>
                  <a:pt x="4729923" y="1197252"/>
                  <a:pt x="4721728" y="1192082"/>
                </a:cubicBezTo>
                <a:cubicBezTo>
                  <a:pt x="4725826" y="1192082"/>
                  <a:pt x="4734021" y="1187651"/>
                  <a:pt x="4734021" y="1182481"/>
                </a:cubicBezTo>
                <a:cubicBezTo>
                  <a:pt x="4753338" y="1187651"/>
                  <a:pt x="4777339" y="1192082"/>
                  <a:pt x="4800755" y="1197252"/>
                </a:cubicBezTo>
                <a:cubicBezTo>
                  <a:pt x="4796657" y="1202422"/>
                  <a:pt x="4793145" y="1202422"/>
                  <a:pt x="4796657" y="1202422"/>
                </a:cubicBezTo>
                <a:cubicBezTo>
                  <a:pt x="4804852" y="1207593"/>
                  <a:pt x="4816560" y="1212024"/>
                  <a:pt x="4824170" y="1212024"/>
                </a:cubicBezTo>
                <a:cubicBezTo>
                  <a:pt x="4816560" y="1217194"/>
                  <a:pt x="4804852" y="1226796"/>
                  <a:pt x="4808366" y="1226796"/>
                </a:cubicBezTo>
                <a:cubicBezTo>
                  <a:pt x="4808366" y="1226796"/>
                  <a:pt x="4808366" y="1226796"/>
                  <a:pt x="4816560" y="1231966"/>
                </a:cubicBezTo>
                <a:cubicBezTo>
                  <a:pt x="4796657" y="1226796"/>
                  <a:pt x="4780851" y="1222365"/>
                  <a:pt x="4761534" y="1222365"/>
                </a:cubicBezTo>
                <a:cubicBezTo>
                  <a:pt x="4757436" y="1222365"/>
                  <a:pt x="4737533" y="1231966"/>
                  <a:pt x="4741631" y="1231966"/>
                </a:cubicBezTo>
                <a:cubicBezTo>
                  <a:pt x="4757436" y="1242306"/>
                  <a:pt x="4777339" y="1246738"/>
                  <a:pt x="4793145" y="1251908"/>
                </a:cubicBezTo>
                <a:cubicBezTo>
                  <a:pt x="4784950" y="1251908"/>
                  <a:pt x="4780851" y="1251908"/>
                  <a:pt x="4777339" y="1257078"/>
                </a:cubicBezTo>
                <a:cubicBezTo>
                  <a:pt x="4777339" y="1257078"/>
                  <a:pt x="4773242" y="1257078"/>
                  <a:pt x="4769144" y="1257078"/>
                </a:cubicBezTo>
                <a:cubicBezTo>
                  <a:pt x="4832365" y="1281451"/>
                  <a:pt x="4899099" y="1301393"/>
                  <a:pt x="4962322" y="1321335"/>
                </a:cubicBezTo>
                <a:cubicBezTo>
                  <a:pt x="4966419" y="1316165"/>
                  <a:pt x="4969931" y="1311733"/>
                  <a:pt x="4966419" y="1311733"/>
                </a:cubicBezTo>
                <a:cubicBezTo>
                  <a:pt x="4966419" y="1311733"/>
                  <a:pt x="4966419" y="1311733"/>
                  <a:pt x="4958223" y="1311733"/>
                </a:cubicBezTo>
                <a:cubicBezTo>
                  <a:pt x="4962322" y="1306564"/>
                  <a:pt x="4966419" y="1306564"/>
                  <a:pt x="4966419" y="1301393"/>
                </a:cubicBezTo>
                <a:cubicBezTo>
                  <a:pt x="4974029" y="1301393"/>
                  <a:pt x="4985736" y="1296962"/>
                  <a:pt x="4985736" y="1291792"/>
                </a:cubicBezTo>
                <a:cubicBezTo>
                  <a:pt x="4985736" y="1291792"/>
                  <a:pt x="4985736" y="1291792"/>
                  <a:pt x="5033153" y="1296962"/>
                </a:cubicBezTo>
                <a:cubicBezTo>
                  <a:pt x="5040763" y="1296962"/>
                  <a:pt x="5056570" y="1281451"/>
                  <a:pt x="5052471" y="1281451"/>
                </a:cubicBezTo>
                <a:cubicBezTo>
                  <a:pt x="5033153" y="1277020"/>
                  <a:pt x="4974029" y="1277020"/>
                  <a:pt x="4958223" y="1261510"/>
                </a:cubicBezTo>
                <a:cubicBezTo>
                  <a:pt x="4958223" y="1261510"/>
                  <a:pt x="4958223" y="1261510"/>
                  <a:pt x="5021446" y="1271849"/>
                </a:cubicBezTo>
                <a:cubicBezTo>
                  <a:pt x="5024957" y="1271849"/>
                  <a:pt x="5024957" y="1271849"/>
                  <a:pt x="5029055" y="1271849"/>
                </a:cubicBezTo>
                <a:cubicBezTo>
                  <a:pt x="5052471" y="1281451"/>
                  <a:pt x="5076471" y="1286621"/>
                  <a:pt x="5099887" y="1291792"/>
                </a:cubicBezTo>
                <a:cubicBezTo>
                  <a:pt x="5088180" y="1291792"/>
                  <a:pt x="5076471" y="1291792"/>
                  <a:pt x="5068276" y="1296962"/>
                </a:cubicBezTo>
                <a:cubicBezTo>
                  <a:pt x="5064764" y="1296962"/>
                  <a:pt x="5060666" y="1301393"/>
                  <a:pt x="5056570" y="1306564"/>
                </a:cubicBezTo>
                <a:cubicBezTo>
                  <a:pt x="5037251" y="1306564"/>
                  <a:pt x="5021446" y="1306564"/>
                  <a:pt x="5001542" y="1311733"/>
                </a:cubicBezTo>
                <a:cubicBezTo>
                  <a:pt x="5001542" y="1316165"/>
                  <a:pt x="4981639" y="1321335"/>
                  <a:pt x="4989834" y="1326505"/>
                </a:cubicBezTo>
                <a:cubicBezTo>
                  <a:pt x="4999786" y="1331306"/>
                  <a:pt x="5010615" y="1334999"/>
                  <a:pt x="5021372" y="1338138"/>
                </a:cubicBezTo>
                <a:lnTo>
                  <a:pt x="5034154" y="1341553"/>
                </a:lnTo>
                <a:lnTo>
                  <a:pt x="5029055" y="1341277"/>
                </a:lnTo>
                <a:cubicBezTo>
                  <a:pt x="5076471" y="1356048"/>
                  <a:pt x="5127400" y="1371559"/>
                  <a:pt x="5174817" y="1386331"/>
                </a:cubicBezTo>
                <a:cubicBezTo>
                  <a:pt x="5178914" y="1386331"/>
                  <a:pt x="5178914" y="1386331"/>
                  <a:pt x="5178914" y="1381161"/>
                </a:cubicBezTo>
                <a:cubicBezTo>
                  <a:pt x="5194719" y="1386331"/>
                  <a:pt x="5206427" y="1386331"/>
                  <a:pt x="5222233" y="1386331"/>
                </a:cubicBezTo>
                <a:cubicBezTo>
                  <a:pt x="5225745" y="1386331"/>
                  <a:pt x="5238038" y="1381161"/>
                  <a:pt x="5238038" y="1375991"/>
                </a:cubicBezTo>
                <a:cubicBezTo>
                  <a:pt x="5253843" y="1375991"/>
                  <a:pt x="5265551" y="1381161"/>
                  <a:pt x="5277259" y="1381161"/>
                </a:cubicBezTo>
                <a:cubicBezTo>
                  <a:pt x="5284869" y="1386331"/>
                  <a:pt x="5304772" y="1371559"/>
                  <a:pt x="5297162" y="1371559"/>
                </a:cubicBezTo>
                <a:cubicBezTo>
                  <a:pt x="5281357" y="1366389"/>
                  <a:pt x="5265551" y="1361219"/>
                  <a:pt x="5245648" y="1361219"/>
                </a:cubicBezTo>
                <a:cubicBezTo>
                  <a:pt x="5253843" y="1356048"/>
                  <a:pt x="5261454" y="1346447"/>
                  <a:pt x="5257356" y="1346447"/>
                </a:cubicBezTo>
                <a:cubicBezTo>
                  <a:pt x="5183012" y="1331675"/>
                  <a:pt x="5103984" y="1341277"/>
                  <a:pt x="5029055" y="1321335"/>
                </a:cubicBezTo>
                <a:cubicBezTo>
                  <a:pt x="5080569" y="1316165"/>
                  <a:pt x="5143205" y="1336107"/>
                  <a:pt x="5194719" y="1336107"/>
                </a:cubicBezTo>
                <a:cubicBezTo>
                  <a:pt x="5198232" y="1336107"/>
                  <a:pt x="5218135" y="1321335"/>
                  <a:pt x="5210525" y="1321335"/>
                </a:cubicBezTo>
                <a:cubicBezTo>
                  <a:pt x="5174817" y="1311733"/>
                  <a:pt x="5139693" y="1311733"/>
                  <a:pt x="5103984" y="1301393"/>
                </a:cubicBezTo>
                <a:cubicBezTo>
                  <a:pt x="5147303" y="1301393"/>
                  <a:pt x="5190622" y="1316165"/>
                  <a:pt x="5229843" y="1316165"/>
                </a:cubicBezTo>
                <a:cubicBezTo>
                  <a:pt x="5233940" y="1316165"/>
                  <a:pt x="5253843" y="1301393"/>
                  <a:pt x="5245648" y="1301393"/>
                </a:cubicBezTo>
                <a:cubicBezTo>
                  <a:pt x="5216086" y="1294007"/>
                  <a:pt x="5186524" y="1289022"/>
                  <a:pt x="5157475" y="1284037"/>
                </a:cubicBezTo>
                <a:lnTo>
                  <a:pt x="5122696" y="1276944"/>
                </a:lnTo>
                <a:lnTo>
                  <a:pt x="5145474" y="1280251"/>
                </a:lnTo>
                <a:cubicBezTo>
                  <a:pt x="5168084" y="1282744"/>
                  <a:pt x="5190622" y="1284037"/>
                  <a:pt x="5214038" y="1286621"/>
                </a:cubicBezTo>
                <a:cubicBezTo>
                  <a:pt x="5222233" y="1286621"/>
                  <a:pt x="5238038" y="1271849"/>
                  <a:pt x="5233940" y="1271849"/>
                </a:cubicBezTo>
                <a:cubicBezTo>
                  <a:pt x="5233940" y="1271849"/>
                  <a:pt x="5233940" y="1271849"/>
                  <a:pt x="5225745" y="1271849"/>
                </a:cubicBezTo>
                <a:cubicBezTo>
                  <a:pt x="5233940" y="1266680"/>
                  <a:pt x="5245648" y="1257078"/>
                  <a:pt x="5238038" y="1257078"/>
                </a:cubicBezTo>
                <a:cubicBezTo>
                  <a:pt x="5233940" y="1257078"/>
                  <a:pt x="5222233" y="1257078"/>
                  <a:pt x="5206427" y="1257078"/>
                </a:cubicBezTo>
                <a:cubicBezTo>
                  <a:pt x="5214038" y="1251908"/>
                  <a:pt x="5225745" y="1242306"/>
                  <a:pt x="5222233" y="1242306"/>
                </a:cubicBezTo>
                <a:cubicBezTo>
                  <a:pt x="5222233" y="1242306"/>
                  <a:pt x="5222233" y="1242306"/>
                  <a:pt x="5183012" y="1237136"/>
                </a:cubicBezTo>
                <a:cubicBezTo>
                  <a:pt x="5186524" y="1231966"/>
                  <a:pt x="5194719" y="1226796"/>
                  <a:pt x="5190622" y="1222365"/>
                </a:cubicBezTo>
                <a:cubicBezTo>
                  <a:pt x="5151401" y="1207593"/>
                  <a:pt x="5111595" y="1197252"/>
                  <a:pt x="5072374" y="1187651"/>
                </a:cubicBezTo>
                <a:cubicBezTo>
                  <a:pt x="5033153" y="1177311"/>
                  <a:pt x="4989834" y="1162539"/>
                  <a:pt x="4950613" y="1152937"/>
                </a:cubicBezTo>
                <a:cubicBezTo>
                  <a:pt x="4950613" y="1152937"/>
                  <a:pt x="4954125" y="1147766"/>
                  <a:pt x="4950613" y="1147766"/>
                </a:cubicBezTo>
                <a:cubicBezTo>
                  <a:pt x="4930711" y="1142597"/>
                  <a:pt x="4907295" y="1137426"/>
                  <a:pt x="4883294" y="1127825"/>
                </a:cubicBezTo>
                <a:cubicBezTo>
                  <a:pt x="4883294" y="1127825"/>
                  <a:pt x="4883294" y="1127825"/>
                  <a:pt x="4867489" y="1122655"/>
                </a:cubicBezTo>
                <a:cubicBezTo>
                  <a:pt x="4891489" y="1127825"/>
                  <a:pt x="4910807" y="1132995"/>
                  <a:pt x="4930711" y="1137426"/>
                </a:cubicBezTo>
                <a:cubicBezTo>
                  <a:pt x="4938320" y="1137426"/>
                  <a:pt x="4954125" y="1122655"/>
                  <a:pt x="4950613" y="1122655"/>
                </a:cubicBezTo>
                <a:cubicBezTo>
                  <a:pt x="4910807" y="1113053"/>
                  <a:pt x="4871586" y="1107883"/>
                  <a:pt x="4836463" y="1082771"/>
                </a:cubicBezTo>
                <a:cubicBezTo>
                  <a:pt x="4830317" y="1079447"/>
                  <a:pt x="4817584" y="1086926"/>
                  <a:pt x="4813331" y="1092742"/>
                </a:cubicBezTo>
                <a:lnTo>
                  <a:pt x="4812596" y="1096804"/>
                </a:lnTo>
                <a:lnTo>
                  <a:pt x="4810121" y="1096343"/>
                </a:lnTo>
                <a:cubicBezTo>
                  <a:pt x="4803681" y="1095142"/>
                  <a:pt x="4790803" y="1092742"/>
                  <a:pt x="4765047" y="1087941"/>
                </a:cubicBezTo>
                <a:cubicBezTo>
                  <a:pt x="4769144" y="1082771"/>
                  <a:pt x="4777339" y="1078339"/>
                  <a:pt x="4773242" y="1078339"/>
                </a:cubicBezTo>
                <a:cubicBezTo>
                  <a:pt x="4773242" y="1073169"/>
                  <a:pt x="4773242" y="1073169"/>
                  <a:pt x="4769144" y="1073169"/>
                </a:cubicBezTo>
                <a:cubicBezTo>
                  <a:pt x="4769144" y="1073169"/>
                  <a:pt x="4769144" y="1073169"/>
                  <a:pt x="4761534" y="1073169"/>
                </a:cubicBezTo>
                <a:cubicBezTo>
                  <a:pt x="4769144" y="1067999"/>
                  <a:pt x="4777339" y="1062829"/>
                  <a:pt x="4773242" y="1062829"/>
                </a:cubicBezTo>
                <a:cubicBezTo>
                  <a:pt x="4761534" y="1058398"/>
                  <a:pt x="4745728" y="1053227"/>
                  <a:pt x="4734021" y="1048058"/>
                </a:cubicBezTo>
                <a:cubicBezTo>
                  <a:pt x="4734021" y="1048058"/>
                  <a:pt x="4734021" y="1048058"/>
                  <a:pt x="4737533" y="1042887"/>
                </a:cubicBezTo>
                <a:cubicBezTo>
                  <a:pt x="4737533" y="1042887"/>
                  <a:pt x="4737533" y="1042887"/>
                  <a:pt x="4784950" y="1062829"/>
                </a:cubicBezTo>
                <a:cubicBezTo>
                  <a:pt x="4789047" y="1062829"/>
                  <a:pt x="4796657" y="1058398"/>
                  <a:pt x="4800755" y="1053227"/>
                </a:cubicBezTo>
                <a:cubicBezTo>
                  <a:pt x="4848171" y="1062829"/>
                  <a:pt x="4891489" y="1078339"/>
                  <a:pt x="4938320" y="1087941"/>
                </a:cubicBezTo>
                <a:cubicBezTo>
                  <a:pt x="4946516" y="1093112"/>
                  <a:pt x="4962322" y="1078339"/>
                  <a:pt x="4958223" y="1078339"/>
                </a:cubicBezTo>
                <a:cubicBezTo>
                  <a:pt x="4907295" y="1062829"/>
                  <a:pt x="4859879" y="1042887"/>
                  <a:pt x="4808366" y="1038456"/>
                </a:cubicBezTo>
                <a:cubicBezTo>
                  <a:pt x="4804852" y="1038456"/>
                  <a:pt x="4796657" y="1038456"/>
                  <a:pt x="4793145" y="1042887"/>
                </a:cubicBezTo>
                <a:cubicBezTo>
                  <a:pt x="4757436" y="1033286"/>
                  <a:pt x="4721728" y="1023684"/>
                  <a:pt x="4690702" y="1008173"/>
                </a:cubicBezTo>
                <a:cubicBezTo>
                  <a:pt x="4682507" y="1003742"/>
                  <a:pt x="4663188" y="1018514"/>
                  <a:pt x="4670799" y="1018514"/>
                </a:cubicBezTo>
                <a:cubicBezTo>
                  <a:pt x="4670799" y="1018514"/>
                  <a:pt x="4670799" y="1018514"/>
                  <a:pt x="4674896" y="1023684"/>
                </a:cubicBezTo>
                <a:cubicBezTo>
                  <a:pt x="4674896" y="1023684"/>
                  <a:pt x="4674896" y="1023684"/>
                  <a:pt x="4659091" y="1018514"/>
                </a:cubicBezTo>
                <a:cubicBezTo>
                  <a:pt x="4639188" y="1013344"/>
                  <a:pt x="4619870" y="1008173"/>
                  <a:pt x="4599967" y="998572"/>
                </a:cubicBezTo>
                <a:cubicBezTo>
                  <a:pt x="4599967" y="998572"/>
                  <a:pt x="4599967" y="998572"/>
                  <a:pt x="4611675" y="998572"/>
                </a:cubicBezTo>
                <a:cubicBezTo>
                  <a:pt x="4631578" y="998572"/>
                  <a:pt x="4647384" y="1003742"/>
                  <a:pt x="4666701" y="1008173"/>
                </a:cubicBezTo>
                <a:cubicBezTo>
                  <a:pt x="4674896" y="1008173"/>
                  <a:pt x="4690702" y="993402"/>
                  <a:pt x="4686604" y="993402"/>
                </a:cubicBezTo>
                <a:lnTo>
                  <a:pt x="4664215" y="988421"/>
                </a:lnTo>
                <a:lnTo>
                  <a:pt x="4737533" y="998572"/>
                </a:lnTo>
                <a:cubicBezTo>
                  <a:pt x="4741631" y="998572"/>
                  <a:pt x="4761534" y="983800"/>
                  <a:pt x="4753338" y="983800"/>
                </a:cubicBezTo>
                <a:cubicBezTo>
                  <a:pt x="4710020" y="969029"/>
                  <a:pt x="4663188" y="953518"/>
                  <a:pt x="4619870" y="934315"/>
                </a:cubicBezTo>
                <a:cubicBezTo>
                  <a:pt x="4619870" y="934315"/>
                  <a:pt x="4619870" y="934315"/>
                  <a:pt x="4666701" y="938746"/>
                </a:cubicBezTo>
                <a:cubicBezTo>
                  <a:pt x="4670799" y="938746"/>
                  <a:pt x="4682507" y="929145"/>
                  <a:pt x="4682507" y="923975"/>
                </a:cubicBezTo>
                <a:cubicBezTo>
                  <a:pt x="4690702" y="923975"/>
                  <a:pt x="4698313" y="914373"/>
                  <a:pt x="4694214" y="914373"/>
                </a:cubicBezTo>
                <a:cubicBezTo>
                  <a:pt x="4678409" y="909203"/>
                  <a:pt x="4666701" y="904032"/>
                  <a:pt x="4654993" y="898862"/>
                </a:cubicBezTo>
                <a:cubicBezTo>
                  <a:pt x="4686604" y="904032"/>
                  <a:pt x="4718215" y="909203"/>
                  <a:pt x="4753338" y="918805"/>
                </a:cubicBezTo>
                <a:cubicBezTo>
                  <a:pt x="4757436" y="918805"/>
                  <a:pt x="4777339" y="904032"/>
                  <a:pt x="4773242" y="904032"/>
                </a:cubicBezTo>
                <a:cubicBezTo>
                  <a:pt x="4773242" y="904032"/>
                  <a:pt x="4773242" y="904032"/>
                  <a:pt x="4705922" y="884091"/>
                </a:cubicBezTo>
                <a:cubicBezTo>
                  <a:pt x="4705922" y="884091"/>
                  <a:pt x="4705922" y="884091"/>
                  <a:pt x="4705922" y="878920"/>
                </a:cubicBezTo>
                <a:cubicBezTo>
                  <a:pt x="4741631" y="889261"/>
                  <a:pt x="4773242" y="898862"/>
                  <a:pt x="4804852" y="909203"/>
                </a:cubicBezTo>
                <a:cubicBezTo>
                  <a:pt x="4812463" y="909203"/>
                  <a:pt x="4828268" y="894431"/>
                  <a:pt x="4824170" y="894431"/>
                </a:cubicBezTo>
                <a:cubicBezTo>
                  <a:pt x="4824170" y="894431"/>
                  <a:pt x="4824170" y="894431"/>
                  <a:pt x="4804852" y="889261"/>
                </a:cubicBezTo>
                <a:cubicBezTo>
                  <a:pt x="4816560" y="889261"/>
                  <a:pt x="4828268" y="889261"/>
                  <a:pt x="4839976" y="889261"/>
                </a:cubicBezTo>
                <a:cubicBezTo>
                  <a:pt x="4836463" y="894431"/>
                  <a:pt x="4836463" y="894431"/>
                  <a:pt x="4836463" y="894431"/>
                </a:cubicBezTo>
                <a:cubicBezTo>
                  <a:pt x="4875684" y="904032"/>
                  <a:pt x="4914905" y="914373"/>
                  <a:pt x="4954125" y="914373"/>
                </a:cubicBezTo>
                <a:cubicBezTo>
                  <a:pt x="4978127" y="918805"/>
                  <a:pt x="4997444" y="923975"/>
                  <a:pt x="5017347" y="929145"/>
                </a:cubicBezTo>
                <a:cubicBezTo>
                  <a:pt x="5024957" y="934315"/>
                  <a:pt x="5040763" y="918805"/>
                  <a:pt x="5037251" y="918805"/>
                </a:cubicBezTo>
                <a:cubicBezTo>
                  <a:pt x="5029055" y="914373"/>
                  <a:pt x="5017347" y="914373"/>
                  <a:pt x="5009738" y="909203"/>
                </a:cubicBezTo>
                <a:lnTo>
                  <a:pt x="5013250" y="909203"/>
                </a:lnTo>
                <a:cubicBezTo>
                  <a:pt x="5021446" y="904032"/>
                  <a:pt x="5029055" y="898862"/>
                  <a:pt x="5029055" y="894431"/>
                </a:cubicBezTo>
                <a:cubicBezTo>
                  <a:pt x="5029055" y="894431"/>
                  <a:pt x="5029055" y="894431"/>
                  <a:pt x="5024957" y="889261"/>
                </a:cubicBezTo>
                <a:cubicBezTo>
                  <a:pt x="5024957" y="889261"/>
                  <a:pt x="5024957" y="889261"/>
                  <a:pt x="5017347" y="889261"/>
                </a:cubicBezTo>
                <a:cubicBezTo>
                  <a:pt x="5017347" y="889261"/>
                  <a:pt x="5013250" y="889261"/>
                  <a:pt x="5009738" y="889261"/>
                </a:cubicBezTo>
                <a:cubicBezTo>
                  <a:pt x="4981639" y="884091"/>
                  <a:pt x="4954125" y="878920"/>
                  <a:pt x="4926612" y="874489"/>
                </a:cubicBezTo>
                <a:cubicBezTo>
                  <a:pt x="4922515" y="869319"/>
                  <a:pt x="4914905" y="874489"/>
                  <a:pt x="4910807" y="878920"/>
                </a:cubicBezTo>
                <a:cubicBezTo>
                  <a:pt x="4910807" y="878920"/>
                  <a:pt x="4910807" y="878920"/>
                  <a:pt x="4907295" y="878920"/>
                </a:cubicBezTo>
                <a:cubicBezTo>
                  <a:pt x="4903198" y="878920"/>
                  <a:pt x="4903198" y="884091"/>
                  <a:pt x="4899099" y="884091"/>
                </a:cubicBezTo>
                <a:cubicBezTo>
                  <a:pt x="4899099" y="884091"/>
                  <a:pt x="4899099" y="884091"/>
                  <a:pt x="4891489" y="884091"/>
                </a:cubicBezTo>
                <a:cubicBezTo>
                  <a:pt x="4899099" y="878920"/>
                  <a:pt x="4907295" y="869319"/>
                  <a:pt x="4903198" y="869319"/>
                </a:cubicBezTo>
                <a:cubicBezTo>
                  <a:pt x="4895001" y="869319"/>
                  <a:pt x="4883294" y="864148"/>
                  <a:pt x="4875684" y="864148"/>
                </a:cubicBezTo>
                <a:cubicBezTo>
                  <a:pt x="4891489" y="864148"/>
                  <a:pt x="4910807" y="864148"/>
                  <a:pt x="4926612" y="859717"/>
                </a:cubicBezTo>
                <a:cubicBezTo>
                  <a:pt x="4930711" y="859717"/>
                  <a:pt x="4950613" y="849377"/>
                  <a:pt x="4942418" y="844207"/>
                </a:cubicBezTo>
                <a:lnTo>
                  <a:pt x="4954125" y="844207"/>
                </a:lnTo>
                <a:cubicBezTo>
                  <a:pt x="4954125" y="849377"/>
                  <a:pt x="4954125" y="849377"/>
                  <a:pt x="4954125" y="849377"/>
                </a:cubicBezTo>
                <a:cubicBezTo>
                  <a:pt x="4950613" y="854548"/>
                  <a:pt x="4946516" y="859717"/>
                  <a:pt x="4946516" y="859717"/>
                </a:cubicBezTo>
                <a:cubicBezTo>
                  <a:pt x="5024957" y="869319"/>
                  <a:pt x="5099887" y="894431"/>
                  <a:pt x="5178914" y="904032"/>
                </a:cubicBezTo>
                <a:cubicBezTo>
                  <a:pt x="5183012" y="909203"/>
                  <a:pt x="5206427" y="894431"/>
                  <a:pt x="5198232" y="894431"/>
                </a:cubicBezTo>
                <a:cubicBezTo>
                  <a:pt x="5190622" y="889261"/>
                  <a:pt x="5183012" y="884091"/>
                  <a:pt x="5174817" y="884091"/>
                </a:cubicBezTo>
                <a:cubicBezTo>
                  <a:pt x="5190622" y="884091"/>
                  <a:pt x="5206427" y="889261"/>
                  <a:pt x="5222233" y="894431"/>
                </a:cubicBezTo>
                <a:cubicBezTo>
                  <a:pt x="5225745" y="894431"/>
                  <a:pt x="5238038" y="884091"/>
                  <a:pt x="5241551" y="878920"/>
                </a:cubicBezTo>
                <a:cubicBezTo>
                  <a:pt x="5241551" y="878920"/>
                  <a:pt x="5241551" y="878920"/>
                  <a:pt x="5249746" y="884091"/>
                </a:cubicBezTo>
                <a:cubicBezTo>
                  <a:pt x="5281357" y="894431"/>
                  <a:pt x="5312967" y="898862"/>
                  <a:pt x="5343993" y="904032"/>
                </a:cubicBezTo>
                <a:cubicBezTo>
                  <a:pt x="5375604" y="909203"/>
                  <a:pt x="5407215" y="909203"/>
                  <a:pt x="5438826" y="914373"/>
                </a:cubicBezTo>
                <a:cubicBezTo>
                  <a:pt x="5442337" y="914373"/>
                  <a:pt x="5442337" y="914373"/>
                  <a:pt x="5446436" y="914373"/>
                </a:cubicBezTo>
                <a:cubicBezTo>
                  <a:pt x="5470437" y="914373"/>
                  <a:pt x="5497950" y="914373"/>
                  <a:pt x="5521365" y="918805"/>
                </a:cubicBezTo>
                <a:cubicBezTo>
                  <a:pt x="5529561" y="918805"/>
                  <a:pt x="5544780" y="904032"/>
                  <a:pt x="5541268" y="904032"/>
                </a:cubicBezTo>
                <a:cubicBezTo>
                  <a:pt x="5541268" y="904032"/>
                  <a:pt x="5541268" y="904032"/>
                  <a:pt x="5497950" y="898862"/>
                </a:cubicBezTo>
                <a:cubicBezTo>
                  <a:pt x="5513755" y="898862"/>
                  <a:pt x="5529561" y="898862"/>
                  <a:pt x="5544780" y="898862"/>
                </a:cubicBezTo>
                <a:cubicBezTo>
                  <a:pt x="5548878" y="898862"/>
                  <a:pt x="5560586" y="894431"/>
                  <a:pt x="5564684" y="889261"/>
                </a:cubicBezTo>
                <a:cubicBezTo>
                  <a:pt x="6209780" y="983800"/>
                  <a:pt x="6863657" y="988970"/>
                  <a:pt x="7513435" y="898862"/>
                </a:cubicBezTo>
                <a:cubicBezTo>
                  <a:pt x="7501726" y="904032"/>
                  <a:pt x="7490020" y="904032"/>
                  <a:pt x="7481824" y="909203"/>
                </a:cubicBezTo>
                <a:cubicBezTo>
                  <a:pt x="7477726" y="909203"/>
                  <a:pt x="7462506" y="929145"/>
                  <a:pt x="7470117" y="929145"/>
                </a:cubicBezTo>
                <a:cubicBezTo>
                  <a:pt x="7477726" y="929145"/>
                  <a:pt x="7485922" y="929145"/>
                  <a:pt x="7493532" y="923975"/>
                </a:cubicBezTo>
                <a:cubicBezTo>
                  <a:pt x="7490020" y="934315"/>
                  <a:pt x="7481824" y="938746"/>
                  <a:pt x="7485922" y="938746"/>
                </a:cubicBezTo>
                <a:cubicBezTo>
                  <a:pt x="7505824" y="938746"/>
                  <a:pt x="7521046" y="938746"/>
                  <a:pt x="7536850" y="938746"/>
                </a:cubicBezTo>
                <a:cubicBezTo>
                  <a:pt x="7529240" y="943916"/>
                  <a:pt x="7525143" y="953518"/>
                  <a:pt x="7529240" y="953518"/>
                </a:cubicBezTo>
                <a:lnTo>
                  <a:pt x="7540949" y="953518"/>
                </a:lnTo>
                <a:cubicBezTo>
                  <a:pt x="7536850" y="953518"/>
                  <a:pt x="7521046" y="973460"/>
                  <a:pt x="7529240" y="973460"/>
                </a:cubicBezTo>
                <a:cubicBezTo>
                  <a:pt x="7580170" y="973460"/>
                  <a:pt x="7635780" y="963858"/>
                  <a:pt x="7690807" y="953518"/>
                </a:cubicBezTo>
                <a:cubicBezTo>
                  <a:pt x="7690807" y="953518"/>
                  <a:pt x="7690807" y="953518"/>
                  <a:pt x="7682612" y="958688"/>
                </a:cubicBezTo>
                <a:cubicBezTo>
                  <a:pt x="7679100" y="958688"/>
                  <a:pt x="7659197" y="973460"/>
                  <a:pt x="7666806" y="978630"/>
                </a:cubicBezTo>
                <a:cubicBezTo>
                  <a:pt x="7686710" y="978630"/>
                  <a:pt x="7702514" y="978630"/>
                  <a:pt x="7722419" y="978630"/>
                </a:cubicBezTo>
                <a:cubicBezTo>
                  <a:pt x="7714223" y="983800"/>
                  <a:pt x="7706612" y="993402"/>
                  <a:pt x="7710126" y="993402"/>
                </a:cubicBezTo>
                <a:cubicBezTo>
                  <a:pt x="7745833" y="998572"/>
                  <a:pt x="7777445" y="998572"/>
                  <a:pt x="7812568" y="993402"/>
                </a:cubicBezTo>
                <a:cubicBezTo>
                  <a:pt x="7820762" y="993402"/>
                  <a:pt x="7832471" y="973460"/>
                  <a:pt x="7824276" y="973460"/>
                </a:cubicBezTo>
                <a:cubicBezTo>
                  <a:pt x="7804957" y="973460"/>
                  <a:pt x="7785053" y="978630"/>
                  <a:pt x="7765736" y="978630"/>
                </a:cubicBezTo>
                <a:cubicBezTo>
                  <a:pt x="7781542" y="973460"/>
                  <a:pt x="7793250" y="969029"/>
                  <a:pt x="7804957" y="958688"/>
                </a:cubicBezTo>
                <a:cubicBezTo>
                  <a:pt x="7859984" y="958688"/>
                  <a:pt x="7911498" y="953518"/>
                  <a:pt x="7966526" y="949086"/>
                </a:cubicBezTo>
                <a:cubicBezTo>
                  <a:pt x="7939010" y="953518"/>
                  <a:pt x="7911498" y="958688"/>
                  <a:pt x="7883400" y="973460"/>
                </a:cubicBezTo>
                <a:cubicBezTo>
                  <a:pt x="7879886" y="973460"/>
                  <a:pt x="7864081" y="988970"/>
                  <a:pt x="7867594" y="993402"/>
                </a:cubicBezTo>
                <a:cubicBezTo>
                  <a:pt x="7867594" y="993402"/>
                  <a:pt x="7867594" y="993402"/>
                  <a:pt x="7879886" y="993402"/>
                </a:cubicBezTo>
                <a:cubicBezTo>
                  <a:pt x="7871692" y="993402"/>
                  <a:pt x="7864081" y="993402"/>
                  <a:pt x="7855886" y="998572"/>
                </a:cubicBezTo>
                <a:cubicBezTo>
                  <a:pt x="7852374" y="998572"/>
                  <a:pt x="7848278" y="998572"/>
                  <a:pt x="7848278" y="998572"/>
                </a:cubicBezTo>
                <a:cubicBezTo>
                  <a:pt x="7828372" y="1003742"/>
                  <a:pt x="7809054" y="1008173"/>
                  <a:pt x="7789154" y="1013344"/>
                </a:cubicBezTo>
                <a:cubicBezTo>
                  <a:pt x="7785053" y="1013344"/>
                  <a:pt x="7765736" y="1033286"/>
                  <a:pt x="7773347" y="1033286"/>
                </a:cubicBezTo>
                <a:cubicBezTo>
                  <a:pt x="7824276" y="1033286"/>
                  <a:pt x="7871692" y="1018514"/>
                  <a:pt x="7919108" y="1013344"/>
                </a:cubicBezTo>
                <a:cubicBezTo>
                  <a:pt x="7907402" y="1018514"/>
                  <a:pt x="7891595" y="1023684"/>
                  <a:pt x="7879886" y="1033286"/>
                </a:cubicBezTo>
                <a:cubicBezTo>
                  <a:pt x="7875790" y="1033286"/>
                  <a:pt x="7864081" y="1053227"/>
                  <a:pt x="7867594" y="1053227"/>
                </a:cubicBezTo>
                <a:cubicBezTo>
                  <a:pt x="7895693" y="1048058"/>
                  <a:pt x="7919108" y="1048058"/>
                  <a:pt x="7942524" y="1042887"/>
                </a:cubicBezTo>
                <a:cubicBezTo>
                  <a:pt x="7887496" y="1058398"/>
                  <a:pt x="7828372" y="1073169"/>
                  <a:pt x="7773347" y="1097543"/>
                </a:cubicBezTo>
                <a:cubicBezTo>
                  <a:pt x="7769249" y="1097543"/>
                  <a:pt x="7753444" y="1117485"/>
                  <a:pt x="7761638" y="1117485"/>
                </a:cubicBezTo>
                <a:cubicBezTo>
                  <a:pt x="7777445" y="1113053"/>
                  <a:pt x="7793250" y="1113053"/>
                  <a:pt x="7809054" y="1107883"/>
                </a:cubicBezTo>
                <a:cubicBezTo>
                  <a:pt x="7804957" y="1117485"/>
                  <a:pt x="7800860" y="1122655"/>
                  <a:pt x="7804957" y="1122655"/>
                </a:cubicBezTo>
                <a:cubicBezTo>
                  <a:pt x="7812568" y="1122655"/>
                  <a:pt x="7820762" y="1117485"/>
                  <a:pt x="7828372" y="1117485"/>
                </a:cubicBezTo>
                <a:cubicBezTo>
                  <a:pt x="7824276" y="1122655"/>
                  <a:pt x="7820762" y="1127825"/>
                  <a:pt x="7824276" y="1127825"/>
                </a:cubicBezTo>
                <a:cubicBezTo>
                  <a:pt x="7899204" y="1132995"/>
                  <a:pt x="7970036" y="1113053"/>
                  <a:pt x="8044966" y="1097543"/>
                </a:cubicBezTo>
                <a:cubicBezTo>
                  <a:pt x="8053160" y="1097543"/>
                  <a:pt x="8064868" y="1078339"/>
                  <a:pt x="8060772" y="1078339"/>
                </a:cubicBezTo>
                <a:cubicBezTo>
                  <a:pt x="7997550" y="1087941"/>
                  <a:pt x="7939010" y="1102713"/>
                  <a:pt x="7879886" y="1107883"/>
                </a:cubicBezTo>
                <a:cubicBezTo>
                  <a:pt x="7895693" y="1102713"/>
                  <a:pt x="7911498" y="1097543"/>
                  <a:pt x="7923205" y="1097543"/>
                </a:cubicBezTo>
                <a:cubicBezTo>
                  <a:pt x="7930816" y="1093112"/>
                  <a:pt x="7934913" y="1087941"/>
                  <a:pt x="7939010" y="1078339"/>
                </a:cubicBezTo>
                <a:cubicBezTo>
                  <a:pt x="7939010" y="1078339"/>
                  <a:pt x="7939010" y="1078339"/>
                  <a:pt x="7985842" y="1067999"/>
                </a:cubicBezTo>
                <a:cubicBezTo>
                  <a:pt x="7994036" y="1062829"/>
                  <a:pt x="8005744" y="1042887"/>
                  <a:pt x="8001648" y="1048058"/>
                </a:cubicBezTo>
                <a:cubicBezTo>
                  <a:pt x="7966526" y="1053227"/>
                  <a:pt x="7930816" y="1062829"/>
                  <a:pt x="7895693" y="1073169"/>
                </a:cubicBezTo>
                <a:cubicBezTo>
                  <a:pt x="7942524" y="1058398"/>
                  <a:pt x="7985842" y="1048058"/>
                  <a:pt x="8033258" y="1028115"/>
                </a:cubicBezTo>
                <a:cubicBezTo>
                  <a:pt x="8033258" y="1028115"/>
                  <a:pt x="8037356" y="1023684"/>
                  <a:pt x="8040868" y="1018514"/>
                </a:cubicBezTo>
                <a:cubicBezTo>
                  <a:pt x="8056674" y="1018514"/>
                  <a:pt x="8068966" y="1013344"/>
                  <a:pt x="8084772" y="1013344"/>
                </a:cubicBezTo>
                <a:cubicBezTo>
                  <a:pt x="8068966" y="1018514"/>
                  <a:pt x="8056674" y="1023684"/>
                  <a:pt x="8044966" y="1028115"/>
                </a:cubicBezTo>
                <a:cubicBezTo>
                  <a:pt x="8040868" y="1033286"/>
                  <a:pt x="8025648" y="1048058"/>
                  <a:pt x="8033258" y="1048058"/>
                </a:cubicBezTo>
                <a:cubicBezTo>
                  <a:pt x="8064868" y="1053227"/>
                  <a:pt x="8099992" y="1048058"/>
                  <a:pt x="8135701" y="1048058"/>
                </a:cubicBezTo>
                <a:cubicBezTo>
                  <a:pt x="8135701" y="1048058"/>
                  <a:pt x="8135701" y="1048058"/>
                  <a:pt x="8143310" y="1048058"/>
                </a:cubicBezTo>
                <a:cubicBezTo>
                  <a:pt x="8131603" y="1053227"/>
                  <a:pt x="8119896" y="1058398"/>
                  <a:pt x="8104090" y="1062829"/>
                </a:cubicBezTo>
                <a:cubicBezTo>
                  <a:pt x="8104090" y="1062829"/>
                  <a:pt x="8088284" y="1082771"/>
                  <a:pt x="8092382" y="1082771"/>
                </a:cubicBezTo>
                <a:cubicBezTo>
                  <a:pt x="8128090" y="1087941"/>
                  <a:pt x="8167311" y="1087941"/>
                  <a:pt x="8202434" y="1087941"/>
                </a:cubicBezTo>
                <a:cubicBezTo>
                  <a:pt x="8202434" y="1087941"/>
                  <a:pt x="8202434" y="1087941"/>
                  <a:pt x="8112284" y="1113053"/>
                </a:cubicBezTo>
                <a:cubicBezTo>
                  <a:pt x="8108187" y="1113053"/>
                  <a:pt x="8096480" y="1127825"/>
                  <a:pt x="8092382" y="1132995"/>
                </a:cubicBezTo>
                <a:cubicBezTo>
                  <a:pt x="8056674" y="1137426"/>
                  <a:pt x="8017453" y="1147766"/>
                  <a:pt x="7982330" y="1147766"/>
                </a:cubicBezTo>
                <a:cubicBezTo>
                  <a:pt x="7985842" y="1142597"/>
                  <a:pt x="7994036" y="1132995"/>
                  <a:pt x="7989939" y="1132995"/>
                </a:cubicBezTo>
                <a:cubicBezTo>
                  <a:pt x="7974134" y="1137426"/>
                  <a:pt x="7958329" y="1142597"/>
                  <a:pt x="7942524" y="1147766"/>
                </a:cubicBezTo>
                <a:cubicBezTo>
                  <a:pt x="7939010" y="1147766"/>
                  <a:pt x="7923205" y="1167709"/>
                  <a:pt x="7926718" y="1167709"/>
                </a:cubicBezTo>
                <a:cubicBezTo>
                  <a:pt x="7930816" y="1167709"/>
                  <a:pt x="7934913" y="1167709"/>
                  <a:pt x="7942524" y="1167709"/>
                </a:cubicBezTo>
                <a:cubicBezTo>
                  <a:pt x="7942524" y="1167709"/>
                  <a:pt x="7942524" y="1167709"/>
                  <a:pt x="7930816" y="1172140"/>
                </a:cubicBezTo>
                <a:cubicBezTo>
                  <a:pt x="7926718" y="1177311"/>
                  <a:pt x="7911498" y="1192082"/>
                  <a:pt x="7915010" y="1192082"/>
                </a:cubicBezTo>
                <a:cubicBezTo>
                  <a:pt x="7958329" y="1202422"/>
                  <a:pt x="8001648" y="1192082"/>
                  <a:pt x="8044966" y="1177311"/>
                </a:cubicBezTo>
                <a:cubicBezTo>
                  <a:pt x="8037356" y="1182481"/>
                  <a:pt x="8033258" y="1192082"/>
                  <a:pt x="8033258" y="1197252"/>
                </a:cubicBezTo>
                <a:cubicBezTo>
                  <a:pt x="7978232" y="1212024"/>
                  <a:pt x="7923205" y="1231966"/>
                  <a:pt x="7867594" y="1257078"/>
                </a:cubicBezTo>
                <a:cubicBezTo>
                  <a:pt x="7864081" y="1257078"/>
                  <a:pt x="7848278" y="1277020"/>
                  <a:pt x="7855886" y="1277020"/>
                </a:cubicBezTo>
                <a:cubicBezTo>
                  <a:pt x="7887496" y="1271849"/>
                  <a:pt x="7919108" y="1261510"/>
                  <a:pt x="7950718" y="1251908"/>
                </a:cubicBezTo>
                <a:cubicBezTo>
                  <a:pt x="7930816" y="1261510"/>
                  <a:pt x="7911498" y="1271849"/>
                  <a:pt x="7895693" y="1286621"/>
                </a:cubicBezTo>
                <a:cubicBezTo>
                  <a:pt x="7895693" y="1291792"/>
                  <a:pt x="7883400" y="1306564"/>
                  <a:pt x="7887496" y="1301393"/>
                </a:cubicBezTo>
                <a:cubicBezTo>
                  <a:pt x="7919108" y="1301393"/>
                  <a:pt x="7946620" y="1291792"/>
                  <a:pt x="7978232" y="1281451"/>
                </a:cubicBezTo>
                <a:cubicBezTo>
                  <a:pt x="7974134" y="1286621"/>
                  <a:pt x="7978232" y="1286621"/>
                  <a:pt x="7978232" y="1286621"/>
                </a:cubicBezTo>
                <a:cubicBezTo>
                  <a:pt x="7978232" y="1286621"/>
                  <a:pt x="7978232" y="1286621"/>
                  <a:pt x="7985842" y="1286621"/>
                </a:cubicBezTo>
                <a:cubicBezTo>
                  <a:pt x="7982330" y="1291792"/>
                  <a:pt x="7970036" y="1306564"/>
                  <a:pt x="7978232" y="1306564"/>
                </a:cubicBezTo>
                <a:cubicBezTo>
                  <a:pt x="8009842" y="1306564"/>
                  <a:pt x="8040868" y="1301393"/>
                  <a:pt x="8076577" y="1296962"/>
                </a:cubicBezTo>
                <a:cubicBezTo>
                  <a:pt x="8084772" y="1296962"/>
                  <a:pt x="8092382" y="1286621"/>
                  <a:pt x="8092382" y="1277020"/>
                </a:cubicBezTo>
                <a:cubicBezTo>
                  <a:pt x="8092382" y="1277020"/>
                  <a:pt x="8092382" y="1277020"/>
                  <a:pt x="8104090" y="1277020"/>
                </a:cubicBezTo>
                <a:cubicBezTo>
                  <a:pt x="8112284" y="1281451"/>
                  <a:pt x="8119896" y="1286621"/>
                  <a:pt x="8128090" y="1286621"/>
                </a:cubicBezTo>
                <a:cubicBezTo>
                  <a:pt x="8112284" y="1296962"/>
                  <a:pt x="8096480" y="1301393"/>
                  <a:pt x="8080675" y="1306564"/>
                </a:cubicBezTo>
                <a:cubicBezTo>
                  <a:pt x="8076577" y="1311733"/>
                  <a:pt x="8056674" y="1331675"/>
                  <a:pt x="8064868" y="1331675"/>
                </a:cubicBezTo>
                <a:cubicBezTo>
                  <a:pt x="8096480" y="1326505"/>
                  <a:pt x="8131603" y="1321335"/>
                  <a:pt x="8163214" y="1316165"/>
                </a:cubicBezTo>
                <a:lnTo>
                  <a:pt x="8163214" y="1321335"/>
                </a:lnTo>
                <a:cubicBezTo>
                  <a:pt x="8143310" y="1331675"/>
                  <a:pt x="8119896" y="1341277"/>
                  <a:pt x="8099992" y="1351617"/>
                </a:cubicBezTo>
                <a:cubicBezTo>
                  <a:pt x="8096480" y="1356048"/>
                  <a:pt x="8076577" y="1371559"/>
                  <a:pt x="8084772" y="1371559"/>
                </a:cubicBezTo>
                <a:cubicBezTo>
                  <a:pt x="8143310" y="1371559"/>
                  <a:pt x="8198923" y="1356048"/>
                  <a:pt x="8253949" y="1346447"/>
                </a:cubicBezTo>
                <a:cubicBezTo>
                  <a:pt x="8258047" y="1351617"/>
                  <a:pt x="8261560" y="1351617"/>
                  <a:pt x="8261560" y="1351617"/>
                </a:cubicBezTo>
                <a:cubicBezTo>
                  <a:pt x="8265658" y="1351617"/>
                  <a:pt x="8273266" y="1351617"/>
                  <a:pt x="8277364" y="1356048"/>
                </a:cubicBezTo>
                <a:cubicBezTo>
                  <a:pt x="8273266" y="1361219"/>
                  <a:pt x="8269754" y="1361219"/>
                  <a:pt x="8265658" y="1366389"/>
                </a:cubicBezTo>
                <a:cubicBezTo>
                  <a:pt x="8261560" y="1366389"/>
                  <a:pt x="8245754" y="1386331"/>
                  <a:pt x="8253949" y="1386331"/>
                </a:cubicBezTo>
                <a:cubicBezTo>
                  <a:pt x="8285560" y="1386331"/>
                  <a:pt x="8316586" y="1381161"/>
                  <a:pt x="8348196" y="1375991"/>
                </a:cubicBezTo>
                <a:cubicBezTo>
                  <a:pt x="8379808" y="1371559"/>
                  <a:pt x="8415514" y="1366389"/>
                  <a:pt x="8446541" y="1361219"/>
                </a:cubicBezTo>
                <a:cubicBezTo>
                  <a:pt x="8446541" y="1361219"/>
                  <a:pt x="8446541" y="1361219"/>
                  <a:pt x="8450638" y="1361219"/>
                </a:cubicBezTo>
                <a:cubicBezTo>
                  <a:pt x="8403222" y="1375991"/>
                  <a:pt x="8359905" y="1395933"/>
                  <a:pt x="8313073" y="1410704"/>
                </a:cubicBezTo>
                <a:cubicBezTo>
                  <a:pt x="8308975" y="1415874"/>
                  <a:pt x="8293170" y="1430646"/>
                  <a:pt x="8297266" y="1430646"/>
                </a:cubicBezTo>
                <a:cubicBezTo>
                  <a:pt x="8281462" y="1440986"/>
                  <a:pt x="8261560" y="1445418"/>
                  <a:pt x="8245754" y="1450588"/>
                </a:cubicBezTo>
                <a:cubicBezTo>
                  <a:pt x="8245754" y="1450588"/>
                  <a:pt x="8245754" y="1450588"/>
                  <a:pt x="8238144" y="1450588"/>
                </a:cubicBezTo>
                <a:cubicBezTo>
                  <a:pt x="8245754" y="1445418"/>
                  <a:pt x="8253949" y="1435816"/>
                  <a:pt x="8245754" y="1435816"/>
                </a:cubicBezTo>
                <a:cubicBezTo>
                  <a:pt x="8249851" y="1430646"/>
                  <a:pt x="8265658" y="1410704"/>
                  <a:pt x="8258047" y="1415874"/>
                </a:cubicBezTo>
                <a:cubicBezTo>
                  <a:pt x="8229948" y="1426214"/>
                  <a:pt x="8206534" y="1435816"/>
                  <a:pt x="8179020" y="1440986"/>
                </a:cubicBezTo>
                <a:cubicBezTo>
                  <a:pt x="8202434" y="1426214"/>
                  <a:pt x="8226435" y="1421045"/>
                  <a:pt x="8249851" y="1410704"/>
                </a:cubicBezTo>
                <a:cubicBezTo>
                  <a:pt x="8253949" y="1406273"/>
                  <a:pt x="8265658" y="1386331"/>
                  <a:pt x="8261560" y="1386331"/>
                </a:cubicBezTo>
                <a:cubicBezTo>
                  <a:pt x="8238144" y="1390763"/>
                  <a:pt x="8214142" y="1401102"/>
                  <a:pt x="8194825" y="1406273"/>
                </a:cubicBezTo>
                <a:cubicBezTo>
                  <a:pt x="8194825" y="1406273"/>
                  <a:pt x="8194825" y="1406273"/>
                  <a:pt x="8206534" y="1401102"/>
                </a:cubicBezTo>
                <a:cubicBezTo>
                  <a:pt x="8210632" y="1401102"/>
                  <a:pt x="8226435" y="1381161"/>
                  <a:pt x="8218240" y="1381161"/>
                </a:cubicBezTo>
                <a:cubicBezTo>
                  <a:pt x="8174922" y="1375991"/>
                  <a:pt x="8131603" y="1386331"/>
                  <a:pt x="8088284" y="1395933"/>
                </a:cubicBezTo>
                <a:cubicBezTo>
                  <a:pt x="8088284" y="1395933"/>
                  <a:pt x="8088284" y="1395933"/>
                  <a:pt x="8056674" y="1401102"/>
                </a:cubicBezTo>
                <a:cubicBezTo>
                  <a:pt x="8049063" y="1401102"/>
                  <a:pt x="8037356" y="1421045"/>
                  <a:pt x="8044966" y="1421045"/>
                </a:cubicBezTo>
                <a:cubicBezTo>
                  <a:pt x="8044966" y="1421045"/>
                  <a:pt x="8044966" y="1421045"/>
                  <a:pt x="8068966" y="1415874"/>
                </a:cubicBezTo>
                <a:cubicBezTo>
                  <a:pt x="8068966" y="1415874"/>
                  <a:pt x="8068966" y="1415874"/>
                  <a:pt x="8099992" y="1410704"/>
                </a:cubicBezTo>
                <a:cubicBezTo>
                  <a:pt x="8123992" y="1406273"/>
                  <a:pt x="8143310" y="1406273"/>
                  <a:pt x="8163214" y="1401102"/>
                </a:cubicBezTo>
                <a:cubicBezTo>
                  <a:pt x="8128090" y="1415874"/>
                  <a:pt x="8088284" y="1426214"/>
                  <a:pt x="8053160" y="1440986"/>
                </a:cubicBezTo>
                <a:cubicBezTo>
                  <a:pt x="8053160" y="1440986"/>
                  <a:pt x="8033258" y="1460928"/>
                  <a:pt x="8040868" y="1460928"/>
                </a:cubicBezTo>
                <a:cubicBezTo>
                  <a:pt x="8084772" y="1455758"/>
                  <a:pt x="8128090" y="1445418"/>
                  <a:pt x="8167311" y="1430646"/>
                </a:cubicBezTo>
                <a:cubicBezTo>
                  <a:pt x="8159116" y="1435816"/>
                  <a:pt x="8155604" y="1440986"/>
                  <a:pt x="8147408" y="1445418"/>
                </a:cubicBezTo>
                <a:cubicBezTo>
                  <a:pt x="8147408" y="1445418"/>
                  <a:pt x="8131603" y="1465360"/>
                  <a:pt x="8139799" y="1465360"/>
                </a:cubicBezTo>
                <a:cubicBezTo>
                  <a:pt x="8143604" y="1463144"/>
                  <a:pt x="8146530" y="1462036"/>
                  <a:pt x="8149458" y="1461482"/>
                </a:cubicBezTo>
                <a:lnTo>
                  <a:pt x="8154848" y="1461173"/>
                </a:lnTo>
                <a:lnTo>
                  <a:pt x="8119968" y="1472469"/>
                </a:lnTo>
                <a:cubicBezTo>
                  <a:pt x="8108188" y="1475516"/>
                  <a:pt x="8096480" y="1477916"/>
                  <a:pt x="8084772" y="1480131"/>
                </a:cubicBezTo>
                <a:cubicBezTo>
                  <a:pt x="8056674" y="1485301"/>
                  <a:pt x="8021551" y="1495642"/>
                  <a:pt x="8005744" y="1515584"/>
                </a:cubicBezTo>
                <a:cubicBezTo>
                  <a:pt x="7994036" y="1530355"/>
                  <a:pt x="8009842" y="1525186"/>
                  <a:pt x="8017453" y="1515584"/>
                </a:cubicBezTo>
                <a:cubicBezTo>
                  <a:pt x="8017453" y="1510414"/>
                  <a:pt x="8033258" y="1510414"/>
                  <a:pt x="8044966" y="1505244"/>
                </a:cubicBezTo>
                <a:cubicBezTo>
                  <a:pt x="8040868" y="1510414"/>
                  <a:pt x="8040868" y="1515584"/>
                  <a:pt x="8044966" y="1515584"/>
                </a:cubicBezTo>
                <a:cubicBezTo>
                  <a:pt x="8108187" y="1520015"/>
                  <a:pt x="8170824" y="1495642"/>
                  <a:pt x="8229948" y="1475700"/>
                </a:cubicBezTo>
                <a:cubicBezTo>
                  <a:pt x="8229948" y="1475700"/>
                  <a:pt x="8229948" y="1475700"/>
                  <a:pt x="8265658" y="1470530"/>
                </a:cubicBezTo>
                <a:cubicBezTo>
                  <a:pt x="8261560" y="1475700"/>
                  <a:pt x="8253949" y="1480131"/>
                  <a:pt x="8253949" y="1485301"/>
                </a:cubicBezTo>
                <a:cubicBezTo>
                  <a:pt x="8198923" y="1500074"/>
                  <a:pt x="8143310" y="1515584"/>
                  <a:pt x="8088284" y="1534787"/>
                </a:cubicBezTo>
                <a:cubicBezTo>
                  <a:pt x="8084772" y="1539957"/>
                  <a:pt x="8072479" y="1559899"/>
                  <a:pt x="8076577" y="1554729"/>
                </a:cubicBezTo>
                <a:cubicBezTo>
                  <a:pt x="8104090" y="1550297"/>
                  <a:pt x="8135701" y="1545127"/>
                  <a:pt x="8163214" y="1534787"/>
                </a:cubicBezTo>
                <a:cubicBezTo>
                  <a:pt x="8159116" y="1539957"/>
                  <a:pt x="8155604" y="1550297"/>
                  <a:pt x="8159116" y="1550297"/>
                </a:cubicBezTo>
                <a:cubicBezTo>
                  <a:pt x="8163214" y="1550297"/>
                  <a:pt x="8170824" y="1545127"/>
                  <a:pt x="8174922" y="1545127"/>
                </a:cubicBezTo>
                <a:lnTo>
                  <a:pt x="8174922" y="1550297"/>
                </a:lnTo>
                <a:cubicBezTo>
                  <a:pt x="8174922" y="1550297"/>
                  <a:pt x="8174922" y="1550297"/>
                  <a:pt x="8177410" y="1549651"/>
                </a:cubicBezTo>
                <a:lnTo>
                  <a:pt x="8191208" y="1546067"/>
                </a:lnTo>
                <a:lnTo>
                  <a:pt x="8190727" y="1550297"/>
                </a:lnTo>
                <a:cubicBezTo>
                  <a:pt x="8115798" y="1565069"/>
                  <a:pt x="8040868" y="1574671"/>
                  <a:pt x="7970036" y="1599783"/>
                </a:cubicBezTo>
                <a:cubicBezTo>
                  <a:pt x="7962427" y="1599783"/>
                  <a:pt x="7950718" y="1614555"/>
                  <a:pt x="7954817" y="1619725"/>
                </a:cubicBezTo>
                <a:cubicBezTo>
                  <a:pt x="7954817" y="1619725"/>
                  <a:pt x="7954817" y="1619725"/>
                  <a:pt x="7950718" y="1619725"/>
                </a:cubicBezTo>
                <a:cubicBezTo>
                  <a:pt x="7942524" y="1624895"/>
                  <a:pt x="7930816" y="1649268"/>
                  <a:pt x="7942524" y="1639667"/>
                </a:cubicBezTo>
                <a:cubicBezTo>
                  <a:pt x="7958329" y="1629327"/>
                  <a:pt x="7978232" y="1619725"/>
                  <a:pt x="8001648" y="1614555"/>
                </a:cubicBezTo>
                <a:cubicBezTo>
                  <a:pt x="7994036" y="1619725"/>
                  <a:pt x="7989939" y="1629327"/>
                  <a:pt x="7994036" y="1629327"/>
                </a:cubicBezTo>
                <a:cubicBezTo>
                  <a:pt x="8053160" y="1624895"/>
                  <a:pt x="8119896" y="1614555"/>
                  <a:pt x="8179020" y="1599783"/>
                </a:cubicBezTo>
                <a:cubicBezTo>
                  <a:pt x="8194825" y="1594613"/>
                  <a:pt x="8214142" y="1590181"/>
                  <a:pt x="8229948" y="1585011"/>
                </a:cubicBezTo>
                <a:cubicBezTo>
                  <a:pt x="8226435" y="1585011"/>
                  <a:pt x="8226435" y="1590181"/>
                  <a:pt x="8229948" y="1590181"/>
                </a:cubicBezTo>
                <a:cubicBezTo>
                  <a:pt x="8249851" y="1585011"/>
                  <a:pt x="8265658" y="1585011"/>
                  <a:pt x="8285560" y="1579841"/>
                </a:cubicBezTo>
                <a:cubicBezTo>
                  <a:pt x="8206534" y="1614555"/>
                  <a:pt x="8119896" y="1634497"/>
                  <a:pt x="8037356" y="1654438"/>
                </a:cubicBezTo>
                <a:cubicBezTo>
                  <a:pt x="8013355" y="1659608"/>
                  <a:pt x="7989939" y="1664040"/>
                  <a:pt x="7966526" y="1674380"/>
                </a:cubicBezTo>
                <a:cubicBezTo>
                  <a:pt x="7958329" y="1674380"/>
                  <a:pt x="7946620" y="1694322"/>
                  <a:pt x="7950718" y="1694322"/>
                </a:cubicBezTo>
                <a:cubicBezTo>
                  <a:pt x="7966526" y="1689152"/>
                  <a:pt x="7982330" y="1683982"/>
                  <a:pt x="7997550" y="1679550"/>
                </a:cubicBezTo>
                <a:cubicBezTo>
                  <a:pt x="7997550" y="1683982"/>
                  <a:pt x="7997550" y="1683982"/>
                  <a:pt x="8001648" y="1683982"/>
                </a:cubicBezTo>
                <a:cubicBezTo>
                  <a:pt x="8049063" y="1679550"/>
                  <a:pt x="8108187" y="1654438"/>
                  <a:pt x="8155604" y="1659608"/>
                </a:cubicBezTo>
                <a:cubicBezTo>
                  <a:pt x="8147408" y="1664040"/>
                  <a:pt x="8139799" y="1669210"/>
                  <a:pt x="8128090" y="1669210"/>
                </a:cubicBezTo>
                <a:cubicBezTo>
                  <a:pt x="8099992" y="1674380"/>
                  <a:pt x="8072479" y="1679550"/>
                  <a:pt x="8044966" y="1689152"/>
                </a:cubicBezTo>
                <a:cubicBezTo>
                  <a:pt x="8044966" y="1689152"/>
                  <a:pt x="8044966" y="1689152"/>
                  <a:pt x="8037356" y="1689152"/>
                </a:cubicBezTo>
                <a:cubicBezTo>
                  <a:pt x="8037356" y="1689152"/>
                  <a:pt x="8033258" y="1689152"/>
                  <a:pt x="8033258" y="1694322"/>
                </a:cubicBezTo>
                <a:cubicBezTo>
                  <a:pt x="8033258" y="1694322"/>
                  <a:pt x="8033258" y="1694322"/>
                  <a:pt x="8009842" y="1698754"/>
                </a:cubicBezTo>
                <a:cubicBezTo>
                  <a:pt x="8009842" y="1698754"/>
                  <a:pt x="8009842" y="1698754"/>
                  <a:pt x="8001648" y="1698754"/>
                </a:cubicBezTo>
                <a:cubicBezTo>
                  <a:pt x="7946620" y="1709094"/>
                  <a:pt x="7891595" y="1718696"/>
                  <a:pt x="7836569" y="1734206"/>
                </a:cubicBezTo>
                <a:cubicBezTo>
                  <a:pt x="7836569" y="1734206"/>
                  <a:pt x="7836569" y="1734206"/>
                  <a:pt x="7832471" y="1734206"/>
                </a:cubicBezTo>
                <a:cubicBezTo>
                  <a:pt x="7828372" y="1734206"/>
                  <a:pt x="7812568" y="1753409"/>
                  <a:pt x="7820762" y="1753409"/>
                </a:cubicBezTo>
                <a:cubicBezTo>
                  <a:pt x="7859984" y="1748978"/>
                  <a:pt x="7899204" y="1743808"/>
                  <a:pt x="7939010" y="1734206"/>
                </a:cubicBezTo>
                <a:cubicBezTo>
                  <a:pt x="7915010" y="1743808"/>
                  <a:pt x="7895693" y="1753409"/>
                  <a:pt x="7875790" y="1763749"/>
                </a:cubicBezTo>
                <a:cubicBezTo>
                  <a:pt x="7871692" y="1768920"/>
                  <a:pt x="7855886" y="1783691"/>
                  <a:pt x="7864081" y="1783691"/>
                </a:cubicBezTo>
                <a:cubicBezTo>
                  <a:pt x="7903302" y="1778521"/>
                  <a:pt x="7942670" y="1769843"/>
                  <a:pt x="7982038" y="1759318"/>
                </a:cubicBezTo>
                <a:lnTo>
                  <a:pt x="8048402" y="1739371"/>
                </a:lnTo>
                <a:lnTo>
                  <a:pt x="8040868" y="1743808"/>
                </a:lnTo>
                <a:cubicBezTo>
                  <a:pt x="8017453" y="1748978"/>
                  <a:pt x="7989939" y="1758579"/>
                  <a:pt x="7962427" y="1768920"/>
                </a:cubicBezTo>
                <a:cubicBezTo>
                  <a:pt x="7958329" y="1768920"/>
                  <a:pt x="7942524" y="1788861"/>
                  <a:pt x="7950718" y="1788861"/>
                </a:cubicBezTo>
                <a:cubicBezTo>
                  <a:pt x="7966526" y="1788861"/>
                  <a:pt x="7982330" y="1788861"/>
                  <a:pt x="7997550" y="1788861"/>
                </a:cubicBezTo>
                <a:cubicBezTo>
                  <a:pt x="7982330" y="1793293"/>
                  <a:pt x="7962427" y="1803633"/>
                  <a:pt x="7946620" y="1813235"/>
                </a:cubicBezTo>
                <a:cubicBezTo>
                  <a:pt x="7942524" y="1818406"/>
                  <a:pt x="7926718" y="1833177"/>
                  <a:pt x="7934913" y="1833177"/>
                </a:cubicBezTo>
                <a:cubicBezTo>
                  <a:pt x="7966526" y="1828007"/>
                  <a:pt x="7997550" y="1823575"/>
                  <a:pt x="8033258" y="1818406"/>
                </a:cubicBezTo>
                <a:cubicBezTo>
                  <a:pt x="8025648" y="1823575"/>
                  <a:pt x="8021551" y="1838347"/>
                  <a:pt x="8025648" y="1833177"/>
                </a:cubicBezTo>
                <a:cubicBezTo>
                  <a:pt x="8076577" y="1823575"/>
                  <a:pt x="8128090" y="1813235"/>
                  <a:pt x="8179020" y="1803633"/>
                </a:cubicBezTo>
                <a:cubicBezTo>
                  <a:pt x="8234046" y="1788861"/>
                  <a:pt x="8285560" y="1773351"/>
                  <a:pt x="8336488" y="1758579"/>
                </a:cubicBezTo>
                <a:cubicBezTo>
                  <a:pt x="8332390" y="1758579"/>
                  <a:pt x="8332390" y="1763749"/>
                  <a:pt x="8336488" y="1763749"/>
                </a:cubicBezTo>
                <a:cubicBezTo>
                  <a:pt x="8359905" y="1758579"/>
                  <a:pt x="8383906" y="1753409"/>
                  <a:pt x="8407320" y="1743808"/>
                </a:cubicBezTo>
                <a:cubicBezTo>
                  <a:pt x="8375710" y="1753409"/>
                  <a:pt x="8344098" y="1768920"/>
                  <a:pt x="8316586" y="1773351"/>
                </a:cubicBezTo>
                <a:cubicBezTo>
                  <a:pt x="8316586" y="1773351"/>
                  <a:pt x="8316586" y="1773351"/>
                  <a:pt x="8273266" y="1788861"/>
                </a:cubicBezTo>
                <a:cubicBezTo>
                  <a:pt x="8265658" y="1788861"/>
                  <a:pt x="8258047" y="1803633"/>
                  <a:pt x="8258047" y="1808804"/>
                </a:cubicBezTo>
                <a:cubicBezTo>
                  <a:pt x="8258047" y="1808804"/>
                  <a:pt x="8258047" y="1808804"/>
                  <a:pt x="8253949" y="1808804"/>
                </a:cubicBezTo>
                <a:cubicBezTo>
                  <a:pt x="8253949" y="1803633"/>
                  <a:pt x="8258047" y="1798463"/>
                  <a:pt x="8253949" y="1798463"/>
                </a:cubicBezTo>
                <a:cubicBezTo>
                  <a:pt x="8214142" y="1813235"/>
                  <a:pt x="8170824" y="1828007"/>
                  <a:pt x="8128090" y="1833177"/>
                </a:cubicBezTo>
                <a:cubicBezTo>
                  <a:pt x="8123992" y="1833177"/>
                  <a:pt x="8108187" y="1853119"/>
                  <a:pt x="8112284" y="1853119"/>
                </a:cubicBezTo>
                <a:cubicBezTo>
                  <a:pt x="8108187" y="1858289"/>
                  <a:pt x="8104236" y="1864567"/>
                  <a:pt x="8102260" y="1868260"/>
                </a:cubicBezTo>
                <a:lnTo>
                  <a:pt x="8101250" y="1870789"/>
                </a:lnTo>
                <a:lnTo>
                  <a:pt x="8048020" y="1881392"/>
                </a:lnTo>
                <a:cubicBezTo>
                  <a:pt x="7980026" y="1896834"/>
                  <a:pt x="7911204" y="1916637"/>
                  <a:pt x="7840080" y="1927716"/>
                </a:cubicBezTo>
                <a:cubicBezTo>
                  <a:pt x="7832471" y="1927716"/>
                  <a:pt x="7820762" y="1947658"/>
                  <a:pt x="7824276" y="1947658"/>
                </a:cubicBezTo>
                <a:cubicBezTo>
                  <a:pt x="7883400" y="1937317"/>
                  <a:pt x="7942524" y="1922546"/>
                  <a:pt x="7997550" y="1912944"/>
                </a:cubicBezTo>
                <a:cubicBezTo>
                  <a:pt x="8056674" y="1898173"/>
                  <a:pt x="8115798" y="1887832"/>
                  <a:pt x="8174922" y="1878230"/>
                </a:cubicBezTo>
                <a:cubicBezTo>
                  <a:pt x="8179020" y="1878230"/>
                  <a:pt x="8183116" y="1873061"/>
                  <a:pt x="8186630" y="1867891"/>
                </a:cubicBezTo>
                <a:cubicBezTo>
                  <a:pt x="8226435" y="1858289"/>
                  <a:pt x="8265658" y="1843517"/>
                  <a:pt x="8301364" y="1828007"/>
                </a:cubicBezTo>
                <a:cubicBezTo>
                  <a:pt x="8307218" y="1825791"/>
                  <a:pt x="8313073" y="1824683"/>
                  <a:pt x="8319439" y="1824129"/>
                </a:cubicBezTo>
                <a:lnTo>
                  <a:pt x="8336364" y="1823686"/>
                </a:lnTo>
                <a:lnTo>
                  <a:pt x="8334000" y="1825791"/>
                </a:lnTo>
                <a:cubicBezTo>
                  <a:pt x="8332536" y="1826899"/>
                  <a:pt x="8330634" y="1828007"/>
                  <a:pt x="8328878" y="1828007"/>
                </a:cubicBezTo>
                <a:cubicBezTo>
                  <a:pt x="8285560" y="1847949"/>
                  <a:pt x="8242240" y="1863459"/>
                  <a:pt x="8198923" y="1878230"/>
                </a:cubicBezTo>
                <a:cubicBezTo>
                  <a:pt x="8202434" y="1873061"/>
                  <a:pt x="8206534" y="1867891"/>
                  <a:pt x="8202434" y="1867891"/>
                </a:cubicBezTo>
                <a:cubicBezTo>
                  <a:pt x="8131603" y="1902604"/>
                  <a:pt x="8053160" y="1912944"/>
                  <a:pt x="7974134" y="1922546"/>
                </a:cubicBezTo>
                <a:cubicBezTo>
                  <a:pt x="7974134" y="1922546"/>
                  <a:pt x="7974134" y="1922546"/>
                  <a:pt x="7962427" y="1927716"/>
                </a:cubicBezTo>
                <a:cubicBezTo>
                  <a:pt x="7954817" y="1927716"/>
                  <a:pt x="7942524" y="1947658"/>
                  <a:pt x="7946620" y="1947658"/>
                </a:cubicBezTo>
                <a:cubicBezTo>
                  <a:pt x="7966526" y="1947658"/>
                  <a:pt x="7982330" y="1942488"/>
                  <a:pt x="8001648" y="1937317"/>
                </a:cubicBezTo>
                <a:cubicBezTo>
                  <a:pt x="8005744" y="1937317"/>
                  <a:pt x="8009842" y="1937317"/>
                  <a:pt x="8009842" y="1932886"/>
                </a:cubicBezTo>
                <a:cubicBezTo>
                  <a:pt x="8013355" y="1932886"/>
                  <a:pt x="8017453" y="1932886"/>
                  <a:pt x="8021551" y="1937317"/>
                </a:cubicBezTo>
                <a:cubicBezTo>
                  <a:pt x="8064868" y="1927716"/>
                  <a:pt x="8104090" y="1917376"/>
                  <a:pt x="8143310" y="1907774"/>
                </a:cubicBezTo>
                <a:cubicBezTo>
                  <a:pt x="8139799" y="1912944"/>
                  <a:pt x="8131603" y="1922546"/>
                  <a:pt x="8139799" y="1922546"/>
                </a:cubicBezTo>
                <a:cubicBezTo>
                  <a:pt x="8147408" y="1922546"/>
                  <a:pt x="8155604" y="1922546"/>
                  <a:pt x="8163214" y="1917376"/>
                </a:cubicBezTo>
                <a:cubicBezTo>
                  <a:pt x="8163214" y="1917376"/>
                  <a:pt x="8163214" y="1917376"/>
                  <a:pt x="8119896" y="1937317"/>
                </a:cubicBezTo>
                <a:cubicBezTo>
                  <a:pt x="8123992" y="1932886"/>
                  <a:pt x="8128090" y="1927716"/>
                  <a:pt x="8123992" y="1927716"/>
                </a:cubicBezTo>
                <a:cubicBezTo>
                  <a:pt x="8099992" y="1927716"/>
                  <a:pt x="8076577" y="1932886"/>
                  <a:pt x="8053160" y="1937317"/>
                </a:cubicBezTo>
                <a:cubicBezTo>
                  <a:pt x="8108187" y="1942488"/>
                  <a:pt x="8167311" y="1947658"/>
                  <a:pt x="8222338" y="1952829"/>
                </a:cubicBezTo>
                <a:cubicBezTo>
                  <a:pt x="8218240" y="1952829"/>
                  <a:pt x="8214142" y="1952829"/>
                  <a:pt x="8214142" y="1952829"/>
                </a:cubicBezTo>
                <a:cubicBezTo>
                  <a:pt x="8151508" y="1952829"/>
                  <a:pt x="8088284" y="1947658"/>
                  <a:pt x="8025648" y="1942488"/>
                </a:cubicBezTo>
                <a:cubicBezTo>
                  <a:pt x="7994036" y="1952829"/>
                  <a:pt x="7958329" y="1962430"/>
                  <a:pt x="7926718" y="1967600"/>
                </a:cubicBezTo>
                <a:cubicBezTo>
                  <a:pt x="7923205" y="1967600"/>
                  <a:pt x="7919108" y="1972031"/>
                  <a:pt x="7915010" y="1977202"/>
                </a:cubicBezTo>
                <a:cubicBezTo>
                  <a:pt x="7926718" y="1977202"/>
                  <a:pt x="7942524" y="1977202"/>
                  <a:pt x="7954817" y="1977202"/>
                </a:cubicBezTo>
                <a:cubicBezTo>
                  <a:pt x="7985842" y="1972031"/>
                  <a:pt x="8017453" y="1962430"/>
                  <a:pt x="8049063" y="1957260"/>
                </a:cubicBezTo>
                <a:cubicBezTo>
                  <a:pt x="8029160" y="1967600"/>
                  <a:pt x="8005744" y="1972031"/>
                  <a:pt x="7982330" y="1982372"/>
                </a:cubicBezTo>
                <a:cubicBezTo>
                  <a:pt x="8009842" y="1982372"/>
                  <a:pt x="8040868" y="1987542"/>
                  <a:pt x="8072479" y="1987542"/>
                </a:cubicBezTo>
                <a:cubicBezTo>
                  <a:pt x="8072479" y="1987542"/>
                  <a:pt x="8072479" y="1987542"/>
                  <a:pt x="8060772" y="1987542"/>
                </a:cubicBezTo>
                <a:cubicBezTo>
                  <a:pt x="8053160" y="1987542"/>
                  <a:pt x="8013355" y="2002313"/>
                  <a:pt x="8025648" y="2002313"/>
                </a:cubicBezTo>
                <a:cubicBezTo>
                  <a:pt x="8029160" y="2002313"/>
                  <a:pt x="8033258" y="2002313"/>
                  <a:pt x="8033258" y="2007483"/>
                </a:cubicBezTo>
                <a:cubicBezTo>
                  <a:pt x="8044966" y="2002313"/>
                  <a:pt x="8053160" y="1997143"/>
                  <a:pt x="8064868" y="1991974"/>
                </a:cubicBezTo>
                <a:cubicBezTo>
                  <a:pt x="8064868" y="1991974"/>
                  <a:pt x="8068966" y="1991974"/>
                  <a:pt x="8072479" y="1987542"/>
                </a:cubicBezTo>
                <a:cubicBezTo>
                  <a:pt x="8072479" y="1987542"/>
                  <a:pt x="8072479" y="1982372"/>
                  <a:pt x="8076577" y="1982372"/>
                </a:cubicBezTo>
                <a:cubicBezTo>
                  <a:pt x="8084772" y="1982372"/>
                  <a:pt x="8092382" y="1967600"/>
                  <a:pt x="8096480" y="1962430"/>
                </a:cubicBezTo>
                <a:cubicBezTo>
                  <a:pt x="8096480" y="1962430"/>
                  <a:pt x="8096480" y="1962430"/>
                  <a:pt x="8131603" y="1952829"/>
                </a:cubicBezTo>
                <a:cubicBezTo>
                  <a:pt x="8123992" y="1957260"/>
                  <a:pt x="8115798" y="1972031"/>
                  <a:pt x="8119896" y="1972031"/>
                </a:cubicBezTo>
                <a:cubicBezTo>
                  <a:pt x="8119896" y="1972031"/>
                  <a:pt x="8119896" y="1972031"/>
                  <a:pt x="8170824" y="1957260"/>
                </a:cubicBezTo>
                <a:cubicBezTo>
                  <a:pt x="8167311" y="1962430"/>
                  <a:pt x="8159116" y="1962430"/>
                  <a:pt x="8155604" y="1967600"/>
                </a:cubicBezTo>
                <a:cubicBezTo>
                  <a:pt x="8155604" y="1967600"/>
                  <a:pt x="8135701" y="1987542"/>
                  <a:pt x="8143310" y="1987542"/>
                </a:cubicBezTo>
                <a:cubicBezTo>
                  <a:pt x="8143310" y="1987542"/>
                  <a:pt x="8143310" y="1987542"/>
                  <a:pt x="8053160" y="2007483"/>
                </a:cubicBezTo>
                <a:lnTo>
                  <a:pt x="8049063" y="2007483"/>
                </a:lnTo>
                <a:cubicBezTo>
                  <a:pt x="8076577" y="2011915"/>
                  <a:pt x="8108187" y="2017085"/>
                  <a:pt x="8143310" y="2022255"/>
                </a:cubicBezTo>
                <a:cubicBezTo>
                  <a:pt x="8128090" y="2022255"/>
                  <a:pt x="8104090" y="2031857"/>
                  <a:pt x="8115798" y="2037027"/>
                </a:cubicBezTo>
                <a:cubicBezTo>
                  <a:pt x="8186630" y="2046629"/>
                  <a:pt x="8258047" y="2056969"/>
                  <a:pt x="8332390" y="2062139"/>
                </a:cubicBezTo>
                <a:cubicBezTo>
                  <a:pt x="8348196" y="2062139"/>
                  <a:pt x="8379808" y="2046629"/>
                  <a:pt x="8368099" y="2046629"/>
                </a:cubicBezTo>
                <a:cubicBezTo>
                  <a:pt x="8324782" y="2042197"/>
                  <a:pt x="8281462" y="2042197"/>
                  <a:pt x="8238144" y="2031857"/>
                </a:cubicBezTo>
                <a:cubicBezTo>
                  <a:pt x="8269754" y="2031857"/>
                  <a:pt x="8301364" y="2031857"/>
                  <a:pt x="8332390" y="2027426"/>
                </a:cubicBezTo>
                <a:cubicBezTo>
                  <a:pt x="8446541" y="2042197"/>
                  <a:pt x="8564790" y="2046629"/>
                  <a:pt x="8678940" y="2056969"/>
                </a:cubicBezTo>
                <a:cubicBezTo>
                  <a:pt x="8616304" y="2056969"/>
                  <a:pt x="8557180" y="2056969"/>
                  <a:pt x="8493957" y="2062139"/>
                </a:cubicBezTo>
                <a:cubicBezTo>
                  <a:pt x="8486347" y="2062139"/>
                  <a:pt x="8446541" y="2071741"/>
                  <a:pt x="8458835" y="2076911"/>
                </a:cubicBezTo>
                <a:cubicBezTo>
                  <a:pt x="8458835" y="2076911"/>
                  <a:pt x="8458835" y="2076911"/>
                  <a:pt x="8478153" y="2082081"/>
                </a:cubicBezTo>
                <a:cubicBezTo>
                  <a:pt x="8458835" y="2076911"/>
                  <a:pt x="8443029" y="2076911"/>
                  <a:pt x="8423126" y="2076911"/>
                </a:cubicBezTo>
                <a:cubicBezTo>
                  <a:pt x="8419029" y="2076911"/>
                  <a:pt x="8415514" y="2076911"/>
                  <a:pt x="8411417" y="2076911"/>
                </a:cubicBezTo>
                <a:cubicBezTo>
                  <a:pt x="8364002" y="2076911"/>
                  <a:pt x="8320684" y="2076911"/>
                  <a:pt x="8277364" y="2076911"/>
                </a:cubicBezTo>
                <a:cubicBezTo>
                  <a:pt x="8265658" y="2076911"/>
                  <a:pt x="8226435" y="2091683"/>
                  <a:pt x="8242240" y="2091683"/>
                </a:cubicBezTo>
                <a:cubicBezTo>
                  <a:pt x="8344098" y="2106455"/>
                  <a:pt x="8454738" y="2101285"/>
                  <a:pt x="8560692" y="2111625"/>
                </a:cubicBezTo>
                <a:cubicBezTo>
                  <a:pt x="8529665" y="2111625"/>
                  <a:pt x="8502154" y="2111625"/>
                  <a:pt x="8470541" y="2116056"/>
                </a:cubicBezTo>
                <a:cubicBezTo>
                  <a:pt x="8462346" y="2116056"/>
                  <a:pt x="8427223" y="2131567"/>
                  <a:pt x="8443029" y="2135998"/>
                </a:cubicBezTo>
                <a:cubicBezTo>
                  <a:pt x="8493957" y="2141168"/>
                  <a:pt x="8548984" y="2141168"/>
                  <a:pt x="8604595" y="2141168"/>
                </a:cubicBezTo>
                <a:cubicBezTo>
                  <a:pt x="8537277" y="2146338"/>
                  <a:pt x="8474638" y="2146338"/>
                  <a:pt x="8411417" y="2146338"/>
                </a:cubicBezTo>
                <a:cubicBezTo>
                  <a:pt x="8348196" y="2146338"/>
                  <a:pt x="8285560" y="2151508"/>
                  <a:pt x="8222338" y="2151508"/>
                </a:cubicBezTo>
                <a:cubicBezTo>
                  <a:pt x="8214142" y="2151508"/>
                  <a:pt x="8170824" y="2166280"/>
                  <a:pt x="8186630" y="2166280"/>
                </a:cubicBezTo>
                <a:cubicBezTo>
                  <a:pt x="8222338" y="2171450"/>
                  <a:pt x="8258047" y="2175882"/>
                  <a:pt x="8293170" y="2175882"/>
                </a:cubicBezTo>
                <a:cubicBezTo>
                  <a:pt x="8281462" y="2181052"/>
                  <a:pt x="8269754" y="2186222"/>
                  <a:pt x="8277364" y="2186222"/>
                </a:cubicBezTo>
                <a:cubicBezTo>
                  <a:pt x="8297266" y="2190654"/>
                  <a:pt x="8316586" y="2190654"/>
                  <a:pt x="8336488" y="2190654"/>
                </a:cubicBezTo>
                <a:cubicBezTo>
                  <a:pt x="8324782" y="2195824"/>
                  <a:pt x="8313073" y="2200994"/>
                  <a:pt x="8324782" y="2200994"/>
                </a:cubicBezTo>
                <a:cubicBezTo>
                  <a:pt x="8478153" y="2226106"/>
                  <a:pt x="8643817" y="2215765"/>
                  <a:pt x="8805384" y="2226106"/>
                </a:cubicBezTo>
                <a:cubicBezTo>
                  <a:pt x="8821189" y="2226106"/>
                  <a:pt x="8852214" y="2206164"/>
                  <a:pt x="8840507" y="2206164"/>
                </a:cubicBezTo>
                <a:cubicBezTo>
                  <a:pt x="8710551" y="2200994"/>
                  <a:pt x="8576497" y="2206164"/>
                  <a:pt x="8446541" y="2190654"/>
                </a:cubicBezTo>
                <a:cubicBezTo>
                  <a:pt x="8478153" y="2190654"/>
                  <a:pt x="8513862" y="2190654"/>
                  <a:pt x="8545471" y="2190654"/>
                </a:cubicBezTo>
                <a:cubicBezTo>
                  <a:pt x="8557180" y="2190654"/>
                  <a:pt x="8572986" y="2186222"/>
                  <a:pt x="8580595" y="2181052"/>
                </a:cubicBezTo>
                <a:cubicBezTo>
                  <a:pt x="8580595" y="2181052"/>
                  <a:pt x="8580595" y="2181052"/>
                  <a:pt x="8687136" y="2181052"/>
                </a:cubicBezTo>
                <a:cubicBezTo>
                  <a:pt x="8702941" y="2181052"/>
                  <a:pt x="8738064" y="2161110"/>
                  <a:pt x="8726356" y="2161110"/>
                </a:cubicBezTo>
                <a:cubicBezTo>
                  <a:pt x="8647915" y="2161110"/>
                  <a:pt x="8568888" y="2161110"/>
                  <a:pt x="8489860" y="2161110"/>
                </a:cubicBezTo>
                <a:cubicBezTo>
                  <a:pt x="8592303" y="2161110"/>
                  <a:pt x="8698843" y="2155940"/>
                  <a:pt x="8797188" y="2151508"/>
                </a:cubicBezTo>
                <a:cubicBezTo>
                  <a:pt x="8801286" y="2151508"/>
                  <a:pt x="8812995" y="2146338"/>
                  <a:pt x="8821189" y="2146338"/>
                </a:cubicBezTo>
                <a:cubicBezTo>
                  <a:pt x="8852214" y="2146338"/>
                  <a:pt x="8879727" y="2146338"/>
                  <a:pt x="8911338" y="2151508"/>
                </a:cubicBezTo>
                <a:cubicBezTo>
                  <a:pt x="8883825" y="2151508"/>
                  <a:pt x="8852214" y="2155940"/>
                  <a:pt x="8824701" y="2155940"/>
                </a:cubicBezTo>
                <a:cubicBezTo>
                  <a:pt x="8817093" y="2155940"/>
                  <a:pt x="8773771" y="2171450"/>
                  <a:pt x="8789578" y="2175882"/>
                </a:cubicBezTo>
                <a:cubicBezTo>
                  <a:pt x="8863922" y="2186222"/>
                  <a:pt x="8938851" y="2190654"/>
                  <a:pt x="9013781" y="2195824"/>
                </a:cubicBezTo>
                <a:cubicBezTo>
                  <a:pt x="9021975" y="2195824"/>
                  <a:pt x="9025490" y="2195824"/>
                  <a:pt x="9029586" y="2195824"/>
                </a:cubicBezTo>
                <a:cubicBezTo>
                  <a:pt x="9002073" y="2200994"/>
                  <a:pt x="8974560" y="2200994"/>
                  <a:pt x="8947047" y="2200994"/>
                </a:cubicBezTo>
                <a:cubicBezTo>
                  <a:pt x="8938851" y="2200994"/>
                  <a:pt x="8899631" y="2220936"/>
                  <a:pt x="8911338" y="2220936"/>
                </a:cubicBezTo>
                <a:cubicBezTo>
                  <a:pt x="8986268" y="2230537"/>
                  <a:pt x="9068807" y="2235708"/>
                  <a:pt x="9147834" y="2246048"/>
                </a:cubicBezTo>
                <a:cubicBezTo>
                  <a:pt x="9077001" y="2250480"/>
                  <a:pt x="9009683" y="2250480"/>
                  <a:pt x="8938851" y="2255649"/>
                </a:cubicBezTo>
                <a:cubicBezTo>
                  <a:pt x="8931242" y="2255649"/>
                  <a:pt x="8907242" y="2260819"/>
                  <a:pt x="8899631" y="2265251"/>
                </a:cubicBezTo>
                <a:cubicBezTo>
                  <a:pt x="8899631" y="2265251"/>
                  <a:pt x="8899631" y="2265251"/>
                  <a:pt x="8895533" y="2265251"/>
                </a:cubicBezTo>
                <a:cubicBezTo>
                  <a:pt x="8817093" y="2265251"/>
                  <a:pt x="8733968" y="2265251"/>
                  <a:pt x="8651427" y="2255649"/>
                </a:cubicBezTo>
                <a:cubicBezTo>
                  <a:pt x="8667232" y="2250480"/>
                  <a:pt x="8683038" y="2246048"/>
                  <a:pt x="8675428" y="2246048"/>
                </a:cubicBezTo>
                <a:cubicBezTo>
                  <a:pt x="8635621" y="2240878"/>
                  <a:pt x="8604595" y="2246048"/>
                  <a:pt x="8568888" y="2246048"/>
                </a:cubicBezTo>
                <a:cubicBezTo>
                  <a:pt x="8560692" y="2246048"/>
                  <a:pt x="8521471" y="2260819"/>
                  <a:pt x="8533179" y="2265251"/>
                </a:cubicBezTo>
                <a:cubicBezTo>
                  <a:pt x="8533179" y="2265251"/>
                  <a:pt x="8533179" y="2265251"/>
                  <a:pt x="8560692" y="2265251"/>
                </a:cubicBezTo>
                <a:cubicBezTo>
                  <a:pt x="8560692" y="2265251"/>
                  <a:pt x="8560692" y="2265251"/>
                  <a:pt x="8537277" y="2270421"/>
                </a:cubicBezTo>
                <a:cubicBezTo>
                  <a:pt x="8533179" y="2270421"/>
                  <a:pt x="8489860" y="2285193"/>
                  <a:pt x="8502154" y="2285193"/>
                </a:cubicBezTo>
                <a:cubicBezTo>
                  <a:pt x="8584693" y="2305135"/>
                  <a:pt x="8683038" y="2305135"/>
                  <a:pt x="8781384" y="2305135"/>
                </a:cubicBezTo>
                <a:cubicBezTo>
                  <a:pt x="8765577" y="2305135"/>
                  <a:pt x="8749770" y="2315475"/>
                  <a:pt x="8749770" y="2319907"/>
                </a:cubicBezTo>
                <a:cubicBezTo>
                  <a:pt x="8623914" y="2319907"/>
                  <a:pt x="8502154" y="2325077"/>
                  <a:pt x="8379808" y="2334679"/>
                </a:cubicBezTo>
                <a:cubicBezTo>
                  <a:pt x="8368099" y="2334679"/>
                  <a:pt x="8332390" y="2350189"/>
                  <a:pt x="8344098" y="2350189"/>
                </a:cubicBezTo>
                <a:cubicBezTo>
                  <a:pt x="8415514" y="2354620"/>
                  <a:pt x="8486347" y="2354620"/>
                  <a:pt x="8557180" y="2354620"/>
                </a:cubicBezTo>
                <a:cubicBezTo>
                  <a:pt x="8509764" y="2354620"/>
                  <a:pt x="8466444" y="2359790"/>
                  <a:pt x="8427223" y="2374562"/>
                </a:cubicBezTo>
                <a:cubicBezTo>
                  <a:pt x="8427223" y="2374562"/>
                  <a:pt x="8395612" y="2384902"/>
                  <a:pt x="8411417" y="2384902"/>
                </a:cubicBezTo>
                <a:cubicBezTo>
                  <a:pt x="8474638" y="2390072"/>
                  <a:pt x="8541373" y="2390072"/>
                  <a:pt x="8604595" y="2390072"/>
                </a:cubicBezTo>
                <a:cubicBezTo>
                  <a:pt x="8600497" y="2390072"/>
                  <a:pt x="8600497" y="2394504"/>
                  <a:pt x="8608108" y="2394504"/>
                </a:cubicBezTo>
                <a:cubicBezTo>
                  <a:pt x="8608108" y="2394504"/>
                  <a:pt x="8608108" y="2394504"/>
                  <a:pt x="8623914" y="2394504"/>
                </a:cubicBezTo>
                <a:cubicBezTo>
                  <a:pt x="8616304" y="2394504"/>
                  <a:pt x="8584693" y="2409276"/>
                  <a:pt x="8600497" y="2409276"/>
                </a:cubicBezTo>
                <a:cubicBezTo>
                  <a:pt x="8671330" y="2424786"/>
                  <a:pt x="8738064" y="2424786"/>
                  <a:pt x="8812995" y="2424786"/>
                </a:cubicBezTo>
                <a:cubicBezTo>
                  <a:pt x="8828799" y="2429217"/>
                  <a:pt x="8844604" y="2419616"/>
                  <a:pt x="8852214" y="2414446"/>
                </a:cubicBezTo>
                <a:cubicBezTo>
                  <a:pt x="8852214" y="2414446"/>
                  <a:pt x="8852214" y="2414446"/>
                  <a:pt x="8876217" y="2414446"/>
                </a:cubicBezTo>
                <a:cubicBezTo>
                  <a:pt x="8892019" y="2419616"/>
                  <a:pt x="8907242" y="2424786"/>
                  <a:pt x="8919534" y="2429217"/>
                </a:cubicBezTo>
                <a:cubicBezTo>
                  <a:pt x="8883825" y="2434388"/>
                  <a:pt x="8848702" y="2434388"/>
                  <a:pt x="8812995" y="2439558"/>
                </a:cubicBezTo>
                <a:cubicBezTo>
                  <a:pt x="8805384" y="2439558"/>
                  <a:pt x="8762065" y="2454330"/>
                  <a:pt x="8781384" y="2454330"/>
                </a:cubicBezTo>
                <a:cubicBezTo>
                  <a:pt x="8848702" y="2464670"/>
                  <a:pt x="8919534" y="2464670"/>
                  <a:pt x="8986268" y="2464670"/>
                </a:cubicBezTo>
                <a:cubicBezTo>
                  <a:pt x="8990366" y="2464670"/>
                  <a:pt x="8990366" y="2469101"/>
                  <a:pt x="8990366" y="2469101"/>
                </a:cubicBezTo>
                <a:cubicBezTo>
                  <a:pt x="8942949" y="2474271"/>
                  <a:pt x="8892019" y="2479442"/>
                  <a:pt x="8844604" y="2483873"/>
                </a:cubicBezTo>
                <a:cubicBezTo>
                  <a:pt x="8836409" y="2489043"/>
                  <a:pt x="8793090" y="2503815"/>
                  <a:pt x="8808894" y="2503815"/>
                </a:cubicBezTo>
                <a:cubicBezTo>
                  <a:pt x="8931242" y="2514155"/>
                  <a:pt x="9049490" y="2514155"/>
                  <a:pt x="9171249" y="2514155"/>
                </a:cubicBezTo>
                <a:cubicBezTo>
                  <a:pt x="9179447" y="2514155"/>
                  <a:pt x="9182957" y="2514155"/>
                  <a:pt x="9191153" y="2519325"/>
                </a:cubicBezTo>
                <a:cubicBezTo>
                  <a:pt x="9195249" y="2519325"/>
                  <a:pt x="9206958" y="2523757"/>
                  <a:pt x="9222764" y="2523757"/>
                </a:cubicBezTo>
                <a:cubicBezTo>
                  <a:pt x="9222764" y="2523757"/>
                  <a:pt x="9222764" y="2523757"/>
                  <a:pt x="9187055" y="2534097"/>
                </a:cubicBezTo>
                <a:cubicBezTo>
                  <a:pt x="9182957" y="2534097"/>
                  <a:pt x="9143738" y="2548869"/>
                  <a:pt x="9159542" y="2548869"/>
                </a:cubicBezTo>
                <a:cubicBezTo>
                  <a:pt x="9226277" y="2553300"/>
                  <a:pt x="9297695" y="2558470"/>
                  <a:pt x="9364427" y="2558470"/>
                </a:cubicBezTo>
                <a:cubicBezTo>
                  <a:pt x="9435260" y="2558470"/>
                  <a:pt x="9501994" y="2558470"/>
                  <a:pt x="9572826" y="2558470"/>
                </a:cubicBezTo>
                <a:cubicBezTo>
                  <a:pt x="9572826" y="2558470"/>
                  <a:pt x="9572826" y="2558470"/>
                  <a:pt x="9585119" y="2558470"/>
                </a:cubicBezTo>
                <a:cubicBezTo>
                  <a:pt x="9482677" y="2568811"/>
                  <a:pt x="9383746" y="2578413"/>
                  <a:pt x="9289499" y="2588753"/>
                </a:cubicBezTo>
                <a:cubicBezTo>
                  <a:pt x="9305303" y="2588753"/>
                  <a:pt x="9325206" y="2583583"/>
                  <a:pt x="9344525" y="2583583"/>
                </a:cubicBezTo>
                <a:cubicBezTo>
                  <a:pt x="9341012" y="2583583"/>
                  <a:pt x="9341012" y="2588753"/>
                  <a:pt x="9336914" y="2588753"/>
                </a:cubicBezTo>
                <a:cubicBezTo>
                  <a:pt x="9309401" y="2588753"/>
                  <a:pt x="9281888" y="2593184"/>
                  <a:pt x="9253790" y="2593184"/>
                </a:cubicBezTo>
                <a:cubicBezTo>
                  <a:pt x="9242081" y="2598355"/>
                  <a:pt x="9234473" y="2603524"/>
                  <a:pt x="9242081" y="2608695"/>
                </a:cubicBezTo>
                <a:cubicBezTo>
                  <a:pt x="9242081" y="2608695"/>
                  <a:pt x="9242081" y="2608695"/>
                  <a:pt x="9124419" y="2613126"/>
                </a:cubicBezTo>
                <a:cubicBezTo>
                  <a:pt x="9124419" y="2613126"/>
                  <a:pt x="9124419" y="2613126"/>
                  <a:pt x="9108614" y="2613126"/>
                </a:cubicBezTo>
                <a:cubicBezTo>
                  <a:pt x="9112125" y="2613126"/>
                  <a:pt x="9116223" y="2608695"/>
                  <a:pt x="9120323" y="2608695"/>
                </a:cubicBezTo>
                <a:cubicBezTo>
                  <a:pt x="9112125" y="2608695"/>
                  <a:pt x="9108614" y="2608695"/>
                  <a:pt x="9100418" y="2608695"/>
                </a:cubicBezTo>
                <a:cubicBezTo>
                  <a:pt x="9108614" y="2608695"/>
                  <a:pt x="9116223" y="2603524"/>
                  <a:pt x="9120323" y="2598355"/>
                </a:cubicBezTo>
                <a:lnTo>
                  <a:pt x="9127931" y="2598355"/>
                </a:lnTo>
                <a:cubicBezTo>
                  <a:pt x="9139640" y="2593184"/>
                  <a:pt x="9179447" y="2578413"/>
                  <a:pt x="9155444" y="2578413"/>
                </a:cubicBezTo>
                <a:cubicBezTo>
                  <a:pt x="9100418" y="2583583"/>
                  <a:pt x="9045392" y="2588753"/>
                  <a:pt x="8986268" y="2588753"/>
                </a:cubicBezTo>
                <a:cubicBezTo>
                  <a:pt x="9037196" y="2583583"/>
                  <a:pt x="9092808" y="2578413"/>
                  <a:pt x="9143738" y="2573242"/>
                </a:cubicBezTo>
                <a:cubicBezTo>
                  <a:pt x="9151932" y="2568811"/>
                  <a:pt x="9191153" y="2553300"/>
                  <a:pt x="9175349" y="2553300"/>
                </a:cubicBezTo>
                <a:cubicBezTo>
                  <a:pt x="9149885" y="2553300"/>
                  <a:pt x="9125296" y="2554593"/>
                  <a:pt x="9100637" y="2555886"/>
                </a:cubicBezTo>
                <a:lnTo>
                  <a:pt x="9055186" y="2557449"/>
                </a:lnTo>
                <a:lnTo>
                  <a:pt x="9064326" y="2553174"/>
                </a:lnTo>
                <a:cubicBezTo>
                  <a:pt x="9079417" y="2546838"/>
                  <a:pt x="9101590" y="2538529"/>
                  <a:pt x="9092808" y="2538529"/>
                </a:cubicBezTo>
                <a:cubicBezTo>
                  <a:pt x="8997975" y="2523757"/>
                  <a:pt x="8903727" y="2528927"/>
                  <a:pt x="8805384" y="2528927"/>
                </a:cubicBezTo>
                <a:cubicBezTo>
                  <a:pt x="8805384" y="2528927"/>
                  <a:pt x="8805384" y="2528927"/>
                  <a:pt x="8742162" y="2523757"/>
                </a:cubicBezTo>
                <a:cubicBezTo>
                  <a:pt x="8726356" y="2523757"/>
                  <a:pt x="8694745" y="2538529"/>
                  <a:pt x="8706453" y="2538529"/>
                </a:cubicBezTo>
                <a:cubicBezTo>
                  <a:pt x="8726356" y="2538529"/>
                  <a:pt x="8746260" y="2543698"/>
                  <a:pt x="8762065" y="2543698"/>
                </a:cubicBezTo>
                <a:cubicBezTo>
                  <a:pt x="8762065" y="2543698"/>
                  <a:pt x="8762065" y="2543698"/>
                  <a:pt x="8824701" y="2548869"/>
                </a:cubicBezTo>
                <a:cubicBezTo>
                  <a:pt x="8824701" y="2548869"/>
                  <a:pt x="8828799" y="2548869"/>
                  <a:pt x="8832895" y="2548869"/>
                </a:cubicBezTo>
                <a:cubicBezTo>
                  <a:pt x="8876217" y="2548869"/>
                  <a:pt x="8923046" y="2548869"/>
                  <a:pt x="8966366" y="2548869"/>
                </a:cubicBezTo>
                <a:cubicBezTo>
                  <a:pt x="8927144" y="2548869"/>
                  <a:pt x="8883825" y="2553300"/>
                  <a:pt x="8844604" y="2553300"/>
                </a:cubicBezTo>
                <a:cubicBezTo>
                  <a:pt x="8805384" y="2558470"/>
                  <a:pt x="8762065" y="2558470"/>
                  <a:pt x="8722260" y="2563641"/>
                </a:cubicBezTo>
                <a:cubicBezTo>
                  <a:pt x="8714649" y="2563641"/>
                  <a:pt x="8675428" y="2578413"/>
                  <a:pt x="8690646" y="2578413"/>
                </a:cubicBezTo>
                <a:cubicBezTo>
                  <a:pt x="8738064" y="2583583"/>
                  <a:pt x="8781384" y="2583583"/>
                  <a:pt x="8828799" y="2583583"/>
                </a:cubicBezTo>
                <a:cubicBezTo>
                  <a:pt x="8872118" y="2583583"/>
                  <a:pt x="8919534" y="2583583"/>
                  <a:pt x="8962851" y="2578413"/>
                </a:cubicBezTo>
                <a:cubicBezTo>
                  <a:pt x="8951145" y="2583583"/>
                  <a:pt x="8935341" y="2583583"/>
                  <a:pt x="8919534" y="2588753"/>
                </a:cubicBezTo>
                <a:cubicBezTo>
                  <a:pt x="8915436" y="2588753"/>
                  <a:pt x="8879727" y="2603524"/>
                  <a:pt x="8895533" y="2603524"/>
                </a:cubicBezTo>
                <a:cubicBezTo>
                  <a:pt x="8907242" y="2603524"/>
                  <a:pt x="8923046" y="2603524"/>
                  <a:pt x="8935341" y="2603524"/>
                </a:cubicBezTo>
                <a:cubicBezTo>
                  <a:pt x="8935341" y="2603524"/>
                  <a:pt x="8935341" y="2603524"/>
                  <a:pt x="8927144" y="2608695"/>
                </a:cubicBezTo>
                <a:cubicBezTo>
                  <a:pt x="8876217" y="2608695"/>
                  <a:pt x="8824701" y="2608695"/>
                  <a:pt x="8773771" y="2608695"/>
                </a:cubicBezTo>
                <a:cubicBezTo>
                  <a:pt x="8746260" y="2608695"/>
                  <a:pt x="8722260" y="2608695"/>
                  <a:pt x="8694745" y="2608695"/>
                </a:cubicBezTo>
                <a:cubicBezTo>
                  <a:pt x="8690646" y="2613126"/>
                  <a:pt x="8690646" y="2613126"/>
                  <a:pt x="8694745" y="2613126"/>
                </a:cubicBezTo>
                <a:cubicBezTo>
                  <a:pt x="8694745" y="2613126"/>
                  <a:pt x="8694745" y="2613126"/>
                  <a:pt x="8757969" y="2613126"/>
                </a:cubicBezTo>
                <a:cubicBezTo>
                  <a:pt x="8742162" y="2618296"/>
                  <a:pt x="8726356" y="2623466"/>
                  <a:pt x="8738064" y="2623466"/>
                </a:cubicBezTo>
                <a:cubicBezTo>
                  <a:pt x="8773771" y="2627898"/>
                  <a:pt x="8812995" y="2627898"/>
                  <a:pt x="8848702" y="2627898"/>
                </a:cubicBezTo>
                <a:cubicBezTo>
                  <a:pt x="8836409" y="2633068"/>
                  <a:pt x="8821189" y="2638238"/>
                  <a:pt x="8832895" y="2638238"/>
                </a:cubicBezTo>
                <a:cubicBezTo>
                  <a:pt x="8848702" y="2643408"/>
                  <a:pt x="8863922" y="2643408"/>
                  <a:pt x="8879727" y="2638238"/>
                </a:cubicBezTo>
                <a:cubicBezTo>
                  <a:pt x="8879727" y="2638238"/>
                  <a:pt x="8879727" y="2638238"/>
                  <a:pt x="8877313" y="2638884"/>
                </a:cubicBezTo>
                <a:lnTo>
                  <a:pt x="8861740" y="2643052"/>
                </a:lnTo>
                <a:lnTo>
                  <a:pt x="8848702" y="2643408"/>
                </a:lnTo>
                <a:cubicBezTo>
                  <a:pt x="8852214" y="2643408"/>
                  <a:pt x="8856312" y="2643408"/>
                  <a:pt x="8856312" y="2643408"/>
                </a:cubicBezTo>
                <a:cubicBezTo>
                  <a:pt x="8860410" y="2643408"/>
                  <a:pt x="8860410" y="2643408"/>
                  <a:pt x="8860410" y="2643408"/>
                </a:cubicBezTo>
                <a:lnTo>
                  <a:pt x="8861740" y="2643052"/>
                </a:lnTo>
                <a:lnTo>
                  <a:pt x="8967170" y="2640177"/>
                </a:lnTo>
                <a:cubicBezTo>
                  <a:pt x="9007049" y="2638238"/>
                  <a:pt x="9047441" y="2635653"/>
                  <a:pt x="9088710" y="2633068"/>
                </a:cubicBezTo>
                <a:cubicBezTo>
                  <a:pt x="9088710" y="2633068"/>
                  <a:pt x="9088710" y="2633068"/>
                  <a:pt x="9159542" y="2633068"/>
                </a:cubicBezTo>
                <a:cubicBezTo>
                  <a:pt x="9151932" y="2638238"/>
                  <a:pt x="9139640" y="2643408"/>
                  <a:pt x="9132029" y="2647840"/>
                </a:cubicBezTo>
                <a:cubicBezTo>
                  <a:pt x="9143738" y="2645624"/>
                  <a:pt x="9154567" y="2644516"/>
                  <a:pt x="9165397" y="2643962"/>
                </a:cubicBezTo>
                <a:lnTo>
                  <a:pt x="9178279" y="2643748"/>
                </a:lnTo>
                <a:lnTo>
                  <a:pt x="9168762" y="2646524"/>
                </a:lnTo>
                <a:cubicBezTo>
                  <a:pt x="9154822" y="2652133"/>
                  <a:pt x="9134956" y="2663350"/>
                  <a:pt x="9143738" y="2663350"/>
                </a:cubicBezTo>
                <a:cubicBezTo>
                  <a:pt x="9182957" y="2667782"/>
                  <a:pt x="9226277" y="2667782"/>
                  <a:pt x="9266082" y="2663350"/>
                </a:cubicBezTo>
                <a:cubicBezTo>
                  <a:pt x="9253790" y="2667782"/>
                  <a:pt x="9230375" y="2683292"/>
                  <a:pt x="9242081" y="2683292"/>
                </a:cubicBezTo>
                <a:cubicBezTo>
                  <a:pt x="9317012" y="2687723"/>
                  <a:pt x="9391940" y="2683292"/>
                  <a:pt x="9470969" y="2678122"/>
                </a:cubicBezTo>
                <a:cubicBezTo>
                  <a:pt x="9486187" y="2678122"/>
                  <a:pt x="9514286" y="2663350"/>
                  <a:pt x="9510188" y="2658180"/>
                </a:cubicBezTo>
                <a:cubicBezTo>
                  <a:pt x="9494384" y="2658180"/>
                  <a:pt x="9478579" y="2663350"/>
                  <a:pt x="9466871" y="2663350"/>
                </a:cubicBezTo>
                <a:cubicBezTo>
                  <a:pt x="9462773" y="2663350"/>
                  <a:pt x="9455162" y="2667782"/>
                  <a:pt x="9446968" y="2667782"/>
                </a:cubicBezTo>
                <a:cubicBezTo>
                  <a:pt x="9439356" y="2663350"/>
                  <a:pt x="9423553" y="2663350"/>
                  <a:pt x="9399550" y="2663350"/>
                </a:cubicBezTo>
                <a:lnTo>
                  <a:pt x="9376136" y="2663350"/>
                </a:lnTo>
                <a:cubicBezTo>
                  <a:pt x="9376136" y="2663350"/>
                  <a:pt x="9372038" y="2663350"/>
                  <a:pt x="9368525" y="2663350"/>
                </a:cubicBezTo>
                <a:lnTo>
                  <a:pt x="9348623" y="2663350"/>
                </a:lnTo>
                <a:cubicBezTo>
                  <a:pt x="9352721" y="2658180"/>
                  <a:pt x="9356231" y="2658180"/>
                  <a:pt x="9360329" y="2653010"/>
                </a:cubicBezTo>
                <a:cubicBezTo>
                  <a:pt x="9383746" y="2653010"/>
                  <a:pt x="9411845" y="2653010"/>
                  <a:pt x="9435260" y="2653010"/>
                </a:cubicBezTo>
                <a:cubicBezTo>
                  <a:pt x="9446968" y="2647840"/>
                  <a:pt x="9458674" y="2647840"/>
                  <a:pt x="9466871" y="2643408"/>
                </a:cubicBezTo>
                <a:cubicBezTo>
                  <a:pt x="9588631" y="2638238"/>
                  <a:pt x="9710977" y="2627898"/>
                  <a:pt x="9836835" y="2623466"/>
                </a:cubicBezTo>
                <a:cubicBezTo>
                  <a:pt x="9770101" y="2627898"/>
                  <a:pt x="9702781" y="2638238"/>
                  <a:pt x="9640144" y="2653010"/>
                </a:cubicBezTo>
                <a:cubicBezTo>
                  <a:pt x="9631950" y="2653010"/>
                  <a:pt x="9588631" y="2672951"/>
                  <a:pt x="9604435" y="2672951"/>
                </a:cubicBezTo>
                <a:cubicBezTo>
                  <a:pt x="9604435" y="2672951"/>
                  <a:pt x="9604435" y="2672951"/>
                  <a:pt x="9624338" y="2672951"/>
                </a:cubicBezTo>
                <a:cubicBezTo>
                  <a:pt x="9604435" y="2672951"/>
                  <a:pt x="9588631" y="2678122"/>
                  <a:pt x="9569312" y="2678122"/>
                </a:cubicBezTo>
                <a:cubicBezTo>
                  <a:pt x="9565214" y="2678122"/>
                  <a:pt x="9557020" y="2683292"/>
                  <a:pt x="9553507" y="2683292"/>
                </a:cubicBezTo>
                <a:cubicBezTo>
                  <a:pt x="9541801" y="2683292"/>
                  <a:pt x="9525995" y="2687723"/>
                  <a:pt x="9514286" y="2687723"/>
                </a:cubicBezTo>
                <a:cubicBezTo>
                  <a:pt x="9557020" y="2687723"/>
                  <a:pt x="9600337" y="2687723"/>
                  <a:pt x="9647755" y="2687723"/>
                </a:cubicBezTo>
                <a:cubicBezTo>
                  <a:pt x="9647755" y="2687723"/>
                  <a:pt x="9647755" y="2687723"/>
                  <a:pt x="9620242" y="2692894"/>
                </a:cubicBezTo>
                <a:cubicBezTo>
                  <a:pt x="9616144" y="2692894"/>
                  <a:pt x="9604435" y="2698064"/>
                  <a:pt x="9596827" y="2702496"/>
                </a:cubicBezTo>
                <a:cubicBezTo>
                  <a:pt x="9636046" y="2698064"/>
                  <a:pt x="9675268" y="2692894"/>
                  <a:pt x="9714489" y="2692894"/>
                </a:cubicBezTo>
                <a:cubicBezTo>
                  <a:pt x="9683462" y="2698064"/>
                  <a:pt x="9651853" y="2702496"/>
                  <a:pt x="9620242" y="2712836"/>
                </a:cubicBezTo>
                <a:cubicBezTo>
                  <a:pt x="9659461" y="2712836"/>
                  <a:pt x="9695170" y="2712836"/>
                  <a:pt x="9734392" y="2712836"/>
                </a:cubicBezTo>
                <a:cubicBezTo>
                  <a:pt x="9738490" y="2712836"/>
                  <a:pt x="9742586" y="2718006"/>
                  <a:pt x="9746100" y="2718006"/>
                </a:cubicBezTo>
                <a:cubicBezTo>
                  <a:pt x="9754294" y="2718006"/>
                  <a:pt x="9758392" y="2718006"/>
                  <a:pt x="9761905" y="2718006"/>
                </a:cubicBezTo>
                <a:cubicBezTo>
                  <a:pt x="9758392" y="2718006"/>
                  <a:pt x="9754294" y="2718006"/>
                  <a:pt x="9750198" y="2722437"/>
                </a:cubicBezTo>
                <a:cubicBezTo>
                  <a:pt x="9746100" y="2722437"/>
                  <a:pt x="9742586" y="2722437"/>
                  <a:pt x="9734392" y="2722437"/>
                </a:cubicBezTo>
                <a:cubicBezTo>
                  <a:pt x="9699268" y="2727608"/>
                  <a:pt x="9659461" y="2732777"/>
                  <a:pt x="9620242" y="2742379"/>
                </a:cubicBezTo>
                <a:cubicBezTo>
                  <a:pt x="9604435" y="2747549"/>
                  <a:pt x="9588631" y="2757151"/>
                  <a:pt x="9600337" y="2757151"/>
                </a:cubicBezTo>
                <a:cubicBezTo>
                  <a:pt x="9631950" y="2757151"/>
                  <a:pt x="9663559" y="2757151"/>
                  <a:pt x="9691074" y="2752719"/>
                </a:cubicBezTo>
                <a:cubicBezTo>
                  <a:pt x="9691074" y="2752719"/>
                  <a:pt x="9691074" y="2752719"/>
                  <a:pt x="9675268" y="2757151"/>
                </a:cubicBezTo>
                <a:lnTo>
                  <a:pt x="9679366" y="2757151"/>
                </a:lnTo>
                <a:cubicBezTo>
                  <a:pt x="9679366" y="2757151"/>
                  <a:pt x="9679366" y="2757151"/>
                  <a:pt x="9750198" y="2757151"/>
                </a:cubicBezTo>
                <a:cubicBezTo>
                  <a:pt x="9750198" y="2757151"/>
                  <a:pt x="9750198" y="2757151"/>
                  <a:pt x="9856738" y="2742379"/>
                </a:cubicBezTo>
                <a:cubicBezTo>
                  <a:pt x="9872542" y="2737948"/>
                  <a:pt x="9903568" y="2718006"/>
                  <a:pt x="9891859" y="2718006"/>
                </a:cubicBezTo>
                <a:cubicBezTo>
                  <a:pt x="9809320" y="2727608"/>
                  <a:pt x="9726783" y="2742379"/>
                  <a:pt x="9644242" y="2752719"/>
                </a:cubicBezTo>
                <a:cubicBezTo>
                  <a:pt x="9754294" y="2737948"/>
                  <a:pt x="9860834" y="2718006"/>
                  <a:pt x="9966790" y="2698064"/>
                </a:cubicBezTo>
                <a:cubicBezTo>
                  <a:pt x="9970888" y="2698064"/>
                  <a:pt x="9982596" y="2692894"/>
                  <a:pt x="9990790" y="2687723"/>
                </a:cubicBezTo>
                <a:cubicBezTo>
                  <a:pt x="10021815" y="2687723"/>
                  <a:pt x="10053427" y="2683292"/>
                  <a:pt x="10085040" y="2678122"/>
                </a:cubicBezTo>
                <a:cubicBezTo>
                  <a:pt x="10057525" y="2683292"/>
                  <a:pt x="10025914" y="2692894"/>
                  <a:pt x="9994305" y="2698064"/>
                </a:cubicBezTo>
                <a:cubicBezTo>
                  <a:pt x="9986692" y="2702496"/>
                  <a:pt x="9943375" y="2722437"/>
                  <a:pt x="9962692" y="2722437"/>
                </a:cubicBezTo>
                <a:cubicBezTo>
                  <a:pt x="10041720" y="2722437"/>
                  <a:pt x="10120163" y="2712836"/>
                  <a:pt x="10199189" y="2707665"/>
                </a:cubicBezTo>
                <a:cubicBezTo>
                  <a:pt x="10203288" y="2707665"/>
                  <a:pt x="10210896" y="2707665"/>
                  <a:pt x="10214994" y="2707665"/>
                </a:cubicBezTo>
                <a:cubicBezTo>
                  <a:pt x="10183383" y="2712836"/>
                  <a:pt x="10155870" y="2718006"/>
                  <a:pt x="10128357" y="2727608"/>
                </a:cubicBezTo>
                <a:cubicBezTo>
                  <a:pt x="10116649" y="2727608"/>
                  <a:pt x="10076841" y="2747549"/>
                  <a:pt x="10092648" y="2747549"/>
                </a:cubicBezTo>
                <a:cubicBezTo>
                  <a:pt x="10171674" y="2747549"/>
                  <a:pt x="10258313" y="2742379"/>
                  <a:pt x="10340852" y="2737948"/>
                </a:cubicBezTo>
                <a:cubicBezTo>
                  <a:pt x="10270020" y="2752719"/>
                  <a:pt x="10195089" y="2767491"/>
                  <a:pt x="10124259" y="2777093"/>
                </a:cubicBezTo>
                <a:cubicBezTo>
                  <a:pt x="10116649" y="2777093"/>
                  <a:pt x="10089136" y="2791864"/>
                  <a:pt x="10085040" y="2797035"/>
                </a:cubicBezTo>
                <a:lnTo>
                  <a:pt x="10080939" y="2797035"/>
                </a:lnTo>
                <a:cubicBezTo>
                  <a:pt x="10006011" y="2807375"/>
                  <a:pt x="9927568" y="2816977"/>
                  <a:pt x="9848542" y="2822147"/>
                </a:cubicBezTo>
                <a:cubicBezTo>
                  <a:pt x="9860834" y="2822147"/>
                  <a:pt x="9872542" y="2822147"/>
                  <a:pt x="9884251" y="2822147"/>
                </a:cubicBezTo>
                <a:cubicBezTo>
                  <a:pt x="9821029" y="2831748"/>
                  <a:pt x="9758392" y="2836918"/>
                  <a:pt x="9699268" y="2846520"/>
                </a:cubicBezTo>
                <a:cubicBezTo>
                  <a:pt x="9699268" y="2846520"/>
                  <a:pt x="9699268" y="2846520"/>
                  <a:pt x="9730294" y="2846520"/>
                </a:cubicBezTo>
                <a:cubicBezTo>
                  <a:pt x="9722683" y="2851690"/>
                  <a:pt x="9714489" y="2851690"/>
                  <a:pt x="9706879" y="2851690"/>
                </a:cubicBezTo>
                <a:cubicBezTo>
                  <a:pt x="9699268" y="2856861"/>
                  <a:pt x="9675268" y="2866462"/>
                  <a:pt x="9667657" y="2871632"/>
                </a:cubicBezTo>
                <a:cubicBezTo>
                  <a:pt x="9706879" y="2871632"/>
                  <a:pt x="9746100" y="2871632"/>
                  <a:pt x="9781809" y="2871632"/>
                </a:cubicBezTo>
                <a:cubicBezTo>
                  <a:pt x="9766003" y="2871632"/>
                  <a:pt x="9750198" y="2871632"/>
                  <a:pt x="9730294" y="2876802"/>
                </a:cubicBezTo>
                <a:cubicBezTo>
                  <a:pt x="9805224" y="2876802"/>
                  <a:pt x="9884251" y="2862030"/>
                  <a:pt x="9962692" y="2851690"/>
                </a:cubicBezTo>
                <a:cubicBezTo>
                  <a:pt x="9946887" y="2856861"/>
                  <a:pt x="9931666" y="2866462"/>
                  <a:pt x="9931666" y="2871632"/>
                </a:cubicBezTo>
                <a:cubicBezTo>
                  <a:pt x="9801710" y="2886404"/>
                  <a:pt x="9671755" y="2911516"/>
                  <a:pt x="9545311" y="2941059"/>
                </a:cubicBezTo>
                <a:cubicBezTo>
                  <a:pt x="9537703" y="2941059"/>
                  <a:pt x="9514286" y="2956570"/>
                  <a:pt x="9510188" y="2961001"/>
                </a:cubicBezTo>
                <a:cubicBezTo>
                  <a:pt x="9585119" y="2956570"/>
                  <a:pt x="9659461" y="2946230"/>
                  <a:pt x="9734392" y="2931458"/>
                </a:cubicBezTo>
                <a:cubicBezTo>
                  <a:pt x="9683462" y="2941059"/>
                  <a:pt x="9640144" y="2956570"/>
                  <a:pt x="9600337" y="2971342"/>
                </a:cubicBezTo>
                <a:cubicBezTo>
                  <a:pt x="9596827" y="2975773"/>
                  <a:pt x="9569312" y="2990545"/>
                  <a:pt x="9581020" y="2986114"/>
                </a:cubicBezTo>
                <a:cubicBezTo>
                  <a:pt x="9651853" y="2980943"/>
                  <a:pt x="9718585" y="2971342"/>
                  <a:pt x="9785907" y="2961001"/>
                </a:cubicBezTo>
                <a:cubicBezTo>
                  <a:pt x="9781809" y="2966171"/>
                  <a:pt x="9781809" y="2966171"/>
                  <a:pt x="9789418" y="2966171"/>
                </a:cubicBezTo>
                <a:cubicBezTo>
                  <a:pt x="9789418" y="2966171"/>
                  <a:pt x="9789418" y="2966171"/>
                  <a:pt x="9791906" y="2966171"/>
                </a:cubicBezTo>
                <a:lnTo>
                  <a:pt x="9805224" y="2966171"/>
                </a:lnTo>
                <a:cubicBezTo>
                  <a:pt x="9801710" y="2966171"/>
                  <a:pt x="9766003" y="2986114"/>
                  <a:pt x="9781809" y="2986114"/>
                </a:cubicBezTo>
                <a:cubicBezTo>
                  <a:pt x="9856738" y="2986114"/>
                  <a:pt x="9931666" y="2975773"/>
                  <a:pt x="10010109" y="2971342"/>
                </a:cubicBezTo>
                <a:cubicBezTo>
                  <a:pt x="10021815" y="2966171"/>
                  <a:pt x="10041720" y="2956570"/>
                  <a:pt x="10045816" y="2951399"/>
                </a:cubicBezTo>
                <a:cubicBezTo>
                  <a:pt x="10045816" y="2951399"/>
                  <a:pt x="10045816" y="2951399"/>
                  <a:pt x="10073331" y="2946230"/>
                </a:cubicBezTo>
                <a:cubicBezTo>
                  <a:pt x="10089136" y="2951399"/>
                  <a:pt x="10104940" y="2951399"/>
                  <a:pt x="10120163" y="2956570"/>
                </a:cubicBezTo>
                <a:cubicBezTo>
                  <a:pt x="10080939" y="2966171"/>
                  <a:pt x="10045816" y="2971342"/>
                  <a:pt x="10010109" y="2980943"/>
                </a:cubicBezTo>
                <a:cubicBezTo>
                  <a:pt x="9998401" y="2986114"/>
                  <a:pt x="9959181" y="3006055"/>
                  <a:pt x="9974986" y="3000885"/>
                </a:cubicBezTo>
                <a:cubicBezTo>
                  <a:pt x="10049330" y="3000885"/>
                  <a:pt x="10120163" y="2990545"/>
                  <a:pt x="10191579" y="2980943"/>
                </a:cubicBezTo>
                <a:cubicBezTo>
                  <a:pt x="10195089" y="2980943"/>
                  <a:pt x="10195089" y="2986114"/>
                  <a:pt x="10199189" y="2986114"/>
                </a:cubicBezTo>
                <a:cubicBezTo>
                  <a:pt x="10148260" y="2995715"/>
                  <a:pt x="10096746" y="3010486"/>
                  <a:pt x="10045816" y="3025997"/>
                </a:cubicBezTo>
                <a:cubicBezTo>
                  <a:pt x="10037622" y="3025997"/>
                  <a:pt x="9994305" y="3045939"/>
                  <a:pt x="10010109" y="3045939"/>
                </a:cubicBezTo>
                <a:cubicBezTo>
                  <a:pt x="10135965" y="3035598"/>
                  <a:pt x="10265922" y="3020827"/>
                  <a:pt x="10392366" y="3000885"/>
                </a:cubicBezTo>
                <a:cubicBezTo>
                  <a:pt x="10395878" y="3000885"/>
                  <a:pt x="10404074" y="3000885"/>
                  <a:pt x="10411685" y="3000885"/>
                </a:cubicBezTo>
                <a:cubicBezTo>
                  <a:pt x="10415781" y="3006055"/>
                  <a:pt x="10431587" y="3006055"/>
                  <a:pt x="10443294" y="3006055"/>
                </a:cubicBezTo>
                <a:cubicBezTo>
                  <a:pt x="10443294" y="3006055"/>
                  <a:pt x="10443294" y="3006055"/>
                  <a:pt x="10411685" y="3015657"/>
                </a:cubicBezTo>
                <a:cubicBezTo>
                  <a:pt x="10404074" y="3020827"/>
                  <a:pt x="10364853" y="3040769"/>
                  <a:pt x="10384170" y="3040769"/>
                </a:cubicBezTo>
                <a:cubicBezTo>
                  <a:pt x="10451490" y="3035598"/>
                  <a:pt x="10525835" y="3025997"/>
                  <a:pt x="10596667" y="3020827"/>
                </a:cubicBezTo>
                <a:cubicBezTo>
                  <a:pt x="10671596" y="3006055"/>
                  <a:pt x="10742426" y="2995715"/>
                  <a:pt x="10813258" y="2986114"/>
                </a:cubicBezTo>
                <a:cubicBezTo>
                  <a:pt x="10813258" y="2986114"/>
                  <a:pt x="10813258" y="2986114"/>
                  <a:pt x="10825551" y="2986114"/>
                </a:cubicBezTo>
                <a:cubicBezTo>
                  <a:pt x="10719011" y="3010486"/>
                  <a:pt x="10612472" y="3040769"/>
                  <a:pt x="10506518" y="3060711"/>
                </a:cubicBezTo>
                <a:cubicBezTo>
                  <a:pt x="10498320" y="3060711"/>
                  <a:pt x="10459100" y="3085084"/>
                  <a:pt x="10470809" y="3085084"/>
                </a:cubicBezTo>
                <a:cubicBezTo>
                  <a:pt x="10470809" y="3085084"/>
                  <a:pt x="10470809" y="3085084"/>
                  <a:pt x="10349046" y="3110196"/>
                </a:cubicBezTo>
                <a:cubicBezTo>
                  <a:pt x="10349046" y="3110196"/>
                  <a:pt x="10349046" y="3110196"/>
                  <a:pt x="10333242" y="3110196"/>
                </a:cubicBezTo>
                <a:cubicBezTo>
                  <a:pt x="10349046" y="3105026"/>
                  <a:pt x="10368365" y="3090254"/>
                  <a:pt x="10349046" y="3095424"/>
                </a:cubicBezTo>
                <a:cubicBezTo>
                  <a:pt x="10340852" y="3095424"/>
                  <a:pt x="10333242" y="3095424"/>
                  <a:pt x="10321535" y="3100595"/>
                </a:cubicBezTo>
                <a:cubicBezTo>
                  <a:pt x="10333242" y="3095424"/>
                  <a:pt x="10340852" y="3095424"/>
                  <a:pt x="10352561" y="3090254"/>
                </a:cubicBezTo>
                <a:cubicBezTo>
                  <a:pt x="10364853" y="3085084"/>
                  <a:pt x="10404074" y="3065143"/>
                  <a:pt x="10380659" y="3070312"/>
                </a:cubicBezTo>
                <a:cubicBezTo>
                  <a:pt x="10321535" y="3080652"/>
                  <a:pt x="10262411" y="3095424"/>
                  <a:pt x="10203288" y="3105026"/>
                </a:cubicBezTo>
                <a:cubicBezTo>
                  <a:pt x="10258313" y="3090254"/>
                  <a:pt x="10313339" y="3075482"/>
                  <a:pt x="10364853" y="3065143"/>
                </a:cubicBezTo>
                <a:cubicBezTo>
                  <a:pt x="10376561" y="3060711"/>
                  <a:pt x="10411685" y="3040769"/>
                  <a:pt x="10399976" y="3040769"/>
                </a:cubicBezTo>
                <a:cubicBezTo>
                  <a:pt x="10344950" y="3050370"/>
                  <a:pt x="10293437" y="3060711"/>
                  <a:pt x="10242507" y="3070312"/>
                </a:cubicBezTo>
                <a:cubicBezTo>
                  <a:pt x="10242507" y="3070312"/>
                  <a:pt x="10242507" y="3070312"/>
                  <a:pt x="10274118" y="3060711"/>
                </a:cubicBezTo>
                <a:cubicBezTo>
                  <a:pt x="10278216" y="3060711"/>
                  <a:pt x="10321535" y="3040769"/>
                  <a:pt x="10309241" y="3040769"/>
                </a:cubicBezTo>
                <a:cubicBezTo>
                  <a:pt x="10210896" y="3040769"/>
                  <a:pt x="10112550" y="3055541"/>
                  <a:pt x="10010109" y="3070312"/>
                </a:cubicBezTo>
                <a:cubicBezTo>
                  <a:pt x="10010109" y="3070312"/>
                  <a:pt x="10010109" y="3070312"/>
                  <a:pt x="9943375" y="3075482"/>
                </a:cubicBezTo>
                <a:cubicBezTo>
                  <a:pt x="9927568" y="3075482"/>
                  <a:pt x="9891859" y="3100595"/>
                  <a:pt x="9903568" y="3095424"/>
                </a:cubicBezTo>
                <a:cubicBezTo>
                  <a:pt x="9927568" y="3095424"/>
                  <a:pt x="9946887" y="3095424"/>
                  <a:pt x="9966790" y="3090254"/>
                </a:cubicBezTo>
                <a:cubicBezTo>
                  <a:pt x="9966790" y="3090254"/>
                  <a:pt x="9966790" y="3090254"/>
                  <a:pt x="10030014" y="3085084"/>
                </a:cubicBezTo>
                <a:cubicBezTo>
                  <a:pt x="10034110" y="3085084"/>
                  <a:pt x="10034110" y="3085084"/>
                  <a:pt x="10037622" y="3085084"/>
                </a:cubicBezTo>
                <a:cubicBezTo>
                  <a:pt x="10085040" y="3080652"/>
                  <a:pt x="10132455" y="3070312"/>
                  <a:pt x="10179287" y="3065143"/>
                </a:cubicBezTo>
                <a:cubicBezTo>
                  <a:pt x="10135965" y="3075482"/>
                  <a:pt x="10092648" y="3085084"/>
                  <a:pt x="10053427" y="3090254"/>
                </a:cubicBezTo>
                <a:cubicBezTo>
                  <a:pt x="10010109" y="3100595"/>
                  <a:pt x="9966790" y="3105026"/>
                  <a:pt x="9927568" y="3115366"/>
                </a:cubicBezTo>
                <a:cubicBezTo>
                  <a:pt x="9919374" y="3120536"/>
                  <a:pt x="9876057" y="3139739"/>
                  <a:pt x="9891859" y="3139739"/>
                </a:cubicBezTo>
                <a:cubicBezTo>
                  <a:pt x="9939277" y="3135308"/>
                  <a:pt x="9990790" y="3130138"/>
                  <a:pt x="10037622" y="3124968"/>
                </a:cubicBezTo>
                <a:cubicBezTo>
                  <a:pt x="10085040" y="3115366"/>
                  <a:pt x="10132455" y="3105026"/>
                  <a:pt x="10179287" y="3100595"/>
                </a:cubicBezTo>
                <a:cubicBezTo>
                  <a:pt x="10164064" y="3105026"/>
                  <a:pt x="10148260" y="3110196"/>
                  <a:pt x="10132455" y="3115366"/>
                </a:cubicBezTo>
                <a:cubicBezTo>
                  <a:pt x="10128357" y="3115366"/>
                  <a:pt x="10092648" y="3135308"/>
                  <a:pt x="10112550" y="3135308"/>
                </a:cubicBezTo>
                <a:cubicBezTo>
                  <a:pt x="10118406" y="3132723"/>
                  <a:pt x="10124259" y="3131430"/>
                  <a:pt x="10130625" y="3130784"/>
                </a:cubicBezTo>
                <a:lnTo>
                  <a:pt x="10142532" y="3130420"/>
                </a:lnTo>
                <a:lnTo>
                  <a:pt x="10062062" y="3144355"/>
                </a:lnTo>
                <a:cubicBezTo>
                  <a:pt x="10034987" y="3148787"/>
                  <a:pt x="10008352" y="3152665"/>
                  <a:pt x="9982596" y="3155250"/>
                </a:cubicBezTo>
                <a:cubicBezTo>
                  <a:pt x="9919374" y="3164851"/>
                  <a:pt x="9840933" y="3175192"/>
                  <a:pt x="9801710" y="3199565"/>
                </a:cubicBezTo>
                <a:cubicBezTo>
                  <a:pt x="9773611" y="3214337"/>
                  <a:pt x="9809320" y="3204735"/>
                  <a:pt x="9825127" y="3194396"/>
                </a:cubicBezTo>
                <a:cubicBezTo>
                  <a:pt x="9832735" y="3194396"/>
                  <a:pt x="9864348" y="3189964"/>
                  <a:pt x="9891859" y="3184794"/>
                </a:cubicBezTo>
                <a:cubicBezTo>
                  <a:pt x="9884251" y="3189964"/>
                  <a:pt x="9876057" y="3194396"/>
                  <a:pt x="9887763" y="3194396"/>
                </a:cubicBezTo>
                <a:cubicBezTo>
                  <a:pt x="10030014" y="3194396"/>
                  <a:pt x="10171674" y="3164851"/>
                  <a:pt x="10313339" y="3135308"/>
                </a:cubicBezTo>
                <a:cubicBezTo>
                  <a:pt x="10313339" y="3135308"/>
                  <a:pt x="10313339" y="3135308"/>
                  <a:pt x="10388268" y="3124968"/>
                </a:cubicBezTo>
                <a:cubicBezTo>
                  <a:pt x="10376561" y="3130138"/>
                  <a:pt x="10356657" y="3139739"/>
                  <a:pt x="10356657" y="3144910"/>
                </a:cubicBezTo>
                <a:cubicBezTo>
                  <a:pt x="10293437" y="3155250"/>
                  <a:pt x="10230798" y="3164851"/>
                  <a:pt x="10171674" y="3175192"/>
                </a:cubicBezTo>
                <a:cubicBezTo>
                  <a:pt x="10108454" y="3189964"/>
                  <a:pt x="10045816" y="3199565"/>
                  <a:pt x="9982596" y="3214337"/>
                </a:cubicBezTo>
                <a:cubicBezTo>
                  <a:pt x="9970888" y="3214337"/>
                  <a:pt x="9939277" y="3234279"/>
                  <a:pt x="9950985" y="3234279"/>
                </a:cubicBezTo>
                <a:cubicBezTo>
                  <a:pt x="9982596" y="3229109"/>
                  <a:pt x="10014207" y="3224677"/>
                  <a:pt x="10049330" y="3219507"/>
                </a:cubicBezTo>
                <a:cubicBezTo>
                  <a:pt x="10080939" y="3214337"/>
                  <a:pt x="10116649" y="3209167"/>
                  <a:pt x="10148260" y="3204735"/>
                </a:cubicBezTo>
                <a:cubicBezTo>
                  <a:pt x="10135965" y="3209167"/>
                  <a:pt x="10124259" y="3219507"/>
                  <a:pt x="10135965" y="3219507"/>
                </a:cubicBezTo>
                <a:cubicBezTo>
                  <a:pt x="10148260" y="3219507"/>
                  <a:pt x="10159968" y="3214337"/>
                  <a:pt x="10171674" y="3214337"/>
                </a:cubicBezTo>
                <a:cubicBezTo>
                  <a:pt x="10187481" y="3214337"/>
                  <a:pt x="10199189" y="3209167"/>
                  <a:pt x="10210896" y="3209167"/>
                </a:cubicBezTo>
                <a:cubicBezTo>
                  <a:pt x="10207384" y="3209167"/>
                  <a:pt x="10207384" y="3214337"/>
                  <a:pt x="10203288" y="3214337"/>
                </a:cubicBezTo>
                <a:cubicBezTo>
                  <a:pt x="10037622" y="3239449"/>
                  <a:pt x="9868444" y="3254221"/>
                  <a:pt x="9702781" y="3283764"/>
                </a:cubicBezTo>
                <a:cubicBezTo>
                  <a:pt x="9691074" y="3283764"/>
                  <a:pt x="9659461" y="3303706"/>
                  <a:pt x="9663559" y="3303706"/>
                </a:cubicBezTo>
                <a:cubicBezTo>
                  <a:pt x="9659461" y="3303706"/>
                  <a:pt x="9655951" y="3308877"/>
                  <a:pt x="9651853" y="3308877"/>
                </a:cubicBezTo>
                <a:cubicBezTo>
                  <a:pt x="9640144" y="3314047"/>
                  <a:pt x="9604435" y="3333988"/>
                  <a:pt x="9631950" y="3323648"/>
                </a:cubicBezTo>
                <a:cubicBezTo>
                  <a:pt x="9671755" y="3314047"/>
                  <a:pt x="9718585" y="3303706"/>
                  <a:pt x="9766003" y="3299275"/>
                </a:cubicBezTo>
                <a:cubicBezTo>
                  <a:pt x="9750198" y="3303706"/>
                  <a:pt x="9738490" y="3314047"/>
                  <a:pt x="9746100" y="3314047"/>
                </a:cubicBezTo>
                <a:cubicBezTo>
                  <a:pt x="9817516" y="3308877"/>
                  <a:pt x="9887763" y="3303706"/>
                  <a:pt x="9959181" y="3294105"/>
                </a:cubicBezTo>
                <a:cubicBezTo>
                  <a:pt x="9994305" y="3288934"/>
                  <a:pt x="10030014" y="3288934"/>
                  <a:pt x="10061039" y="3283764"/>
                </a:cubicBezTo>
                <a:cubicBezTo>
                  <a:pt x="10096746" y="3279332"/>
                  <a:pt x="10132455" y="3274163"/>
                  <a:pt x="10167578" y="3264561"/>
                </a:cubicBezTo>
                <a:cubicBezTo>
                  <a:pt x="10207384" y="3259391"/>
                  <a:pt x="10242507" y="3254221"/>
                  <a:pt x="10281728" y="3244619"/>
                </a:cubicBezTo>
                <a:cubicBezTo>
                  <a:pt x="10278216" y="3249051"/>
                  <a:pt x="10274118" y="3254221"/>
                  <a:pt x="10281728" y="3254221"/>
                </a:cubicBezTo>
                <a:cubicBezTo>
                  <a:pt x="10321535" y="3249051"/>
                  <a:pt x="10364853" y="3244619"/>
                  <a:pt x="10407587" y="3234279"/>
                </a:cubicBezTo>
                <a:cubicBezTo>
                  <a:pt x="10317437" y="3259391"/>
                  <a:pt x="10222604" y="3274163"/>
                  <a:pt x="10128357" y="3294105"/>
                </a:cubicBezTo>
                <a:cubicBezTo>
                  <a:pt x="10128357" y="3294105"/>
                  <a:pt x="10128357" y="3294105"/>
                  <a:pt x="10057525" y="3308877"/>
                </a:cubicBezTo>
                <a:cubicBezTo>
                  <a:pt x="10034110" y="3308877"/>
                  <a:pt x="10010109" y="3314047"/>
                  <a:pt x="9986692" y="3319217"/>
                </a:cubicBezTo>
                <a:cubicBezTo>
                  <a:pt x="9939277" y="3323648"/>
                  <a:pt x="9891859" y="3328818"/>
                  <a:pt x="9845029" y="3333988"/>
                </a:cubicBezTo>
                <a:lnTo>
                  <a:pt x="9840933" y="3333988"/>
                </a:lnTo>
                <a:cubicBezTo>
                  <a:pt x="9785907" y="3343590"/>
                  <a:pt x="9730294" y="3353930"/>
                  <a:pt x="9679366" y="3358362"/>
                </a:cubicBezTo>
                <a:cubicBezTo>
                  <a:pt x="9663559" y="3363532"/>
                  <a:pt x="9631950" y="3383474"/>
                  <a:pt x="9644242" y="3378304"/>
                </a:cubicBezTo>
                <a:cubicBezTo>
                  <a:pt x="9679366" y="3373872"/>
                  <a:pt x="9714489" y="3368702"/>
                  <a:pt x="9750198" y="3363532"/>
                </a:cubicBezTo>
                <a:cubicBezTo>
                  <a:pt x="9746100" y="3368702"/>
                  <a:pt x="9746100" y="3368702"/>
                  <a:pt x="9750198" y="3368702"/>
                </a:cubicBezTo>
                <a:cubicBezTo>
                  <a:pt x="9856738" y="3358362"/>
                  <a:pt x="9994305" y="3333988"/>
                  <a:pt x="10104940" y="3333988"/>
                </a:cubicBezTo>
                <a:cubicBezTo>
                  <a:pt x="10080939" y="3339158"/>
                  <a:pt x="10061039" y="3343590"/>
                  <a:pt x="10041720" y="3348760"/>
                </a:cubicBezTo>
                <a:cubicBezTo>
                  <a:pt x="9978498" y="3348760"/>
                  <a:pt x="9915862" y="3358362"/>
                  <a:pt x="9852640" y="3368702"/>
                </a:cubicBezTo>
                <a:cubicBezTo>
                  <a:pt x="9848542" y="3368702"/>
                  <a:pt x="9840933" y="3373872"/>
                  <a:pt x="9836835" y="3373872"/>
                </a:cubicBezTo>
                <a:cubicBezTo>
                  <a:pt x="9832735" y="3373872"/>
                  <a:pt x="9825127" y="3373872"/>
                  <a:pt x="9821029" y="3373872"/>
                </a:cubicBezTo>
                <a:cubicBezTo>
                  <a:pt x="9821029" y="3373872"/>
                  <a:pt x="9821029" y="3373872"/>
                  <a:pt x="9770101" y="3383474"/>
                </a:cubicBezTo>
                <a:cubicBezTo>
                  <a:pt x="9770101" y="3383474"/>
                  <a:pt x="9770101" y="3383474"/>
                  <a:pt x="9754294" y="3383474"/>
                </a:cubicBezTo>
                <a:cubicBezTo>
                  <a:pt x="9691074" y="3393814"/>
                  <a:pt x="9628436" y="3398246"/>
                  <a:pt x="9565214" y="3403415"/>
                </a:cubicBezTo>
                <a:cubicBezTo>
                  <a:pt x="9501994" y="3413017"/>
                  <a:pt x="9439356" y="3418187"/>
                  <a:pt x="9376136" y="3427789"/>
                </a:cubicBezTo>
                <a:cubicBezTo>
                  <a:pt x="9376136" y="3427789"/>
                  <a:pt x="9376136" y="3427789"/>
                  <a:pt x="9372038" y="3427789"/>
                </a:cubicBezTo>
                <a:cubicBezTo>
                  <a:pt x="9360329" y="3427789"/>
                  <a:pt x="9325206" y="3447731"/>
                  <a:pt x="9336914" y="3447731"/>
                </a:cubicBezTo>
                <a:cubicBezTo>
                  <a:pt x="9383746" y="3443299"/>
                  <a:pt x="9427063" y="3443299"/>
                  <a:pt x="9470969" y="3438130"/>
                </a:cubicBezTo>
                <a:cubicBezTo>
                  <a:pt x="9470969" y="3438130"/>
                  <a:pt x="9470969" y="3438130"/>
                  <a:pt x="9604435" y="3423358"/>
                </a:cubicBezTo>
                <a:cubicBezTo>
                  <a:pt x="9553507" y="3432959"/>
                  <a:pt x="9506092" y="3443299"/>
                  <a:pt x="9458674" y="3458071"/>
                </a:cubicBezTo>
                <a:cubicBezTo>
                  <a:pt x="9451064" y="3458071"/>
                  <a:pt x="9411845" y="3478013"/>
                  <a:pt x="9427063" y="3478013"/>
                </a:cubicBezTo>
                <a:cubicBezTo>
                  <a:pt x="9472432" y="3474320"/>
                  <a:pt x="9517762" y="3469658"/>
                  <a:pt x="9563011" y="3464280"/>
                </a:cubicBezTo>
                <a:lnTo>
                  <a:pt x="9691082" y="3447236"/>
                </a:lnTo>
                <a:lnTo>
                  <a:pt x="9655951" y="3452901"/>
                </a:lnTo>
                <a:cubicBezTo>
                  <a:pt x="9647755" y="3458071"/>
                  <a:pt x="9604435" y="3472843"/>
                  <a:pt x="9616144" y="3478013"/>
                </a:cubicBezTo>
                <a:cubicBezTo>
                  <a:pt x="9655951" y="3478013"/>
                  <a:pt x="9691074" y="3478013"/>
                  <a:pt x="9726783" y="3472843"/>
                </a:cubicBezTo>
                <a:cubicBezTo>
                  <a:pt x="9687560" y="3483183"/>
                  <a:pt x="9644242" y="3492785"/>
                  <a:pt x="9604435" y="3502386"/>
                </a:cubicBezTo>
                <a:cubicBezTo>
                  <a:pt x="9596827" y="3507557"/>
                  <a:pt x="9557020" y="3527499"/>
                  <a:pt x="9572826" y="3522329"/>
                </a:cubicBezTo>
                <a:cubicBezTo>
                  <a:pt x="9647755" y="3517897"/>
                  <a:pt x="9722683" y="3512727"/>
                  <a:pt x="9797614" y="3502386"/>
                </a:cubicBezTo>
                <a:cubicBezTo>
                  <a:pt x="9781809" y="3507557"/>
                  <a:pt x="9766003" y="3522329"/>
                  <a:pt x="9773611" y="3522329"/>
                </a:cubicBezTo>
                <a:cubicBezTo>
                  <a:pt x="9891859" y="3502386"/>
                  <a:pt x="10010109" y="3492785"/>
                  <a:pt x="10124259" y="3478013"/>
                </a:cubicBezTo>
                <a:cubicBezTo>
                  <a:pt x="10242507" y="3458071"/>
                  <a:pt x="10360755" y="3438130"/>
                  <a:pt x="10474905" y="3413017"/>
                </a:cubicBezTo>
                <a:cubicBezTo>
                  <a:pt x="10470809" y="3413017"/>
                  <a:pt x="10470809" y="3418187"/>
                  <a:pt x="10474905" y="3418187"/>
                </a:cubicBezTo>
                <a:cubicBezTo>
                  <a:pt x="10525835" y="3408586"/>
                  <a:pt x="10580861" y="3403415"/>
                  <a:pt x="10632374" y="3393814"/>
                </a:cubicBezTo>
                <a:cubicBezTo>
                  <a:pt x="10565642" y="3408586"/>
                  <a:pt x="10494809" y="3423358"/>
                  <a:pt x="10427489" y="3432959"/>
                </a:cubicBezTo>
                <a:cubicBezTo>
                  <a:pt x="10431587" y="3432959"/>
                  <a:pt x="10431587" y="3427789"/>
                  <a:pt x="10427489" y="3427789"/>
                </a:cubicBezTo>
                <a:cubicBezTo>
                  <a:pt x="10427489" y="3427789"/>
                  <a:pt x="10427489" y="3427789"/>
                  <a:pt x="10329144" y="3447731"/>
                </a:cubicBezTo>
                <a:cubicBezTo>
                  <a:pt x="10317437" y="3452901"/>
                  <a:pt x="10293437" y="3467673"/>
                  <a:pt x="10289922" y="3472843"/>
                </a:cubicBezTo>
                <a:cubicBezTo>
                  <a:pt x="10289922" y="3472843"/>
                  <a:pt x="10289922" y="3472843"/>
                  <a:pt x="10281728" y="3472843"/>
                </a:cubicBezTo>
                <a:cubicBezTo>
                  <a:pt x="10289922" y="3467673"/>
                  <a:pt x="10289922" y="3467673"/>
                  <a:pt x="10285826" y="3467673"/>
                </a:cubicBezTo>
                <a:cubicBezTo>
                  <a:pt x="10238411" y="3478013"/>
                  <a:pt x="10191579" y="3483183"/>
                  <a:pt x="10144164" y="3492785"/>
                </a:cubicBezTo>
                <a:cubicBezTo>
                  <a:pt x="10144164" y="3492785"/>
                  <a:pt x="10144164" y="3492785"/>
                  <a:pt x="10073331" y="3507557"/>
                </a:cubicBezTo>
                <a:cubicBezTo>
                  <a:pt x="10073331" y="3507557"/>
                  <a:pt x="10073331" y="3507557"/>
                  <a:pt x="10002499" y="3512727"/>
                </a:cubicBezTo>
                <a:cubicBezTo>
                  <a:pt x="9990790" y="3512727"/>
                  <a:pt x="9955083" y="3532668"/>
                  <a:pt x="9959181" y="3537839"/>
                </a:cubicBezTo>
                <a:cubicBezTo>
                  <a:pt x="9946887" y="3542270"/>
                  <a:pt x="9923472" y="3557042"/>
                  <a:pt x="9946887" y="3552611"/>
                </a:cubicBezTo>
                <a:cubicBezTo>
                  <a:pt x="9962692" y="3547440"/>
                  <a:pt x="9978498" y="3542270"/>
                  <a:pt x="9994305" y="3532668"/>
                </a:cubicBezTo>
                <a:cubicBezTo>
                  <a:pt x="9998401" y="3532668"/>
                  <a:pt x="10002499" y="3532668"/>
                  <a:pt x="10006011" y="3532668"/>
                </a:cubicBezTo>
                <a:cubicBezTo>
                  <a:pt x="10061039" y="3527499"/>
                  <a:pt x="10120163" y="3517897"/>
                  <a:pt x="10175773" y="3502386"/>
                </a:cubicBezTo>
                <a:cubicBezTo>
                  <a:pt x="10171674" y="3507557"/>
                  <a:pt x="10171674" y="3507557"/>
                  <a:pt x="10171674" y="3507557"/>
                </a:cubicBezTo>
                <a:cubicBezTo>
                  <a:pt x="10140063" y="3517897"/>
                  <a:pt x="10112550" y="3522329"/>
                  <a:pt x="10080939" y="3527499"/>
                </a:cubicBezTo>
                <a:cubicBezTo>
                  <a:pt x="10053427" y="3532668"/>
                  <a:pt x="10021815" y="3537839"/>
                  <a:pt x="9994305" y="3542270"/>
                </a:cubicBezTo>
                <a:cubicBezTo>
                  <a:pt x="9986692" y="3542270"/>
                  <a:pt x="9978498" y="3547440"/>
                  <a:pt x="9970888" y="3552611"/>
                </a:cubicBezTo>
                <a:cubicBezTo>
                  <a:pt x="9868444" y="3562212"/>
                  <a:pt x="9766003" y="3572552"/>
                  <a:pt x="9663559" y="3587324"/>
                </a:cubicBezTo>
                <a:cubicBezTo>
                  <a:pt x="9663559" y="3587324"/>
                  <a:pt x="9663559" y="3587324"/>
                  <a:pt x="9510188" y="3607266"/>
                </a:cubicBezTo>
                <a:cubicBezTo>
                  <a:pt x="9458674" y="3612436"/>
                  <a:pt x="9407747" y="3616867"/>
                  <a:pt x="9356231" y="3622038"/>
                </a:cubicBezTo>
                <a:cubicBezTo>
                  <a:pt x="9336914" y="3622038"/>
                  <a:pt x="9305303" y="3641980"/>
                  <a:pt x="9317012" y="3641980"/>
                </a:cubicBezTo>
                <a:cubicBezTo>
                  <a:pt x="9380232" y="3636809"/>
                  <a:pt x="9446968" y="3631639"/>
                  <a:pt x="9510188" y="3622038"/>
                </a:cubicBezTo>
                <a:cubicBezTo>
                  <a:pt x="9510188" y="3622038"/>
                  <a:pt x="9510188" y="3622038"/>
                  <a:pt x="9702781" y="3596926"/>
                </a:cubicBezTo>
                <a:lnTo>
                  <a:pt x="10088531" y="3557463"/>
                </a:lnTo>
                <a:lnTo>
                  <a:pt x="10031475" y="3570337"/>
                </a:lnTo>
                <a:cubicBezTo>
                  <a:pt x="9989620" y="3577169"/>
                  <a:pt x="9947179" y="3582154"/>
                  <a:pt x="9903568" y="3587324"/>
                </a:cubicBezTo>
                <a:cubicBezTo>
                  <a:pt x="9821029" y="3596926"/>
                  <a:pt x="9734392" y="3607266"/>
                  <a:pt x="9647755" y="3612436"/>
                </a:cubicBezTo>
                <a:cubicBezTo>
                  <a:pt x="9647755" y="3612436"/>
                  <a:pt x="9647755" y="3612436"/>
                  <a:pt x="9620242" y="3616867"/>
                </a:cubicBezTo>
                <a:cubicBezTo>
                  <a:pt x="9604435" y="3622038"/>
                  <a:pt x="9569312" y="3641980"/>
                  <a:pt x="9581020" y="3641980"/>
                </a:cubicBezTo>
                <a:cubicBezTo>
                  <a:pt x="9730294" y="3622038"/>
                  <a:pt x="9880153" y="3612436"/>
                  <a:pt x="10025914" y="3587324"/>
                </a:cubicBezTo>
                <a:cubicBezTo>
                  <a:pt x="10010109" y="3591756"/>
                  <a:pt x="9994305" y="3602096"/>
                  <a:pt x="10010109" y="3602096"/>
                </a:cubicBezTo>
                <a:cubicBezTo>
                  <a:pt x="10025914" y="3602096"/>
                  <a:pt x="10045816" y="3602096"/>
                  <a:pt x="10061039" y="3596926"/>
                </a:cubicBezTo>
                <a:cubicBezTo>
                  <a:pt x="10030014" y="3607266"/>
                  <a:pt x="9994305" y="3612436"/>
                  <a:pt x="9962692" y="3616867"/>
                </a:cubicBezTo>
                <a:cubicBezTo>
                  <a:pt x="9974986" y="3612436"/>
                  <a:pt x="9982596" y="3607266"/>
                  <a:pt x="9970888" y="3607266"/>
                </a:cubicBezTo>
                <a:cubicBezTo>
                  <a:pt x="9825127" y="3616867"/>
                  <a:pt x="9683462" y="3646411"/>
                  <a:pt x="9533605" y="3656752"/>
                </a:cubicBezTo>
                <a:cubicBezTo>
                  <a:pt x="9517798" y="3661922"/>
                  <a:pt x="9482677" y="3681863"/>
                  <a:pt x="9494384" y="3681863"/>
                </a:cubicBezTo>
                <a:cubicBezTo>
                  <a:pt x="9600337" y="3671523"/>
                  <a:pt x="9702781" y="3656752"/>
                  <a:pt x="9805224" y="3641980"/>
                </a:cubicBezTo>
                <a:cubicBezTo>
                  <a:pt x="9738490" y="3656752"/>
                  <a:pt x="9667657" y="3666353"/>
                  <a:pt x="9596827" y="3681863"/>
                </a:cubicBezTo>
                <a:cubicBezTo>
                  <a:pt x="9529505" y="3691465"/>
                  <a:pt x="9458674" y="3706237"/>
                  <a:pt x="9391940" y="3716577"/>
                </a:cubicBezTo>
                <a:cubicBezTo>
                  <a:pt x="9242081" y="3731349"/>
                  <a:pt x="9088710" y="3751290"/>
                  <a:pt x="8935341" y="3760892"/>
                </a:cubicBezTo>
                <a:cubicBezTo>
                  <a:pt x="8915436" y="3760892"/>
                  <a:pt x="8883825" y="3780834"/>
                  <a:pt x="8895533" y="3780834"/>
                </a:cubicBezTo>
                <a:cubicBezTo>
                  <a:pt x="9037196" y="3771233"/>
                  <a:pt x="9179447" y="3756461"/>
                  <a:pt x="9321108" y="3740951"/>
                </a:cubicBezTo>
                <a:cubicBezTo>
                  <a:pt x="9317012" y="3746120"/>
                  <a:pt x="9321108" y="3746120"/>
                  <a:pt x="9328720" y="3740951"/>
                </a:cubicBezTo>
                <a:cubicBezTo>
                  <a:pt x="9341012" y="3740951"/>
                  <a:pt x="9348623" y="3740951"/>
                  <a:pt x="9360329" y="3736519"/>
                </a:cubicBezTo>
                <a:cubicBezTo>
                  <a:pt x="9423553" y="3731349"/>
                  <a:pt x="9490285" y="3721009"/>
                  <a:pt x="9557020" y="3711407"/>
                </a:cubicBezTo>
                <a:cubicBezTo>
                  <a:pt x="9557020" y="3711407"/>
                  <a:pt x="9557020" y="3711407"/>
                  <a:pt x="9636046" y="3701805"/>
                </a:cubicBezTo>
                <a:cubicBezTo>
                  <a:pt x="9628436" y="3706237"/>
                  <a:pt x="9612631" y="3711407"/>
                  <a:pt x="9604435" y="3716577"/>
                </a:cubicBezTo>
                <a:cubicBezTo>
                  <a:pt x="9478579" y="3736519"/>
                  <a:pt x="9348623" y="3740951"/>
                  <a:pt x="9222764" y="3756461"/>
                </a:cubicBezTo>
                <a:cubicBezTo>
                  <a:pt x="9222764" y="3756461"/>
                  <a:pt x="9222764" y="3756461"/>
                  <a:pt x="9033684" y="3771233"/>
                </a:cubicBezTo>
                <a:cubicBezTo>
                  <a:pt x="8970462" y="3775664"/>
                  <a:pt x="8903727" y="3786005"/>
                  <a:pt x="8840507" y="3786005"/>
                </a:cubicBezTo>
                <a:cubicBezTo>
                  <a:pt x="8840507" y="3786005"/>
                  <a:pt x="8840507" y="3786005"/>
                  <a:pt x="8458835" y="3805946"/>
                </a:cubicBezTo>
                <a:cubicBezTo>
                  <a:pt x="8395612" y="3805946"/>
                  <a:pt x="8332390" y="3811116"/>
                  <a:pt x="8269754" y="3811116"/>
                </a:cubicBezTo>
                <a:cubicBezTo>
                  <a:pt x="8269754" y="3811116"/>
                  <a:pt x="8269754" y="3811116"/>
                  <a:pt x="8076577" y="3811116"/>
                </a:cubicBezTo>
                <a:cubicBezTo>
                  <a:pt x="8076577" y="3811116"/>
                  <a:pt x="8076577" y="3811116"/>
                  <a:pt x="7694320" y="3811116"/>
                </a:cubicBezTo>
                <a:cubicBezTo>
                  <a:pt x="7694320" y="3811116"/>
                  <a:pt x="7694320" y="3811116"/>
                  <a:pt x="7312646" y="3795606"/>
                </a:cubicBezTo>
                <a:cubicBezTo>
                  <a:pt x="7312646" y="3795606"/>
                  <a:pt x="7312646" y="3795606"/>
                  <a:pt x="7119470" y="3791175"/>
                </a:cubicBezTo>
                <a:cubicBezTo>
                  <a:pt x="7119470" y="3791175"/>
                  <a:pt x="7119470" y="3791175"/>
                  <a:pt x="6930390" y="3775664"/>
                </a:cubicBezTo>
                <a:cubicBezTo>
                  <a:pt x="6930390" y="3775664"/>
                  <a:pt x="6930390" y="3775664"/>
                  <a:pt x="6548718" y="3746120"/>
                </a:cubicBezTo>
                <a:cubicBezTo>
                  <a:pt x="6430471" y="3736519"/>
                  <a:pt x="6316320" y="3721009"/>
                  <a:pt x="6202169" y="3706237"/>
                </a:cubicBezTo>
                <a:cubicBezTo>
                  <a:pt x="6202169" y="3706237"/>
                  <a:pt x="6202169" y="3706237"/>
                  <a:pt x="6028895" y="3686295"/>
                </a:cubicBezTo>
                <a:cubicBezTo>
                  <a:pt x="5969771" y="3676693"/>
                  <a:pt x="5914745" y="3671523"/>
                  <a:pt x="5855621" y="3661922"/>
                </a:cubicBezTo>
                <a:cubicBezTo>
                  <a:pt x="5741470" y="3641980"/>
                  <a:pt x="5627320" y="3627207"/>
                  <a:pt x="5509658" y="3607266"/>
                </a:cubicBezTo>
                <a:cubicBezTo>
                  <a:pt x="5509658" y="3607266"/>
                  <a:pt x="5509658" y="3607266"/>
                  <a:pt x="5340480" y="3576984"/>
                </a:cubicBezTo>
                <a:cubicBezTo>
                  <a:pt x="5281357" y="3567382"/>
                  <a:pt x="5222233" y="3557042"/>
                  <a:pt x="5167207" y="3542270"/>
                </a:cubicBezTo>
                <a:cubicBezTo>
                  <a:pt x="4777339" y="3478013"/>
                  <a:pt x="4383374" y="3383474"/>
                  <a:pt x="3997604" y="3264561"/>
                </a:cubicBezTo>
                <a:cubicBezTo>
                  <a:pt x="4009312" y="3264561"/>
                  <a:pt x="4012824" y="3259391"/>
                  <a:pt x="4005215" y="3259391"/>
                </a:cubicBezTo>
                <a:cubicBezTo>
                  <a:pt x="3941993" y="3239449"/>
                  <a:pt x="3875258" y="3224677"/>
                  <a:pt x="3808524" y="3204735"/>
                </a:cubicBezTo>
                <a:cubicBezTo>
                  <a:pt x="3820232" y="3204735"/>
                  <a:pt x="3824330" y="3199565"/>
                  <a:pt x="3816134" y="3199565"/>
                </a:cubicBezTo>
                <a:cubicBezTo>
                  <a:pt x="3745302" y="3175192"/>
                  <a:pt x="3651055" y="3155250"/>
                  <a:pt x="3580224" y="3124968"/>
                </a:cubicBezTo>
                <a:cubicBezTo>
                  <a:pt x="3587834" y="3124968"/>
                  <a:pt x="3599542" y="3124968"/>
                  <a:pt x="3611250" y="3124968"/>
                </a:cubicBezTo>
                <a:cubicBezTo>
                  <a:pt x="3611250" y="3124968"/>
                  <a:pt x="3611250" y="3124968"/>
                  <a:pt x="3627054" y="3130138"/>
                </a:cubicBezTo>
                <a:cubicBezTo>
                  <a:pt x="3627054" y="3130138"/>
                  <a:pt x="3627054" y="3130138"/>
                  <a:pt x="3631152" y="3130138"/>
                </a:cubicBezTo>
                <a:cubicBezTo>
                  <a:pt x="3631152" y="3130138"/>
                  <a:pt x="3631152" y="3130138"/>
                  <a:pt x="3635251" y="3130138"/>
                </a:cubicBezTo>
                <a:cubicBezTo>
                  <a:pt x="3642860" y="3130138"/>
                  <a:pt x="3690276" y="3130138"/>
                  <a:pt x="3670373" y="3124968"/>
                </a:cubicBezTo>
                <a:cubicBezTo>
                  <a:pt x="3651055" y="3115366"/>
                  <a:pt x="3631152" y="3105026"/>
                  <a:pt x="3611250" y="3100595"/>
                </a:cubicBezTo>
                <a:cubicBezTo>
                  <a:pt x="3611250" y="3100595"/>
                  <a:pt x="3611250" y="3100595"/>
                  <a:pt x="3682080" y="3120536"/>
                </a:cubicBezTo>
                <a:cubicBezTo>
                  <a:pt x="3697886" y="3124968"/>
                  <a:pt x="3737693" y="3120536"/>
                  <a:pt x="3725399" y="3115366"/>
                </a:cubicBezTo>
                <a:cubicBezTo>
                  <a:pt x="3670373" y="3095424"/>
                  <a:pt x="3615347" y="3080652"/>
                  <a:pt x="3556222" y="3060711"/>
                </a:cubicBezTo>
                <a:cubicBezTo>
                  <a:pt x="3572028" y="3060711"/>
                  <a:pt x="3587834" y="3060711"/>
                  <a:pt x="3576125" y="3055541"/>
                </a:cubicBezTo>
                <a:cubicBezTo>
                  <a:pt x="3528709" y="3035598"/>
                  <a:pt x="3481293" y="3015657"/>
                  <a:pt x="3430365" y="3000885"/>
                </a:cubicBezTo>
                <a:cubicBezTo>
                  <a:pt x="3442072" y="3000885"/>
                  <a:pt x="3453780" y="3000885"/>
                  <a:pt x="3446170" y="2995715"/>
                </a:cubicBezTo>
                <a:cubicBezTo>
                  <a:pt x="3446170" y="2995715"/>
                  <a:pt x="3446170" y="2995715"/>
                  <a:pt x="3453780" y="2995715"/>
                </a:cubicBezTo>
                <a:cubicBezTo>
                  <a:pt x="3461976" y="3000885"/>
                  <a:pt x="3508806" y="3000885"/>
                  <a:pt x="3493001" y="2990545"/>
                </a:cubicBezTo>
                <a:cubicBezTo>
                  <a:pt x="3469585" y="2980943"/>
                  <a:pt x="3450269" y="2975773"/>
                  <a:pt x="3430365" y="2966171"/>
                </a:cubicBezTo>
                <a:cubicBezTo>
                  <a:pt x="3418657" y="2961001"/>
                  <a:pt x="3398754" y="2961001"/>
                  <a:pt x="3387047" y="2966171"/>
                </a:cubicBezTo>
                <a:cubicBezTo>
                  <a:pt x="3371241" y="2961001"/>
                  <a:pt x="3351338" y="2956570"/>
                  <a:pt x="3332020" y="2951399"/>
                </a:cubicBezTo>
                <a:cubicBezTo>
                  <a:pt x="3335532" y="2946230"/>
                  <a:pt x="3335532" y="2946230"/>
                  <a:pt x="3332020" y="2946230"/>
                </a:cubicBezTo>
                <a:cubicBezTo>
                  <a:pt x="3276993" y="2921117"/>
                  <a:pt x="3217869" y="2901915"/>
                  <a:pt x="3166356" y="2876802"/>
                </a:cubicBezTo>
                <a:cubicBezTo>
                  <a:pt x="3189771" y="2881972"/>
                  <a:pt x="3217869" y="2891574"/>
                  <a:pt x="3245383" y="2896744"/>
                </a:cubicBezTo>
                <a:cubicBezTo>
                  <a:pt x="3323825" y="2926288"/>
                  <a:pt x="3410462" y="2951399"/>
                  <a:pt x="3493001" y="2975773"/>
                </a:cubicBezTo>
                <a:cubicBezTo>
                  <a:pt x="3505295" y="2975773"/>
                  <a:pt x="3532808" y="2975773"/>
                  <a:pt x="3532808" y="2971342"/>
                </a:cubicBezTo>
                <a:cubicBezTo>
                  <a:pt x="3580224" y="2986114"/>
                  <a:pt x="3631152" y="3000885"/>
                  <a:pt x="3678569" y="3015657"/>
                </a:cubicBezTo>
                <a:cubicBezTo>
                  <a:pt x="3678569" y="3015657"/>
                  <a:pt x="3678569" y="3015657"/>
                  <a:pt x="3686178" y="3015657"/>
                </a:cubicBezTo>
                <a:cubicBezTo>
                  <a:pt x="3690276" y="3015657"/>
                  <a:pt x="3690276" y="3015657"/>
                  <a:pt x="3694373" y="3020827"/>
                </a:cubicBezTo>
                <a:cubicBezTo>
                  <a:pt x="3745302" y="3030429"/>
                  <a:pt x="3792719" y="3045939"/>
                  <a:pt x="3843648" y="3055541"/>
                </a:cubicBezTo>
                <a:cubicBezTo>
                  <a:pt x="3855355" y="3060711"/>
                  <a:pt x="3902771" y="3060711"/>
                  <a:pt x="3886966" y="3050370"/>
                </a:cubicBezTo>
                <a:cubicBezTo>
                  <a:pt x="3886966" y="3050370"/>
                  <a:pt x="3886966" y="3050370"/>
                  <a:pt x="3776913" y="3015657"/>
                </a:cubicBezTo>
                <a:cubicBezTo>
                  <a:pt x="3792719" y="3015657"/>
                  <a:pt x="3800329" y="3010486"/>
                  <a:pt x="3792719" y="3006055"/>
                </a:cubicBezTo>
                <a:cubicBezTo>
                  <a:pt x="3757011" y="2990545"/>
                  <a:pt x="3721887" y="2980943"/>
                  <a:pt x="3686178" y="2966171"/>
                </a:cubicBezTo>
                <a:cubicBezTo>
                  <a:pt x="3701984" y="2966171"/>
                  <a:pt x="3737693" y="2961001"/>
                  <a:pt x="3721887" y="2961001"/>
                </a:cubicBezTo>
                <a:cubicBezTo>
                  <a:pt x="3678569" y="2946230"/>
                  <a:pt x="3635251" y="2931458"/>
                  <a:pt x="3591931" y="2916686"/>
                </a:cubicBezTo>
                <a:cubicBezTo>
                  <a:pt x="3552125" y="2901915"/>
                  <a:pt x="3508806" y="2891574"/>
                  <a:pt x="3465488" y="2871632"/>
                </a:cubicBezTo>
                <a:cubicBezTo>
                  <a:pt x="3461976" y="2871632"/>
                  <a:pt x="3457878" y="2871632"/>
                  <a:pt x="3450269" y="2871632"/>
                </a:cubicBezTo>
                <a:cubicBezTo>
                  <a:pt x="3323825" y="2831748"/>
                  <a:pt x="3193869" y="2791864"/>
                  <a:pt x="3068011" y="2752719"/>
                </a:cubicBezTo>
                <a:cubicBezTo>
                  <a:pt x="3063913" y="2752719"/>
                  <a:pt x="3068011" y="2752719"/>
                  <a:pt x="3063913" y="2752719"/>
                </a:cubicBezTo>
                <a:cubicBezTo>
                  <a:pt x="2985472" y="2718006"/>
                  <a:pt x="2906444" y="2683292"/>
                  <a:pt x="2828002" y="2647840"/>
                </a:cubicBezTo>
                <a:cubicBezTo>
                  <a:pt x="2831515" y="2647840"/>
                  <a:pt x="2835613" y="2647840"/>
                  <a:pt x="2831515" y="2643408"/>
                </a:cubicBezTo>
                <a:cubicBezTo>
                  <a:pt x="2831515" y="2643408"/>
                  <a:pt x="2831515" y="2643408"/>
                  <a:pt x="2721462" y="2603524"/>
                </a:cubicBezTo>
                <a:cubicBezTo>
                  <a:pt x="2721462" y="2603524"/>
                  <a:pt x="2721462" y="2603524"/>
                  <a:pt x="2748976" y="2608695"/>
                </a:cubicBezTo>
                <a:cubicBezTo>
                  <a:pt x="2760683" y="2613126"/>
                  <a:pt x="2784684" y="2613126"/>
                  <a:pt x="2792294" y="2613126"/>
                </a:cubicBezTo>
                <a:cubicBezTo>
                  <a:pt x="2851418" y="2633068"/>
                  <a:pt x="2910542" y="2658180"/>
                  <a:pt x="2973179" y="2678122"/>
                </a:cubicBezTo>
                <a:cubicBezTo>
                  <a:pt x="2957959" y="2678122"/>
                  <a:pt x="2922250" y="2678122"/>
                  <a:pt x="2933958" y="2683292"/>
                </a:cubicBezTo>
                <a:cubicBezTo>
                  <a:pt x="2933958" y="2683292"/>
                  <a:pt x="2973179" y="2698064"/>
                  <a:pt x="3008887" y="2712836"/>
                </a:cubicBezTo>
                <a:cubicBezTo>
                  <a:pt x="3024692" y="2718006"/>
                  <a:pt x="3044596" y="2722437"/>
                  <a:pt x="3056303" y="2727608"/>
                </a:cubicBezTo>
                <a:cubicBezTo>
                  <a:pt x="3068011" y="2732777"/>
                  <a:pt x="3079719" y="2737948"/>
                  <a:pt x="3079719" y="2737948"/>
                </a:cubicBezTo>
                <a:cubicBezTo>
                  <a:pt x="3091426" y="2742379"/>
                  <a:pt x="3107232" y="2737948"/>
                  <a:pt x="3115427" y="2737948"/>
                </a:cubicBezTo>
                <a:cubicBezTo>
                  <a:pt x="3115427" y="2737948"/>
                  <a:pt x="3115427" y="2737948"/>
                  <a:pt x="3123037" y="2737948"/>
                </a:cubicBezTo>
                <a:cubicBezTo>
                  <a:pt x="3134745" y="2742379"/>
                  <a:pt x="3146453" y="2742379"/>
                  <a:pt x="3154648" y="2742379"/>
                </a:cubicBezTo>
                <a:lnTo>
                  <a:pt x="3158747" y="2742379"/>
                </a:lnTo>
                <a:cubicBezTo>
                  <a:pt x="3217869" y="2757151"/>
                  <a:pt x="3276993" y="2777093"/>
                  <a:pt x="3332020" y="2791864"/>
                </a:cubicBezTo>
                <a:cubicBezTo>
                  <a:pt x="3335532" y="2791864"/>
                  <a:pt x="3343728" y="2791864"/>
                  <a:pt x="3351338" y="2791864"/>
                </a:cubicBezTo>
                <a:cubicBezTo>
                  <a:pt x="3382948" y="2807375"/>
                  <a:pt x="3410462" y="2816977"/>
                  <a:pt x="3434463" y="2822147"/>
                </a:cubicBezTo>
                <a:cubicBezTo>
                  <a:pt x="3450269" y="2831748"/>
                  <a:pt x="3489489" y="2827317"/>
                  <a:pt x="3477782" y="2822147"/>
                </a:cubicBezTo>
                <a:cubicBezTo>
                  <a:pt x="3459927" y="2814761"/>
                  <a:pt x="3438268" y="2806083"/>
                  <a:pt x="3414633" y="2796758"/>
                </a:cubicBezTo>
                <a:lnTo>
                  <a:pt x="3394052" y="2788727"/>
                </a:lnTo>
                <a:lnTo>
                  <a:pt x="3426267" y="2797035"/>
                </a:lnTo>
                <a:cubicBezTo>
                  <a:pt x="3437975" y="2802204"/>
                  <a:pt x="3481293" y="2797035"/>
                  <a:pt x="3465488" y="2791864"/>
                </a:cubicBezTo>
                <a:cubicBezTo>
                  <a:pt x="3434463" y="2777093"/>
                  <a:pt x="3355436" y="2757151"/>
                  <a:pt x="3296311" y="2732777"/>
                </a:cubicBezTo>
                <a:cubicBezTo>
                  <a:pt x="3319727" y="2737948"/>
                  <a:pt x="3339631" y="2742379"/>
                  <a:pt x="3359533" y="2747549"/>
                </a:cubicBezTo>
                <a:cubicBezTo>
                  <a:pt x="3387047" y="2757151"/>
                  <a:pt x="3414559" y="2767491"/>
                  <a:pt x="3442072" y="2777093"/>
                </a:cubicBezTo>
                <a:cubicBezTo>
                  <a:pt x="3442072" y="2777093"/>
                  <a:pt x="3442072" y="2777093"/>
                  <a:pt x="3536319" y="2811806"/>
                </a:cubicBezTo>
                <a:cubicBezTo>
                  <a:pt x="3567930" y="2827317"/>
                  <a:pt x="3599542" y="2836918"/>
                  <a:pt x="3627054" y="2846520"/>
                </a:cubicBezTo>
                <a:cubicBezTo>
                  <a:pt x="3642860" y="2851690"/>
                  <a:pt x="3686178" y="2846520"/>
                  <a:pt x="3670373" y="2842089"/>
                </a:cubicBezTo>
                <a:cubicBezTo>
                  <a:pt x="3591931" y="2811806"/>
                  <a:pt x="3512904" y="2782263"/>
                  <a:pt x="3434463" y="2752719"/>
                </a:cubicBezTo>
                <a:cubicBezTo>
                  <a:pt x="3434463" y="2752719"/>
                  <a:pt x="3434463" y="2747549"/>
                  <a:pt x="3430365" y="2747549"/>
                </a:cubicBezTo>
                <a:cubicBezTo>
                  <a:pt x="3426267" y="2747549"/>
                  <a:pt x="3418657" y="2747549"/>
                  <a:pt x="3414559" y="2742379"/>
                </a:cubicBezTo>
                <a:cubicBezTo>
                  <a:pt x="3418657" y="2742379"/>
                  <a:pt x="3418657" y="2742379"/>
                  <a:pt x="3414559" y="2737948"/>
                </a:cubicBezTo>
                <a:cubicBezTo>
                  <a:pt x="3363045" y="2718006"/>
                  <a:pt x="3312117" y="2698064"/>
                  <a:pt x="3264701" y="2678122"/>
                </a:cubicBezTo>
                <a:cubicBezTo>
                  <a:pt x="3264701" y="2678122"/>
                  <a:pt x="3261189" y="2672951"/>
                  <a:pt x="3257090" y="2672951"/>
                </a:cubicBezTo>
                <a:cubicBezTo>
                  <a:pt x="3257090" y="2672951"/>
                  <a:pt x="3257090" y="2672951"/>
                  <a:pt x="3237188" y="2667782"/>
                </a:cubicBezTo>
                <a:cubicBezTo>
                  <a:pt x="3241285" y="2663350"/>
                  <a:pt x="3241285" y="2663350"/>
                  <a:pt x="3237188" y="2663350"/>
                </a:cubicBezTo>
                <a:cubicBezTo>
                  <a:pt x="3252993" y="2663350"/>
                  <a:pt x="3272896" y="2658180"/>
                  <a:pt x="3264701" y="2658180"/>
                </a:cubicBezTo>
                <a:cubicBezTo>
                  <a:pt x="3213772" y="2638238"/>
                  <a:pt x="3166356" y="2618296"/>
                  <a:pt x="3115427" y="2603524"/>
                </a:cubicBezTo>
                <a:cubicBezTo>
                  <a:pt x="3107232" y="2603524"/>
                  <a:pt x="3091426" y="2603524"/>
                  <a:pt x="3079719" y="2603524"/>
                </a:cubicBezTo>
                <a:cubicBezTo>
                  <a:pt x="2969666" y="2558470"/>
                  <a:pt x="2855515" y="2523757"/>
                  <a:pt x="2764781" y="2508985"/>
                </a:cubicBezTo>
                <a:cubicBezTo>
                  <a:pt x="2760683" y="2508985"/>
                  <a:pt x="2721462" y="2508985"/>
                  <a:pt x="2737268" y="2514155"/>
                </a:cubicBezTo>
                <a:cubicBezTo>
                  <a:pt x="2741365" y="2519325"/>
                  <a:pt x="2776489" y="2528927"/>
                  <a:pt x="2819807" y="2548869"/>
                </a:cubicBezTo>
                <a:cubicBezTo>
                  <a:pt x="2819807" y="2548869"/>
                  <a:pt x="2819807" y="2548869"/>
                  <a:pt x="2894736" y="2578413"/>
                </a:cubicBezTo>
                <a:cubicBezTo>
                  <a:pt x="2914640" y="2583583"/>
                  <a:pt x="2933958" y="2593184"/>
                  <a:pt x="2949763" y="2598355"/>
                </a:cubicBezTo>
                <a:cubicBezTo>
                  <a:pt x="2942153" y="2598355"/>
                  <a:pt x="2938055" y="2598355"/>
                  <a:pt x="2938055" y="2603524"/>
                </a:cubicBezTo>
                <a:cubicBezTo>
                  <a:pt x="2922250" y="2598355"/>
                  <a:pt x="2902346" y="2593184"/>
                  <a:pt x="2887127" y="2593184"/>
                </a:cubicBezTo>
                <a:cubicBezTo>
                  <a:pt x="2887127" y="2593184"/>
                  <a:pt x="2883029" y="2593184"/>
                  <a:pt x="2874834" y="2593184"/>
                </a:cubicBezTo>
                <a:cubicBezTo>
                  <a:pt x="2760683" y="2543698"/>
                  <a:pt x="2642435" y="2499383"/>
                  <a:pt x="2524772" y="2449160"/>
                </a:cubicBezTo>
                <a:cubicBezTo>
                  <a:pt x="2406524" y="2399674"/>
                  <a:pt x="2292374" y="2345018"/>
                  <a:pt x="2178223" y="2295533"/>
                </a:cubicBezTo>
                <a:cubicBezTo>
                  <a:pt x="2197542" y="2305135"/>
                  <a:pt x="2221542" y="2310305"/>
                  <a:pt x="2244958" y="2319907"/>
                </a:cubicBezTo>
                <a:cubicBezTo>
                  <a:pt x="2253153" y="2325077"/>
                  <a:pt x="2264861" y="2325077"/>
                  <a:pt x="2272471" y="2325077"/>
                </a:cubicBezTo>
                <a:cubicBezTo>
                  <a:pt x="2272471" y="2325077"/>
                  <a:pt x="2272471" y="2325077"/>
                  <a:pt x="2299984" y="2334679"/>
                </a:cubicBezTo>
                <a:cubicBezTo>
                  <a:pt x="2311692" y="2339848"/>
                  <a:pt x="2327497" y="2339848"/>
                  <a:pt x="2339205" y="2339848"/>
                </a:cubicBezTo>
                <a:cubicBezTo>
                  <a:pt x="2390719" y="2359790"/>
                  <a:pt x="2445745" y="2379732"/>
                  <a:pt x="2500771" y="2404844"/>
                </a:cubicBezTo>
                <a:cubicBezTo>
                  <a:pt x="2516576" y="2409276"/>
                  <a:pt x="2555798" y="2404844"/>
                  <a:pt x="2544090" y="2399674"/>
                </a:cubicBezTo>
                <a:cubicBezTo>
                  <a:pt x="2500771" y="2382317"/>
                  <a:pt x="2458478" y="2364961"/>
                  <a:pt x="2416695" y="2348250"/>
                </a:cubicBezTo>
                <a:lnTo>
                  <a:pt x="2294818" y="2301638"/>
                </a:lnTo>
                <a:lnTo>
                  <a:pt x="2337449" y="2315752"/>
                </a:lnTo>
                <a:cubicBezTo>
                  <a:pt x="2363059" y="2325077"/>
                  <a:pt x="2388670" y="2335047"/>
                  <a:pt x="2414135" y="2345018"/>
                </a:cubicBezTo>
                <a:cubicBezTo>
                  <a:pt x="2422330" y="2350189"/>
                  <a:pt x="2438135" y="2350189"/>
                  <a:pt x="2449843" y="2345018"/>
                </a:cubicBezTo>
                <a:cubicBezTo>
                  <a:pt x="2508967" y="2370131"/>
                  <a:pt x="2571603" y="2384902"/>
                  <a:pt x="2634825" y="2404844"/>
                </a:cubicBezTo>
                <a:cubicBezTo>
                  <a:pt x="2638923" y="2409276"/>
                  <a:pt x="2650631" y="2409276"/>
                  <a:pt x="2662338" y="2409276"/>
                </a:cubicBezTo>
                <a:cubicBezTo>
                  <a:pt x="2662338" y="2409276"/>
                  <a:pt x="2662338" y="2409276"/>
                  <a:pt x="2709755" y="2429217"/>
                </a:cubicBezTo>
                <a:cubicBezTo>
                  <a:pt x="2701559" y="2429217"/>
                  <a:pt x="2698047" y="2429217"/>
                  <a:pt x="2705657" y="2434388"/>
                </a:cubicBezTo>
                <a:cubicBezTo>
                  <a:pt x="2768878" y="2464670"/>
                  <a:pt x="2831515" y="2489043"/>
                  <a:pt x="2894736" y="2508985"/>
                </a:cubicBezTo>
                <a:cubicBezTo>
                  <a:pt x="3044596" y="2593184"/>
                  <a:pt x="3237188" y="2633068"/>
                  <a:pt x="3398754" y="2678122"/>
                </a:cubicBezTo>
                <a:cubicBezTo>
                  <a:pt x="3473683" y="2702496"/>
                  <a:pt x="3544515" y="2727608"/>
                  <a:pt x="3619445" y="2742379"/>
                </a:cubicBezTo>
                <a:cubicBezTo>
                  <a:pt x="3627054" y="2742379"/>
                  <a:pt x="3674471" y="2742379"/>
                  <a:pt x="3662763" y="2737948"/>
                </a:cubicBezTo>
                <a:cubicBezTo>
                  <a:pt x="3615347" y="2712836"/>
                  <a:pt x="3564418" y="2692894"/>
                  <a:pt x="3512904" y="2678122"/>
                </a:cubicBezTo>
                <a:cubicBezTo>
                  <a:pt x="3512904" y="2678122"/>
                  <a:pt x="3512904" y="2678122"/>
                  <a:pt x="3532808" y="2683292"/>
                </a:cubicBezTo>
                <a:cubicBezTo>
                  <a:pt x="3544515" y="2687723"/>
                  <a:pt x="3587834" y="2683292"/>
                  <a:pt x="3572028" y="2678122"/>
                </a:cubicBezTo>
                <a:cubicBezTo>
                  <a:pt x="3493001" y="2647840"/>
                  <a:pt x="3410462" y="2618296"/>
                  <a:pt x="3327922" y="2593184"/>
                </a:cubicBezTo>
                <a:cubicBezTo>
                  <a:pt x="3288702" y="2573242"/>
                  <a:pt x="3248895" y="2558470"/>
                  <a:pt x="3205577" y="2543698"/>
                </a:cubicBezTo>
                <a:cubicBezTo>
                  <a:pt x="3268798" y="2558470"/>
                  <a:pt x="3327922" y="2578413"/>
                  <a:pt x="3391143" y="2593184"/>
                </a:cubicBezTo>
                <a:cubicBezTo>
                  <a:pt x="3418657" y="2598355"/>
                  <a:pt x="3442072" y="2608695"/>
                  <a:pt x="3469585" y="2613126"/>
                </a:cubicBezTo>
                <a:cubicBezTo>
                  <a:pt x="3477782" y="2618296"/>
                  <a:pt x="3481293" y="2618296"/>
                  <a:pt x="3489489" y="2618296"/>
                </a:cubicBezTo>
                <a:cubicBezTo>
                  <a:pt x="3489489" y="2618296"/>
                  <a:pt x="3489489" y="2618296"/>
                  <a:pt x="3505295" y="2618296"/>
                </a:cubicBezTo>
                <a:cubicBezTo>
                  <a:pt x="3521100" y="2623466"/>
                  <a:pt x="3556222" y="2618296"/>
                  <a:pt x="3536319" y="2613126"/>
                </a:cubicBezTo>
                <a:cubicBezTo>
                  <a:pt x="3501196" y="2603524"/>
                  <a:pt x="3465488" y="2598355"/>
                  <a:pt x="3430365" y="2588753"/>
                </a:cubicBezTo>
                <a:cubicBezTo>
                  <a:pt x="3430365" y="2588753"/>
                  <a:pt x="3430365" y="2588753"/>
                  <a:pt x="3422169" y="2583583"/>
                </a:cubicBezTo>
                <a:cubicBezTo>
                  <a:pt x="3422169" y="2583583"/>
                  <a:pt x="3422169" y="2583583"/>
                  <a:pt x="3453780" y="2593184"/>
                </a:cubicBezTo>
                <a:cubicBezTo>
                  <a:pt x="3461976" y="2593184"/>
                  <a:pt x="3501196" y="2593184"/>
                  <a:pt x="3493001" y="2588753"/>
                </a:cubicBezTo>
                <a:cubicBezTo>
                  <a:pt x="3505295" y="2588753"/>
                  <a:pt x="3521100" y="2593184"/>
                  <a:pt x="3532808" y="2593184"/>
                </a:cubicBezTo>
                <a:cubicBezTo>
                  <a:pt x="3536319" y="2593184"/>
                  <a:pt x="3580224" y="2593184"/>
                  <a:pt x="3567930" y="2588753"/>
                </a:cubicBezTo>
                <a:cubicBezTo>
                  <a:pt x="3540417" y="2573242"/>
                  <a:pt x="3508806" y="2558470"/>
                  <a:pt x="3477782" y="2548869"/>
                </a:cubicBezTo>
                <a:cubicBezTo>
                  <a:pt x="3481293" y="2548869"/>
                  <a:pt x="3481293" y="2548869"/>
                  <a:pt x="3477782" y="2543698"/>
                </a:cubicBezTo>
                <a:cubicBezTo>
                  <a:pt x="3461976" y="2538529"/>
                  <a:pt x="3446170" y="2534097"/>
                  <a:pt x="3430365" y="2523757"/>
                </a:cubicBezTo>
                <a:cubicBezTo>
                  <a:pt x="3450269" y="2528927"/>
                  <a:pt x="3469585" y="2534097"/>
                  <a:pt x="3489489" y="2534097"/>
                </a:cubicBezTo>
                <a:cubicBezTo>
                  <a:pt x="3493001" y="2534097"/>
                  <a:pt x="3536319" y="2534097"/>
                  <a:pt x="3521100" y="2528927"/>
                </a:cubicBezTo>
                <a:cubicBezTo>
                  <a:pt x="3446170" y="2503815"/>
                  <a:pt x="3355436" y="2479442"/>
                  <a:pt x="3280506" y="2449160"/>
                </a:cubicBezTo>
                <a:cubicBezTo>
                  <a:pt x="3280506" y="2444728"/>
                  <a:pt x="3284605" y="2444728"/>
                  <a:pt x="3280506" y="2444728"/>
                </a:cubicBezTo>
                <a:cubicBezTo>
                  <a:pt x="3280506" y="2444728"/>
                  <a:pt x="3280506" y="2444728"/>
                  <a:pt x="3272896" y="2439558"/>
                </a:cubicBezTo>
                <a:cubicBezTo>
                  <a:pt x="3312117" y="2449160"/>
                  <a:pt x="3351338" y="2459499"/>
                  <a:pt x="3391143" y="2469101"/>
                </a:cubicBezTo>
                <a:cubicBezTo>
                  <a:pt x="3398754" y="2469101"/>
                  <a:pt x="3446170" y="2474271"/>
                  <a:pt x="3426267" y="2464670"/>
                </a:cubicBezTo>
                <a:cubicBezTo>
                  <a:pt x="3426267" y="2464670"/>
                  <a:pt x="3426267" y="2464670"/>
                  <a:pt x="3394656" y="2449160"/>
                </a:cubicBezTo>
                <a:cubicBezTo>
                  <a:pt x="3426267" y="2459499"/>
                  <a:pt x="3457878" y="2464670"/>
                  <a:pt x="3489489" y="2469101"/>
                </a:cubicBezTo>
                <a:cubicBezTo>
                  <a:pt x="3497098" y="2469101"/>
                  <a:pt x="3540417" y="2469101"/>
                  <a:pt x="3524612" y="2464670"/>
                </a:cubicBezTo>
                <a:cubicBezTo>
                  <a:pt x="3524612" y="2464670"/>
                  <a:pt x="3524612" y="2464670"/>
                  <a:pt x="3508806" y="2459499"/>
                </a:cubicBezTo>
                <a:cubicBezTo>
                  <a:pt x="3524612" y="2459499"/>
                  <a:pt x="3552125" y="2454330"/>
                  <a:pt x="3544515" y="2449160"/>
                </a:cubicBezTo>
                <a:cubicBezTo>
                  <a:pt x="3473683" y="2429217"/>
                  <a:pt x="3402852" y="2404844"/>
                  <a:pt x="3332020" y="2384902"/>
                </a:cubicBezTo>
                <a:cubicBezTo>
                  <a:pt x="3343874" y="2384902"/>
                  <a:pt x="3362314" y="2381994"/>
                  <a:pt x="3365606" y="2378359"/>
                </a:cubicBezTo>
                <a:lnTo>
                  <a:pt x="3363636" y="2375438"/>
                </a:lnTo>
                <a:lnTo>
                  <a:pt x="3415071" y="2389149"/>
                </a:lnTo>
                <a:cubicBezTo>
                  <a:pt x="3439145" y="2394689"/>
                  <a:pt x="3463732" y="2399674"/>
                  <a:pt x="3489489" y="2404844"/>
                </a:cubicBezTo>
                <a:cubicBezTo>
                  <a:pt x="3493001" y="2404844"/>
                  <a:pt x="3508806" y="2404844"/>
                  <a:pt x="3517002" y="2399674"/>
                </a:cubicBezTo>
                <a:cubicBezTo>
                  <a:pt x="3382948" y="2374562"/>
                  <a:pt x="3252993" y="2339848"/>
                  <a:pt x="3118939" y="2310305"/>
                </a:cubicBezTo>
                <a:cubicBezTo>
                  <a:pt x="3162259" y="2325077"/>
                  <a:pt x="3205577" y="2339848"/>
                  <a:pt x="3245383" y="2354620"/>
                </a:cubicBezTo>
                <a:cubicBezTo>
                  <a:pt x="3233675" y="2354620"/>
                  <a:pt x="3205577" y="2354620"/>
                  <a:pt x="3217869" y="2359790"/>
                </a:cubicBezTo>
                <a:cubicBezTo>
                  <a:pt x="3233675" y="2364961"/>
                  <a:pt x="3245383" y="2370131"/>
                  <a:pt x="3261189" y="2374562"/>
                </a:cubicBezTo>
                <a:cubicBezTo>
                  <a:pt x="3261189" y="2374562"/>
                  <a:pt x="3261189" y="2374562"/>
                  <a:pt x="3237188" y="2370131"/>
                </a:cubicBezTo>
                <a:cubicBezTo>
                  <a:pt x="3189771" y="2354620"/>
                  <a:pt x="3142940" y="2339848"/>
                  <a:pt x="3095524" y="2325077"/>
                </a:cubicBezTo>
                <a:cubicBezTo>
                  <a:pt x="3060401" y="2305135"/>
                  <a:pt x="3020595" y="2290364"/>
                  <a:pt x="2981373" y="2275591"/>
                </a:cubicBezTo>
                <a:cubicBezTo>
                  <a:pt x="2930445" y="2260819"/>
                  <a:pt x="2878931" y="2246048"/>
                  <a:pt x="2823905" y="2235708"/>
                </a:cubicBezTo>
                <a:cubicBezTo>
                  <a:pt x="2843223" y="2240878"/>
                  <a:pt x="2859028" y="2246048"/>
                  <a:pt x="2878931" y="2255649"/>
                </a:cubicBezTo>
                <a:cubicBezTo>
                  <a:pt x="2867223" y="2255649"/>
                  <a:pt x="2863126" y="2255649"/>
                  <a:pt x="2867223" y="2260819"/>
                </a:cubicBezTo>
                <a:cubicBezTo>
                  <a:pt x="2867223" y="2260819"/>
                  <a:pt x="2867223" y="2260819"/>
                  <a:pt x="2894736" y="2270421"/>
                </a:cubicBezTo>
                <a:cubicBezTo>
                  <a:pt x="2815710" y="2240878"/>
                  <a:pt x="2741365" y="2215765"/>
                  <a:pt x="2662338" y="2200994"/>
                </a:cubicBezTo>
                <a:cubicBezTo>
                  <a:pt x="2658241" y="2200994"/>
                  <a:pt x="2614922" y="2195824"/>
                  <a:pt x="2626629" y="2200994"/>
                </a:cubicBezTo>
                <a:cubicBezTo>
                  <a:pt x="2741365" y="2270421"/>
                  <a:pt x="2867223" y="2300703"/>
                  <a:pt x="2993082" y="2339848"/>
                </a:cubicBezTo>
                <a:cubicBezTo>
                  <a:pt x="2981373" y="2345018"/>
                  <a:pt x="2969666" y="2345018"/>
                  <a:pt x="2977276" y="2350189"/>
                </a:cubicBezTo>
                <a:cubicBezTo>
                  <a:pt x="3001277" y="2359790"/>
                  <a:pt x="3020595" y="2370131"/>
                  <a:pt x="3044596" y="2379732"/>
                </a:cubicBezTo>
                <a:cubicBezTo>
                  <a:pt x="3036400" y="2374562"/>
                  <a:pt x="3024692" y="2374562"/>
                  <a:pt x="3016497" y="2370131"/>
                </a:cubicBezTo>
                <a:cubicBezTo>
                  <a:pt x="3012985" y="2370131"/>
                  <a:pt x="3004789" y="2370131"/>
                  <a:pt x="2993082" y="2370131"/>
                </a:cubicBezTo>
                <a:cubicBezTo>
                  <a:pt x="2977276" y="2364961"/>
                  <a:pt x="2961471" y="2354620"/>
                  <a:pt x="2949763" y="2350189"/>
                </a:cubicBezTo>
                <a:cubicBezTo>
                  <a:pt x="2933958" y="2345018"/>
                  <a:pt x="2894736" y="2350189"/>
                  <a:pt x="2906444" y="2354620"/>
                </a:cubicBezTo>
                <a:cubicBezTo>
                  <a:pt x="2906444" y="2354620"/>
                  <a:pt x="2906444" y="2354620"/>
                  <a:pt x="2977276" y="2384902"/>
                </a:cubicBezTo>
                <a:cubicBezTo>
                  <a:pt x="2969666" y="2384902"/>
                  <a:pt x="2957959" y="2384902"/>
                  <a:pt x="2953860" y="2384902"/>
                </a:cubicBezTo>
                <a:cubicBezTo>
                  <a:pt x="2918152" y="2370131"/>
                  <a:pt x="2883029" y="2354620"/>
                  <a:pt x="2851418" y="2345018"/>
                </a:cubicBezTo>
                <a:cubicBezTo>
                  <a:pt x="2843223" y="2339848"/>
                  <a:pt x="2828002" y="2339848"/>
                  <a:pt x="2815710" y="2339848"/>
                </a:cubicBezTo>
                <a:cubicBezTo>
                  <a:pt x="2780586" y="2325077"/>
                  <a:pt x="2744878" y="2315475"/>
                  <a:pt x="2709755" y="2300703"/>
                </a:cubicBezTo>
                <a:cubicBezTo>
                  <a:pt x="2701559" y="2295533"/>
                  <a:pt x="2650631" y="2295533"/>
                  <a:pt x="2669948" y="2305135"/>
                </a:cubicBezTo>
                <a:cubicBezTo>
                  <a:pt x="2669948" y="2305135"/>
                  <a:pt x="2669948" y="2305135"/>
                  <a:pt x="2725560" y="2330247"/>
                </a:cubicBezTo>
                <a:cubicBezTo>
                  <a:pt x="2717364" y="2330247"/>
                  <a:pt x="2709755" y="2330247"/>
                  <a:pt x="2717364" y="2334679"/>
                </a:cubicBezTo>
                <a:cubicBezTo>
                  <a:pt x="2792294" y="2379732"/>
                  <a:pt x="2890639" y="2409276"/>
                  <a:pt x="2981373" y="2439558"/>
                </a:cubicBezTo>
                <a:cubicBezTo>
                  <a:pt x="2973179" y="2439558"/>
                  <a:pt x="2969666" y="2439558"/>
                  <a:pt x="2965569" y="2444728"/>
                </a:cubicBezTo>
                <a:cubicBezTo>
                  <a:pt x="2945666" y="2434388"/>
                  <a:pt x="2942153" y="2434388"/>
                  <a:pt x="2910542" y="2424786"/>
                </a:cubicBezTo>
                <a:cubicBezTo>
                  <a:pt x="2902346" y="2424786"/>
                  <a:pt x="2859028" y="2419616"/>
                  <a:pt x="2871321" y="2424786"/>
                </a:cubicBezTo>
                <a:cubicBezTo>
                  <a:pt x="2878931" y="2434388"/>
                  <a:pt x="2890639" y="2439558"/>
                  <a:pt x="2902346" y="2444728"/>
                </a:cubicBezTo>
                <a:cubicBezTo>
                  <a:pt x="2843223" y="2424786"/>
                  <a:pt x="2788196" y="2404844"/>
                  <a:pt x="2729072" y="2390072"/>
                </a:cubicBezTo>
                <a:cubicBezTo>
                  <a:pt x="2721462" y="2384902"/>
                  <a:pt x="2674046" y="2379732"/>
                  <a:pt x="2693949" y="2390072"/>
                </a:cubicBezTo>
                <a:cubicBezTo>
                  <a:pt x="2693949" y="2390072"/>
                  <a:pt x="2693949" y="2390072"/>
                  <a:pt x="2698047" y="2394504"/>
                </a:cubicBezTo>
                <a:cubicBezTo>
                  <a:pt x="2682241" y="2390072"/>
                  <a:pt x="2662338" y="2384902"/>
                  <a:pt x="2646533" y="2379732"/>
                </a:cubicBezTo>
                <a:cubicBezTo>
                  <a:pt x="2619019" y="2370131"/>
                  <a:pt x="2591506" y="2359790"/>
                  <a:pt x="2563994" y="2345018"/>
                </a:cubicBezTo>
                <a:cubicBezTo>
                  <a:pt x="2571603" y="2345018"/>
                  <a:pt x="2575701" y="2345018"/>
                  <a:pt x="2568091" y="2339848"/>
                </a:cubicBezTo>
                <a:cubicBezTo>
                  <a:pt x="2552285" y="2334679"/>
                  <a:pt x="2536480" y="2330247"/>
                  <a:pt x="2520675" y="2325077"/>
                </a:cubicBezTo>
                <a:cubicBezTo>
                  <a:pt x="2512479" y="2319907"/>
                  <a:pt x="2504870" y="2315475"/>
                  <a:pt x="2493161" y="2310305"/>
                </a:cubicBezTo>
                <a:cubicBezTo>
                  <a:pt x="2516576" y="2315475"/>
                  <a:pt x="2540578" y="2315475"/>
                  <a:pt x="2563994" y="2319907"/>
                </a:cubicBezTo>
                <a:cubicBezTo>
                  <a:pt x="2568091" y="2319907"/>
                  <a:pt x="2603214" y="2319907"/>
                  <a:pt x="2595605" y="2315475"/>
                </a:cubicBezTo>
                <a:cubicBezTo>
                  <a:pt x="2536480" y="2280762"/>
                  <a:pt x="2473259" y="2250480"/>
                  <a:pt x="2410622" y="2226106"/>
                </a:cubicBezTo>
                <a:cubicBezTo>
                  <a:pt x="2410622" y="2226106"/>
                  <a:pt x="2410622" y="2226106"/>
                  <a:pt x="2406524" y="2226106"/>
                </a:cubicBezTo>
                <a:cubicBezTo>
                  <a:pt x="2406524" y="2226106"/>
                  <a:pt x="2406524" y="2226106"/>
                  <a:pt x="2406524" y="2220936"/>
                </a:cubicBezTo>
                <a:cubicBezTo>
                  <a:pt x="2406524" y="2220936"/>
                  <a:pt x="2406524" y="2220936"/>
                  <a:pt x="2441647" y="2235708"/>
                </a:cubicBezTo>
                <a:cubicBezTo>
                  <a:pt x="2453355" y="2240878"/>
                  <a:pt x="2500771" y="2246048"/>
                  <a:pt x="2484966" y="2235708"/>
                </a:cubicBezTo>
                <a:cubicBezTo>
                  <a:pt x="2441647" y="2215765"/>
                  <a:pt x="2394816" y="2190654"/>
                  <a:pt x="2351498" y="2171450"/>
                </a:cubicBezTo>
                <a:cubicBezTo>
                  <a:pt x="2359108" y="2171450"/>
                  <a:pt x="2402426" y="2175882"/>
                  <a:pt x="2386621" y="2166280"/>
                </a:cubicBezTo>
                <a:cubicBezTo>
                  <a:pt x="2386621" y="2166280"/>
                  <a:pt x="2386621" y="2166280"/>
                  <a:pt x="2327497" y="2141168"/>
                </a:cubicBezTo>
                <a:cubicBezTo>
                  <a:pt x="2327497" y="2141168"/>
                  <a:pt x="2327497" y="2141168"/>
                  <a:pt x="2367303" y="2155940"/>
                </a:cubicBezTo>
                <a:cubicBezTo>
                  <a:pt x="2382524" y="2161110"/>
                  <a:pt x="2398329" y="2166280"/>
                  <a:pt x="2410622" y="2171450"/>
                </a:cubicBezTo>
                <a:cubicBezTo>
                  <a:pt x="2429940" y="2181052"/>
                  <a:pt x="2461551" y="2175882"/>
                  <a:pt x="2453355" y="2171450"/>
                </a:cubicBezTo>
                <a:cubicBezTo>
                  <a:pt x="2453355" y="2171450"/>
                  <a:pt x="2453355" y="2171450"/>
                  <a:pt x="2410622" y="2155940"/>
                </a:cubicBezTo>
                <a:cubicBezTo>
                  <a:pt x="2398329" y="2151508"/>
                  <a:pt x="2390719" y="2146338"/>
                  <a:pt x="2379011" y="2141168"/>
                </a:cubicBezTo>
                <a:cubicBezTo>
                  <a:pt x="2438135" y="2161110"/>
                  <a:pt x="2493161" y="2181052"/>
                  <a:pt x="2548188" y="2200994"/>
                </a:cubicBezTo>
                <a:cubicBezTo>
                  <a:pt x="2555798" y="2200994"/>
                  <a:pt x="2599702" y="2200994"/>
                  <a:pt x="2583897" y="2195824"/>
                </a:cubicBezTo>
                <a:cubicBezTo>
                  <a:pt x="2516576" y="2166280"/>
                  <a:pt x="2438135" y="2135998"/>
                  <a:pt x="2370816" y="2101285"/>
                </a:cubicBezTo>
                <a:cubicBezTo>
                  <a:pt x="2256666" y="2062139"/>
                  <a:pt x="2142515" y="2027426"/>
                  <a:pt x="2032462" y="1987542"/>
                </a:cubicBezTo>
                <a:cubicBezTo>
                  <a:pt x="1918312" y="1947658"/>
                  <a:pt x="1803576" y="1907774"/>
                  <a:pt x="1689426" y="1863459"/>
                </a:cubicBezTo>
                <a:cubicBezTo>
                  <a:pt x="1689426" y="1863459"/>
                  <a:pt x="1689426" y="1863459"/>
                  <a:pt x="1520249" y="1798463"/>
                </a:cubicBezTo>
                <a:cubicBezTo>
                  <a:pt x="1520249" y="1798463"/>
                  <a:pt x="1520249" y="1798463"/>
                  <a:pt x="1351072" y="1729036"/>
                </a:cubicBezTo>
                <a:cubicBezTo>
                  <a:pt x="1252727" y="1698754"/>
                  <a:pt x="1157894" y="1659608"/>
                  <a:pt x="1059549" y="1614555"/>
                </a:cubicBezTo>
                <a:cubicBezTo>
                  <a:pt x="965303" y="1574671"/>
                  <a:pt x="870470" y="1525186"/>
                  <a:pt x="776223" y="1475700"/>
                </a:cubicBezTo>
                <a:cubicBezTo>
                  <a:pt x="783833" y="1475700"/>
                  <a:pt x="783833" y="1475700"/>
                  <a:pt x="783833" y="1470530"/>
                </a:cubicBezTo>
                <a:cubicBezTo>
                  <a:pt x="752222" y="1455758"/>
                  <a:pt x="717098" y="1440986"/>
                  <a:pt x="685488" y="1430646"/>
                </a:cubicBezTo>
                <a:cubicBezTo>
                  <a:pt x="689586" y="1426214"/>
                  <a:pt x="693684" y="1426214"/>
                  <a:pt x="689586" y="1421045"/>
                </a:cubicBezTo>
                <a:cubicBezTo>
                  <a:pt x="653877" y="1401102"/>
                  <a:pt x="610558" y="1386331"/>
                  <a:pt x="575435" y="1361219"/>
                </a:cubicBezTo>
                <a:cubicBezTo>
                  <a:pt x="578947" y="1361219"/>
                  <a:pt x="587143" y="1361219"/>
                  <a:pt x="590655" y="1361219"/>
                </a:cubicBezTo>
                <a:cubicBezTo>
                  <a:pt x="590655" y="1361219"/>
                  <a:pt x="590655" y="1361219"/>
                  <a:pt x="602948" y="1361219"/>
                </a:cubicBezTo>
                <a:cubicBezTo>
                  <a:pt x="610558" y="1366389"/>
                  <a:pt x="634559" y="1361219"/>
                  <a:pt x="626364" y="1356048"/>
                </a:cubicBezTo>
                <a:cubicBezTo>
                  <a:pt x="626364" y="1356048"/>
                  <a:pt x="626364" y="1356048"/>
                  <a:pt x="598850" y="1336107"/>
                </a:cubicBezTo>
                <a:cubicBezTo>
                  <a:pt x="598850" y="1336107"/>
                  <a:pt x="598850" y="1336107"/>
                  <a:pt x="634559" y="1351617"/>
                </a:cubicBezTo>
                <a:cubicBezTo>
                  <a:pt x="638072" y="1356048"/>
                  <a:pt x="662072" y="1351617"/>
                  <a:pt x="657974" y="1346447"/>
                </a:cubicBezTo>
                <a:cubicBezTo>
                  <a:pt x="630461" y="1331675"/>
                  <a:pt x="602948" y="1316165"/>
                  <a:pt x="575435" y="1301393"/>
                </a:cubicBezTo>
                <a:cubicBezTo>
                  <a:pt x="583045" y="1301393"/>
                  <a:pt x="590655" y="1296962"/>
                  <a:pt x="587143" y="1291792"/>
                </a:cubicBezTo>
                <a:cubicBezTo>
                  <a:pt x="563142" y="1277020"/>
                  <a:pt x="539726" y="1266680"/>
                  <a:pt x="516311" y="1257078"/>
                </a:cubicBezTo>
                <a:cubicBezTo>
                  <a:pt x="523921" y="1251908"/>
                  <a:pt x="528019" y="1251908"/>
                  <a:pt x="528019" y="1246738"/>
                </a:cubicBezTo>
                <a:cubicBezTo>
                  <a:pt x="528019" y="1246738"/>
                  <a:pt x="528019" y="1246738"/>
                  <a:pt x="532116" y="1251908"/>
                </a:cubicBezTo>
                <a:cubicBezTo>
                  <a:pt x="535629" y="1251908"/>
                  <a:pt x="559629" y="1246738"/>
                  <a:pt x="551434" y="1242306"/>
                </a:cubicBezTo>
                <a:cubicBezTo>
                  <a:pt x="543825" y="1237136"/>
                  <a:pt x="532116" y="1226796"/>
                  <a:pt x="523921" y="1222365"/>
                </a:cubicBezTo>
                <a:cubicBezTo>
                  <a:pt x="516311" y="1217194"/>
                  <a:pt x="504603" y="1222365"/>
                  <a:pt x="500506" y="1222365"/>
                </a:cubicBezTo>
                <a:cubicBezTo>
                  <a:pt x="492310" y="1222365"/>
                  <a:pt x="480603" y="1217194"/>
                  <a:pt x="472993" y="1212024"/>
                </a:cubicBezTo>
                <a:cubicBezTo>
                  <a:pt x="472993" y="1212024"/>
                  <a:pt x="472993" y="1212024"/>
                  <a:pt x="472993" y="1207593"/>
                </a:cubicBezTo>
                <a:cubicBezTo>
                  <a:pt x="445480" y="1192082"/>
                  <a:pt x="417381" y="1177311"/>
                  <a:pt x="393965" y="1157368"/>
                </a:cubicBezTo>
                <a:cubicBezTo>
                  <a:pt x="405673" y="1157368"/>
                  <a:pt x="421479" y="1162539"/>
                  <a:pt x="433186" y="1167709"/>
                </a:cubicBezTo>
                <a:cubicBezTo>
                  <a:pt x="472993" y="1192082"/>
                  <a:pt x="516311" y="1207593"/>
                  <a:pt x="555532" y="1226796"/>
                </a:cubicBezTo>
                <a:cubicBezTo>
                  <a:pt x="563142" y="1226796"/>
                  <a:pt x="578947" y="1222365"/>
                  <a:pt x="578947" y="1217194"/>
                </a:cubicBezTo>
                <a:cubicBezTo>
                  <a:pt x="602948" y="1231966"/>
                  <a:pt x="626364" y="1242306"/>
                  <a:pt x="649779" y="1251908"/>
                </a:cubicBezTo>
                <a:cubicBezTo>
                  <a:pt x="649779" y="1251908"/>
                  <a:pt x="649779" y="1251908"/>
                  <a:pt x="653877" y="1251908"/>
                </a:cubicBezTo>
                <a:cubicBezTo>
                  <a:pt x="653877" y="1257078"/>
                  <a:pt x="657974" y="1257078"/>
                  <a:pt x="657974" y="1257078"/>
                </a:cubicBezTo>
                <a:cubicBezTo>
                  <a:pt x="681390" y="1266680"/>
                  <a:pt x="708903" y="1277020"/>
                  <a:pt x="732904" y="1286621"/>
                </a:cubicBezTo>
                <a:cubicBezTo>
                  <a:pt x="736417" y="1291792"/>
                  <a:pt x="763930" y="1286621"/>
                  <a:pt x="756319" y="1281451"/>
                </a:cubicBezTo>
                <a:cubicBezTo>
                  <a:pt x="740514" y="1271849"/>
                  <a:pt x="720611" y="1261510"/>
                  <a:pt x="705391" y="1251908"/>
                </a:cubicBezTo>
                <a:cubicBezTo>
                  <a:pt x="713001" y="1246738"/>
                  <a:pt x="717098" y="1246738"/>
                  <a:pt x="713001" y="1242306"/>
                </a:cubicBezTo>
                <a:cubicBezTo>
                  <a:pt x="697195" y="1226796"/>
                  <a:pt x="681390" y="1217194"/>
                  <a:pt x="665585" y="1207593"/>
                </a:cubicBezTo>
                <a:cubicBezTo>
                  <a:pt x="673780" y="1207593"/>
                  <a:pt x="693684" y="1202422"/>
                  <a:pt x="685488" y="1197252"/>
                </a:cubicBezTo>
                <a:cubicBezTo>
                  <a:pt x="646268" y="1172140"/>
                  <a:pt x="602948" y="1157368"/>
                  <a:pt x="559629" y="1132995"/>
                </a:cubicBezTo>
                <a:cubicBezTo>
                  <a:pt x="559629" y="1132995"/>
                  <a:pt x="555532" y="1132995"/>
                  <a:pt x="551434" y="1132995"/>
                </a:cubicBezTo>
                <a:cubicBezTo>
                  <a:pt x="488798" y="1102713"/>
                  <a:pt x="425576" y="1073169"/>
                  <a:pt x="362354" y="1042887"/>
                </a:cubicBezTo>
                <a:cubicBezTo>
                  <a:pt x="323134" y="1018514"/>
                  <a:pt x="288011" y="993402"/>
                  <a:pt x="248204" y="969029"/>
                </a:cubicBezTo>
                <a:cubicBezTo>
                  <a:pt x="252302" y="969029"/>
                  <a:pt x="252302" y="969029"/>
                  <a:pt x="252302" y="963858"/>
                </a:cubicBezTo>
                <a:cubicBezTo>
                  <a:pt x="252302" y="963858"/>
                  <a:pt x="252302" y="963858"/>
                  <a:pt x="229088" y="951395"/>
                </a:cubicBezTo>
                <a:lnTo>
                  <a:pt x="214962" y="943811"/>
                </a:lnTo>
                <a:lnTo>
                  <a:pt x="224569" y="943270"/>
                </a:lnTo>
                <a:cubicBezTo>
                  <a:pt x="229472" y="942624"/>
                  <a:pt x="234447" y="941331"/>
                  <a:pt x="236497" y="938746"/>
                </a:cubicBezTo>
                <a:cubicBezTo>
                  <a:pt x="264010" y="953518"/>
                  <a:pt x="295621" y="969029"/>
                  <a:pt x="323134" y="983800"/>
                </a:cubicBezTo>
                <a:cubicBezTo>
                  <a:pt x="315524" y="983800"/>
                  <a:pt x="295621" y="988970"/>
                  <a:pt x="303231" y="993402"/>
                </a:cubicBezTo>
                <a:cubicBezTo>
                  <a:pt x="303231" y="993402"/>
                  <a:pt x="303231" y="993402"/>
                  <a:pt x="374062" y="1028115"/>
                </a:cubicBezTo>
                <a:cubicBezTo>
                  <a:pt x="378160" y="1033286"/>
                  <a:pt x="386356" y="1028115"/>
                  <a:pt x="393965" y="1028115"/>
                </a:cubicBezTo>
                <a:cubicBezTo>
                  <a:pt x="393965" y="1028115"/>
                  <a:pt x="393965" y="1028115"/>
                  <a:pt x="398064" y="1028115"/>
                </a:cubicBezTo>
                <a:cubicBezTo>
                  <a:pt x="402161" y="1033286"/>
                  <a:pt x="409771" y="1028115"/>
                  <a:pt x="413868" y="1028115"/>
                </a:cubicBezTo>
                <a:cubicBezTo>
                  <a:pt x="413868" y="1028115"/>
                  <a:pt x="413868" y="1028115"/>
                  <a:pt x="417381" y="1028115"/>
                </a:cubicBezTo>
                <a:cubicBezTo>
                  <a:pt x="445480" y="1042887"/>
                  <a:pt x="472993" y="1053227"/>
                  <a:pt x="504603" y="1062829"/>
                </a:cubicBezTo>
                <a:cubicBezTo>
                  <a:pt x="504603" y="1067999"/>
                  <a:pt x="508116" y="1062829"/>
                  <a:pt x="512213" y="1062829"/>
                </a:cubicBezTo>
                <a:cubicBezTo>
                  <a:pt x="528019" y="1073169"/>
                  <a:pt x="543825" y="1082771"/>
                  <a:pt x="551434" y="1087941"/>
                </a:cubicBezTo>
                <a:cubicBezTo>
                  <a:pt x="559629" y="1093112"/>
                  <a:pt x="583045" y="1082771"/>
                  <a:pt x="575435" y="1082771"/>
                </a:cubicBezTo>
                <a:cubicBezTo>
                  <a:pt x="559629" y="1073169"/>
                  <a:pt x="535629" y="1058398"/>
                  <a:pt x="512213" y="1042887"/>
                </a:cubicBezTo>
                <a:cubicBezTo>
                  <a:pt x="523921" y="1053227"/>
                  <a:pt x="539726" y="1058398"/>
                  <a:pt x="555532" y="1062829"/>
                </a:cubicBezTo>
                <a:cubicBezTo>
                  <a:pt x="559629" y="1062829"/>
                  <a:pt x="583045" y="1062829"/>
                  <a:pt x="575435" y="1053227"/>
                </a:cubicBezTo>
                <a:cubicBezTo>
                  <a:pt x="559629" y="1042887"/>
                  <a:pt x="520409" y="1028115"/>
                  <a:pt x="492310" y="1013344"/>
                </a:cubicBezTo>
                <a:cubicBezTo>
                  <a:pt x="504603" y="1018514"/>
                  <a:pt x="516311" y="1018514"/>
                  <a:pt x="528019" y="1018514"/>
                </a:cubicBezTo>
                <a:cubicBezTo>
                  <a:pt x="539726" y="1028115"/>
                  <a:pt x="551434" y="1033286"/>
                  <a:pt x="567240" y="1042887"/>
                </a:cubicBezTo>
                <a:cubicBezTo>
                  <a:pt x="567240" y="1042887"/>
                  <a:pt x="567240" y="1042887"/>
                  <a:pt x="610558" y="1067999"/>
                </a:cubicBezTo>
                <a:cubicBezTo>
                  <a:pt x="626364" y="1078339"/>
                  <a:pt x="642169" y="1087941"/>
                  <a:pt x="657974" y="1097543"/>
                </a:cubicBezTo>
                <a:cubicBezTo>
                  <a:pt x="665585" y="1102713"/>
                  <a:pt x="685488" y="1093112"/>
                  <a:pt x="681390" y="1087941"/>
                </a:cubicBezTo>
                <a:cubicBezTo>
                  <a:pt x="642169" y="1062829"/>
                  <a:pt x="602948" y="1042887"/>
                  <a:pt x="567240" y="1018514"/>
                </a:cubicBezTo>
                <a:cubicBezTo>
                  <a:pt x="563142" y="1018514"/>
                  <a:pt x="559629" y="1013344"/>
                  <a:pt x="555532" y="1013344"/>
                </a:cubicBezTo>
                <a:cubicBezTo>
                  <a:pt x="559629" y="1013344"/>
                  <a:pt x="559629" y="1013344"/>
                  <a:pt x="559629" y="1008173"/>
                </a:cubicBezTo>
                <a:cubicBezTo>
                  <a:pt x="535629" y="993402"/>
                  <a:pt x="508116" y="978630"/>
                  <a:pt x="488798" y="963858"/>
                </a:cubicBezTo>
                <a:cubicBezTo>
                  <a:pt x="488798" y="958688"/>
                  <a:pt x="484700" y="958688"/>
                  <a:pt x="484700" y="958688"/>
                </a:cubicBezTo>
                <a:cubicBezTo>
                  <a:pt x="484700" y="958688"/>
                  <a:pt x="484700" y="958688"/>
                  <a:pt x="476505" y="953518"/>
                </a:cubicBezTo>
                <a:lnTo>
                  <a:pt x="476505" y="949086"/>
                </a:lnTo>
                <a:cubicBezTo>
                  <a:pt x="476505" y="949086"/>
                  <a:pt x="476505" y="949086"/>
                  <a:pt x="472993" y="949086"/>
                </a:cubicBezTo>
                <a:cubicBezTo>
                  <a:pt x="484700" y="949086"/>
                  <a:pt x="496408" y="943916"/>
                  <a:pt x="492310" y="943916"/>
                </a:cubicBezTo>
                <a:cubicBezTo>
                  <a:pt x="468895" y="929145"/>
                  <a:pt x="445480" y="914373"/>
                  <a:pt x="417381" y="904032"/>
                </a:cubicBezTo>
                <a:cubicBezTo>
                  <a:pt x="417381" y="898862"/>
                  <a:pt x="405673" y="898862"/>
                  <a:pt x="398064" y="904032"/>
                </a:cubicBezTo>
                <a:cubicBezTo>
                  <a:pt x="347135" y="874489"/>
                  <a:pt x="288011" y="849377"/>
                  <a:pt x="240594" y="844207"/>
                </a:cubicBezTo>
                <a:cubicBezTo>
                  <a:pt x="236497" y="844207"/>
                  <a:pt x="216593" y="849377"/>
                  <a:pt x="224789" y="854548"/>
                </a:cubicBezTo>
                <a:cubicBezTo>
                  <a:pt x="224789" y="854548"/>
                  <a:pt x="244106" y="864148"/>
                  <a:pt x="264010" y="874489"/>
                </a:cubicBezTo>
                <a:cubicBezTo>
                  <a:pt x="264010" y="878920"/>
                  <a:pt x="264010" y="878920"/>
                  <a:pt x="264010" y="878920"/>
                </a:cubicBezTo>
                <a:cubicBezTo>
                  <a:pt x="264010" y="878920"/>
                  <a:pt x="264010" y="878920"/>
                  <a:pt x="299718" y="894431"/>
                </a:cubicBezTo>
                <a:cubicBezTo>
                  <a:pt x="311426" y="904032"/>
                  <a:pt x="319036" y="909203"/>
                  <a:pt x="327231" y="909203"/>
                </a:cubicBezTo>
                <a:cubicBezTo>
                  <a:pt x="323134" y="914373"/>
                  <a:pt x="319036" y="914373"/>
                  <a:pt x="319036" y="914373"/>
                </a:cubicBezTo>
                <a:cubicBezTo>
                  <a:pt x="311426" y="914373"/>
                  <a:pt x="303231" y="914373"/>
                  <a:pt x="291523" y="914373"/>
                </a:cubicBezTo>
                <a:cubicBezTo>
                  <a:pt x="291523" y="909203"/>
                  <a:pt x="291523" y="914373"/>
                  <a:pt x="288011" y="914373"/>
                </a:cubicBezTo>
                <a:cubicBezTo>
                  <a:pt x="216593" y="869319"/>
                  <a:pt x="145762" y="829435"/>
                  <a:pt x="74930" y="785120"/>
                </a:cubicBezTo>
                <a:cubicBezTo>
                  <a:pt x="63222" y="779950"/>
                  <a:pt x="51514" y="779950"/>
                  <a:pt x="39806" y="774779"/>
                </a:cubicBezTo>
                <a:cubicBezTo>
                  <a:pt x="35709" y="774779"/>
                  <a:pt x="35709" y="770349"/>
                  <a:pt x="31611" y="770349"/>
                </a:cubicBezTo>
                <a:cubicBezTo>
                  <a:pt x="43319" y="774779"/>
                  <a:pt x="55612" y="779950"/>
                  <a:pt x="67320" y="779950"/>
                </a:cubicBezTo>
                <a:cubicBezTo>
                  <a:pt x="55612" y="774779"/>
                  <a:pt x="43319" y="770349"/>
                  <a:pt x="35709" y="760008"/>
                </a:cubicBezTo>
                <a:cubicBezTo>
                  <a:pt x="31611" y="765178"/>
                  <a:pt x="27513" y="765178"/>
                  <a:pt x="27513" y="765178"/>
                </a:cubicBezTo>
                <a:cubicBezTo>
                  <a:pt x="19903" y="760008"/>
                  <a:pt x="12293" y="750406"/>
                  <a:pt x="0" y="745236"/>
                </a:cubicBezTo>
                <a:cubicBezTo>
                  <a:pt x="4098" y="740066"/>
                  <a:pt x="8195" y="734896"/>
                  <a:pt x="8195" y="730464"/>
                </a:cubicBezTo>
                <a:cubicBezTo>
                  <a:pt x="15806" y="734896"/>
                  <a:pt x="27513" y="734896"/>
                  <a:pt x="31611" y="730464"/>
                </a:cubicBezTo>
                <a:cubicBezTo>
                  <a:pt x="59124" y="745236"/>
                  <a:pt x="86638" y="754838"/>
                  <a:pt x="114736" y="770349"/>
                </a:cubicBezTo>
                <a:cubicBezTo>
                  <a:pt x="118248" y="774779"/>
                  <a:pt x="142249" y="770349"/>
                  <a:pt x="138152" y="765178"/>
                </a:cubicBezTo>
                <a:cubicBezTo>
                  <a:pt x="102443" y="745236"/>
                  <a:pt x="67320" y="725294"/>
                  <a:pt x="31611" y="710523"/>
                </a:cubicBezTo>
                <a:cubicBezTo>
                  <a:pt x="43319" y="715692"/>
                  <a:pt x="59124" y="720124"/>
                  <a:pt x="74930" y="725294"/>
                </a:cubicBezTo>
                <a:cubicBezTo>
                  <a:pt x="79027" y="730464"/>
                  <a:pt x="86638" y="725294"/>
                  <a:pt x="94833" y="725294"/>
                </a:cubicBezTo>
                <a:cubicBezTo>
                  <a:pt x="94833" y="725294"/>
                  <a:pt x="94833" y="725294"/>
                  <a:pt x="185568" y="760008"/>
                </a:cubicBezTo>
                <a:cubicBezTo>
                  <a:pt x="189080" y="760008"/>
                  <a:pt x="197276" y="760008"/>
                  <a:pt x="200788" y="760008"/>
                </a:cubicBezTo>
                <a:cubicBezTo>
                  <a:pt x="200788" y="760008"/>
                  <a:pt x="200788" y="760008"/>
                  <a:pt x="224789" y="774779"/>
                </a:cubicBezTo>
                <a:cubicBezTo>
                  <a:pt x="220691" y="774779"/>
                  <a:pt x="216593" y="774779"/>
                  <a:pt x="220691" y="779950"/>
                </a:cubicBezTo>
                <a:cubicBezTo>
                  <a:pt x="252302" y="805062"/>
                  <a:pt x="279815" y="819833"/>
                  <a:pt x="311426" y="834605"/>
                </a:cubicBezTo>
                <a:cubicBezTo>
                  <a:pt x="382257" y="894431"/>
                  <a:pt x="480603" y="923975"/>
                  <a:pt x="563142" y="949086"/>
                </a:cubicBezTo>
                <a:cubicBezTo>
                  <a:pt x="598850" y="969029"/>
                  <a:pt x="634559" y="988970"/>
                  <a:pt x="673780" y="998572"/>
                </a:cubicBezTo>
                <a:cubicBezTo>
                  <a:pt x="677878" y="998572"/>
                  <a:pt x="701293" y="993402"/>
                  <a:pt x="697195" y="988970"/>
                </a:cubicBezTo>
                <a:cubicBezTo>
                  <a:pt x="687537" y="979000"/>
                  <a:pt x="675683" y="970137"/>
                  <a:pt x="663316" y="962566"/>
                </a:cubicBezTo>
                <a:lnTo>
                  <a:pt x="636057" y="948808"/>
                </a:lnTo>
                <a:lnTo>
                  <a:pt x="651974" y="945855"/>
                </a:lnTo>
                <a:cubicBezTo>
                  <a:pt x="657828" y="943916"/>
                  <a:pt x="661780" y="941331"/>
                  <a:pt x="657974" y="938746"/>
                </a:cubicBezTo>
                <a:cubicBezTo>
                  <a:pt x="618754" y="918805"/>
                  <a:pt x="578947" y="894431"/>
                  <a:pt x="539726" y="878920"/>
                </a:cubicBezTo>
                <a:cubicBezTo>
                  <a:pt x="520409" y="864148"/>
                  <a:pt x="500506" y="849377"/>
                  <a:pt x="480603" y="839776"/>
                </a:cubicBezTo>
                <a:cubicBezTo>
                  <a:pt x="512213" y="849377"/>
                  <a:pt x="543825" y="864148"/>
                  <a:pt x="575435" y="874489"/>
                </a:cubicBezTo>
                <a:cubicBezTo>
                  <a:pt x="587143" y="878920"/>
                  <a:pt x="598850" y="884091"/>
                  <a:pt x="614656" y="889261"/>
                </a:cubicBezTo>
                <a:cubicBezTo>
                  <a:pt x="614656" y="889261"/>
                  <a:pt x="618754" y="889261"/>
                  <a:pt x="622266" y="889261"/>
                </a:cubicBezTo>
                <a:cubicBezTo>
                  <a:pt x="622266" y="889261"/>
                  <a:pt x="622266" y="889261"/>
                  <a:pt x="630461" y="889261"/>
                </a:cubicBezTo>
                <a:cubicBezTo>
                  <a:pt x="638072" y="894431"/>
                  <a:pt x="662072" y="884091"/>
                  <a:pt x="649779" y="884091"/>
                </a:cubicBezTo>
                <a:cubicBezTo>
                  <a:pt x="642169" y="881506"/>
                  <a:pt x="633389" y="877812"/>
                  <a:pt x="624534" y="874120"/>
                </a:cubicBezTo>
                <a:lnTo>
                  <a:pt x="611588" y="869094"/>
                </a:lnTo>
                <a:lnTo>
                  <a:pt x="624901" y="866180"/>
                </a:lnTo>
                <a:cubicBezTo>
                  <a:pt x="630315" y="864333"/>
                  <a:pt x="634267" y="861933"/>
                  <a:pt x="630461" y="859717"/>
                </a:cubicBezTo>
                <a:cubicBezTo>
                  <a:pt x="638072" y="859717"/>
                  <a:pt x="646268" y="864148"/>
                  <a:pt x="653877" y="864148"/>
                </a:cubicBezTo>
                <a:cubicBezTo>
                  <a:pt x="653877" y="864148"/>
                  <a:pt x="677878" y="859717"/>
                  <a:pt x="673780" y="854548"/>
                </a:cubicBezTo>
                <a:cubicBezTo>
                  <a:pt x="662072" y="844207"/>
                  <a:pt x="646268" y="834605"/>
                  <a:pt x="630461" y="824265"/>
                </a:cubicBezTo>
                <a:cubicBezTo>
                  <a:pt x="634559" y="824265"/>
                  <a:pt x="634559" y="824265"/>
                  <a:pt x="630461" y="819833"/>
                </a:cubicBezTo>
                <a:cubicBezTo>
                  <a:pt x="630461" y="819833"/>
                  <a:pt x="630461" y="819833"/>
                  <a:pt x="610558" y="805062"/>
                </a:cubicBezTo>
                <a:cubicBezTo>
                  <a:pt x="618754" y="809493"/>
                  <a:pt x="630461" y="809493"/>
                  <a:pt x="638072" y="809493"/>
                </a:cubicBezTo>
                <a:cubicBezTo>
                  <a:pt x="642169" y="809493"/>
                  <a:pt x="665585" y="809493"/>
                  <a:pt x="657974" y="805062"/>
                </a:cubicBezTo>
                <a:cubicBezTo>
                  <a:pt x="622266" y="785120"/>
                  <a:pt x="575435" y="770349"/>
                  <a:pt x="539726" y="745236"/>
                </a:cubicBezTo>
                <a:lnTo>
                  <a:pt x="542730" y="740816"/>
                </a:lnTo>
                <a:lnTo>
                  <a:pt x="598850" y="754838"/>
                </a:lnTo>
                <a:cubicBezTo>
                  <a:pt x="602948" y="760008"/>
                  <a:pt x="626364" y="754838"/>
                  <a:pt x="618754" y="750406"/>
                </a:cubicBezTo>
                <a:cubicBezTo>
                  <a:pt x="614656" y="745236"/>
                  <a:pt x="610558" y="740066"/>
                  <a:pt x="602948" y="740066"/>
                </a:cubicBezTo>
                <a:cubicBezTo>
                  <a:pt x="618754" y="745236"/>
                  <a:pt x="638072" y="750406"/>
                  <a:pt x="653877" y="750406"/>
                </a:cubicBezTo>
                <a:cubicBezTo>
                  <a:pt x="657974" y="750406"/>
                  <a:pt x="681390" y="750406"/>
                  <a:pt x="673780" y="740066"/>
                </a:cubicBezTo>
                <a:cubicBezTo>
                  <a:pt x="673780" y="740066"/>
                  <a:pt x="673780" y="740066"/>
                  <a:pt x="665585" y="734896"/>
                </a:cubicBezTo>
                <a:cubicBezTo>
                  <a:pt x="673780" y="734896"/>
                  <a:pt x="689586" y="730464"/>
                  <a:pt x="685488" y="730464"/>
                </a:cubicBezTo>
                <a:cubicBezTo>
                  <a:pt x="649779" y="710523"/>
                  <a:pt x="614656" y="700182"/>
                  <a:pt x="583045" y="680240"/>
                </a:cubicBezTo>
                <a:cubicBezTo>
                  <a:pt x="590655" y="680240"/>
                  <a:pt x="606461" y="675809"/>
                  <a:pt x="598850" y="670639"/>
                </a:cubicBezTo>
                <a:cubicBezTo>
                  <a:pt x="598850" y="670639"/>
                  <a:pt x="598850" y="670639"/>
                  <a:pt x="590655" y="665468"/>
                </a:cubicBezTo>
                <a:cubicBezTo>
                  <a:pt x="614656" y="675809"/>
                  <a:pt x="638072" y="685411"/>
                  <a:pt x="665585" y="685411"/>
                </a:cubicBezTo>
                <a:cubicBezTo>
                  <a:pt x="669682" y="690581"/>
                  <a:pt x="693684" y="680240"/>
                  <a:pt x="685488" y="680240"/>
                </a:cubicBezTo>
                <a:cubicBezTo>
                  <a:pt x="622266" y="650697"/>
                  <a:pt x="551434" y="635925"/>
                  <a:pt x="496408" y="590871"/>
                </a:cubicBezTo>
                <a:cubicBezTo>
                  <a:pt x="543825" y="610813"/>
                  <a:pt x="587143" y="641096"/>
                  <a:pt x="638072" y="655867"/>
                </a:cubicBezTo>
                <a:cubicBezTo>
                  <a:pt x="638072" y="655867"/>
                  <a:pt x="646268" y="650697"/>
                  <a:pt x="653877" y="650697"/>
                </a:cubicBezTo>
                <a:cubicBezTo>
                  <a:pt x="669682" y="655867"/>
                  <a:pt x="685488" y="665468"/>
                  <a:pt x="701293" y="670639"/>
                </a:cubicBezTo>
                <a:cubicBezTo>
                  <a:pt x="705391" y="670639"/>
                  <a:pt x="717098" y="670639"/>
                  <a:pt x="720611" y="665468"/>
                </a:cubicBezTo>
                <a:cubicBezTo>
                  <a:pt x="736417" y="675809"/>
                  <a:pt x="748710" y="680240"/>
                  <a:pt x="763930" y="690581"/>
                </a:cubicBezTo>
                <a:cubicBezTo>
                  <a:pt x="772125" y="690581"/>
                  <a:pt x="792028" y="685411"/>
                  <a:pt x="787931" y="680240"/>
                </a:cubicBezTo>
                <a:cubicBezTo>
                  <a:pt x="768027" y="670639"/>
                  <a:pt x="752222" y="660298"/>
                  <a:pt x="732904" y="650697"/>
                </a:cubicBezTo>
                <a:cubicBezTo>
                  <a:pt x="740514" y="650697"/>
                  <a:pt x="748710" y="645527"/>
                  <a:pt x="744612" y="645527"/>
                </a:cubicBezTo>
                <a:cubicBezTo>
                  <a:pt x="662072" y="605643"/>
                  <a:pt x="578947" y="581270"/>
                  <a:pt x="500506" y="531784"/>
                </a:cubicBezTo>
                <a:cubicBezTo>
                  <a:pt x="555532" y="546556"/>
                  <a:pt x="618754" y="590871"/>
                  <a:pt x="677878" y="610813"/>
                </a:cubicBezTo>
                <a:cubicBezTo>
                  <a:pt x="681390" y="610813"/>
                  <a:pt x="705391" y="605643"/>
                  <a:pt x="697195" y="601211"/>
                </a:cubicBezTo>
                <a:cubicBezTo>
                  <a:pt x="662072" y="581270"/>
                  <a:pt x="622266" y="566498"/>
                  <a:pt x="583045" y="546556"/>
                </a:cubicBezTo>
                <a:cubicBezTo>
                  <a:pt x="630461" y="561328"/>
                  <a:pt x="677878" y="590871"/>
                  <a:pt x="720611" y="601211"/>
                </a:cubicBezTo>
                <a:cubicBezTo>
                  <a:pt x="724709" y="601211"/>
                  <a:pt x="748710" y="596041"/>
                  <a:pt x="740514" y="596041"/>
                </a:cubicBezTo>
                <a:cubicBezTo>
                  <a:pt x="677878" y="561328"/>
                  <a:pt x="614656" y="531784"/>
                  <a:pt x="555532" y="497070"/>
                </a:cubicBezTo>
                <a:cubicBezTo>
                  <a:pt x="555532" y="491900"/>
                  <a:pt x="555532" y="491900"/>
                  <a:pt x="555532" y="491900"/>
                </a:cubicBezTo>
                <a:cubicBezTo>
                  <a:pt x="555532" y="491900"/>
                  <a:pt x="555532" y="491900"/>
                  <a:pt x="559629" y="497070"/>
                </a:cubicBezTo>
                <a:cubicBezTo>
                  <a:pt x="606461" y="526613"/>
                  <a:pt x="657974" y="546556"/>
                  <a:pt x="708903" y="566498"/>
                </a:cubicBezTo>
                <a:cubicBezTo>
                  <a:pt x="717098" y="570930"/>
                  <a:pt x="736417" y="561328"/>
                  <a:pt x="732904" y="561328"/>
                </a:cubicBezTo>
                <a:cubicBezTo>
                  <a:pt x="732904" y="561328"/>
                  <a:pt x="732904" y="561328"/>
                  <a:pt x="724709" y="561328"/>
                </a:cubicBezTo>
                <a:cubicBezTo>
                  <a:pt x="736417" y="561328"/>
                  <a:pt x="748710" y="551726"/>
                  <a:pt x="740514" y="551726"/>
                </a:cubicBezTo>
                <a:cubicBezTo>
                  <a:pt x="736417" y="546556"/>
                  <a:pt x="720611" y="541385"/>
                  <a:pt x="705391" y="536215"/>
                </a:cubicBezTo>
                <a:cubicBezTo>
                  <a:pt x="717098" y="536215"/>
                  <a:pt x="728807" y="531784"/>
                  <a:pt x="724709" y="526613"/>
                </a:cubicBezTo>
                <a:cubicBezTo>
                  <a:pt x="724709" y="526613"/>
                  <a:pt x="724709" y="526613"/>
                  <a:pt x="681390" y="506672"/>
                </a:cubicBezTo>
                <a:cubicBezTo>
                  <a:pt x="689586" y="506672"/>
                  <a:pt x="697195" y="501502"/>
                  <a:pt x="693684" y="501502"/>
                </a:cubicBezTo>
                <a:cubicBezTo>
                  <a:pt x="610558" y="441676"/>
                  <a:pt x="523921" y="392191"/>
                  <a:pt x="437284" y="337535"/>
                </a:cubicBezTo>
                <a:cubicBezTo>
                  <a:pt x="441382" y="337535"/>
                  <a:pt x="441382" y="337535"/>
                  <a:pt x="437284" y="333104"/>
                </a:cubicBezTo>
                <a:cubicBezTo>
                  <a:pt x="437284" y="333104"/>
                  <a:pt x="437284" y="333104"/>
                  <a:pt x="366452" y="293220"/>
                </a:cubicBezTo>
                <a:cubicBezTo>
                  <a:pt x="366452" y="293220"/>
                  <a:pt x="366452" y="293220"/>
                  <a:pt x="350647" y="278448"/>
                </a:cubicBezTo>
                <a:cubicBezTo>
                  <a:pt x="374062" y="293220"/>
                  <a:pt x="393965" y="302822"/>
                  <a:pt x="417381" y="313162"/>
                </a:cubicBezTo>
                <a:cubicBezTo>
                  <a:pt x="425576" y="317594"/>
                  <a:pt x="445480" y="313162"/>
                  <a:pt x="441382" y="307992"/>
                </a:cubicBezTo>
                <a:cubicBezTo>
                  <a:pt x="398064" y="288050"/>
                  <a:pt x="354745" y="262938"/>
                  <a:pt x="319036" y="228224"/>
                </a:cubicBezTo>
                <a:cubicBezTo>
                  <a:pt x="313329" y="221023"/>
                  <a:pt x="300706" y="224623"/>
                  <a:pt x="296480" y="229055"/>
                </a:cubicBezTo>
                <a:lnTo>
                  <a:pt x="295990" y="231531"/>
                </a:lnTo>
                <a:lnTo>
                  <a:pt x="292328" y="229701"/>
                </a:lnTo>
                <a:cubicBezTo>
                  <a:pt x="284937" y="226008"/>
                  <a:pt x="270156" y="218623"/>
                  <a:pt x="240594" y="203851"/>
                </a:cubicBezTo>
                <a:cubicBezTo>
                  <a:pt x="248204" y="203851"/>
                  <a:pt x="256399" y="198680"/>
                  <a:pt x="252302" y="198680"/>
                </a:cubicBezTo>
                <a:cubicBezTo>
                  <a:pt x="252302" y="198680"/>
                  <a:pt x="252302" y="198680"/>
                  <a:pt x="248204" y="198680"/>
                </a:cubicBezTo>
                <a:cubicBezTo>
                  <a:pt x="252302" y="193510"/>
                  <a:pt x="252302" y="193510"/>
                  <a:pt x="248204" y="193510"/>
                </a:cubicBezTo>
                <a:cubicBezTo>
                  <a:pt x="248204" y="193510"/>
                  <a:pt x="248204" y="193510"/>
                  <a:pt x="240594" y="188341"/>
                </a:cubicBezTo>
                <a:cubicBezTo>
                  <a:pt x="248204" y="188341"/>
                  <a:pt x="259911" y="183909"/>
                  <a:pt x="256399" y="183909"/>
                </a:cubicBezTo>
                <a:cubicBezTo>
                  <a:pt x="240594" y="173569"/>
                  <a:pt x="224789" y="163967"/>
                  <a:pt x="208983" y="153627"/>
                </a:cubicBezTo>
                <a:cubicBezTo>
                  <a:pt x="213081" y="153627"/>
                  <a:pt x="213081" y="153627"/>
                  <a:pt x="216593" y="153627"/>
                </a:cubicBezTo>
                <a:cubicBezTo>
                  <a:pt x="216593" y="153627"/>
                  <a:pt x="216593" y="153627"/>
                  <a:pt x="268107" y="188341"/>
                </a:cubicBezTo>
                <a:cubicBezTo>
                  <a:pt x="272205" y="188341"/>
                  <a:pt x="283913" y="188341"/>
                  <a:pt x="288011" y="183909"/>
                </a:cubicBezTo>
                <a:cubicBezTo>
                  <a:pt x="338939" y="208282"/>
                  <a:pt x="386356" y="242996"/>
                  <a:pt x="433186" y="273278"/>
                </a:cubicBezTo>
                <a:cubicBezTo>
                  <a:pt x="441382" y="278448"/>
                  <a:pt x="461285" y="268108"/>
                  <a:pt x="457187" y="268108"/>
                </a:cubicBezTo>
                <a:cubicBezTo>
                  <a:pt x="402161" y="233395"/>
                  <a:pt x="354745" y="198680"/>
                  <a:pt x="295621" y="168398"/>
                </a:cubicBezTo>
                <a:cubicBezTo>
                  <a:pt x="291523" y="168398"/>
                  <a:pt x="283913" y="168398"/>
                  <a:pt x="279815" y="173569"/>
                </a:cubicBezTo>
                <a:cubicBezTo>
                  <a:pt x="256399" y="158797"/>
                  <a:pt x="236497" y="144025"/>
                  <a:pt x="216593" y="134423"/>
                </a:cubicBezTo>
                <a:cubicBezTo>
                  <a:pt x="216593" y="129253"/>
                  <a:pt x="220691" y="124083"/>
                  <a:pt x="216593" y="124083"/>
                </a:cubicBezTo>
                <a:cubicBezTo>
                  <a:pt x="213081" y="114482"/>
                  <a:pt x="208983" y="104142"/>
                  <a:pt x="204886" y="98971"/>
                </a:cubicBezTo>
                <a:cubicBezTo>
                  <a:pt x="208983" y="98971"/>
                  <a:pt x="216593" y="104142"/>
                  <a:pt x="220691" y="104142"/>
                </a:cubicBezTo>
                <a:cubicBezTo>
                  <a:pt x="228886" y="109312"/>
                  <a:pt x="252302" y="104142"/>
                  <a:pt x="244106" y="98971"/>
                </a:cubicBezTo>
                <a:cubicBezTo>
                  <a:pt x="232399" y="89370"/>
                  <a:pt x="220691" y="84199"/>
                  <a:pt x="213081" y="79029"/>
                </a:cubicBezTo>
                <a:cubicBezTo>
                  <a:pt x="213081" y="79029"/>
                  <a:pt x="213081" y="79029"/>
                  <a:pt x="228886" y="19942"/>
                </a:cubicBezTo>
                <a:cubicBezTo>
                  <a:pt x="236497" y="24374"/>
                  <a:pt x="244106" y="29544"/>
                  <a:pt x="252302" y="34714"/>
                </a:cubicBezTo>
                <a:cubicBezTo>
                  <a:pt x="259911" y="34714"/>
                  <a:pt x="283913" y="29544"/>
                  <a:pt x="275717" y="24374"/>
                </a:cubicBezTo>
                <a:cubicBezTo>
                  <a:pt x="275717" y="24374"/>
                  <a:pt x="275717" y="24374"/>
                  <a:pt x="236497" y="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2641966533"/>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5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8" name="Picture Placeholder 7"/>
          <p:cNvSpPr>
            <a:spLocks noGrp="1"/>
          </p:cNvSpPr>
          <p:nvPr>
            <p:ph type="pic" sz="quarter" idx="10"/>
          </p:nvPr>
        </p:nvSpPr>
        <p:spPr>
          <a:xfrm>
            <a:off x="5550532" y="1144041"/>
            <a:ext cx="6407869" cy="4985075"/>
          </a:xfrm>
          <a:custGeom>
            <a:avLst/>
            <a:gdLst>
              <a:gd name="connsiteX0" fmla="*/ 5882780 w 6407869"/>
              <a:gd name="connsiteY0" fmla="*/ 2867790 h 4985074"/>
              <a:gd name="connsiteX1" fmla="*/ 5804165 w 6407869"/>
              <a:gd name="connsiteY1" fmla="*/ 2892718 h 4985074"/>
              <a:gd name="connsiteX2" fmla="*/ 5804165 w 6407869"/>
              <a:gd name="connsiteY2" fmla="*/ 2888563 h 4985074"/>
              <a:gd name="connsiteX3" fmla="*/ 5816921 w 6407869"/>
              <a:gd name="connsiteY3" fmla="*/ 2888563 h 4985074"/>
              <a:gd name="connsiteX4" fmla="*/ 5833238 w 6407869"/>
              <a:gd name="connsiteY4" fmla="*/ 2880024 h 4985074"/>
              <a:gd name="connsiteX5" fmla="*/ 5841544 w 6407869"/>
              <a:gd name="connsiteY5" fmla="*/ 2875869 h 4985074"/>
              <a:gd name="connsiteX6" fmla="*/ 5866166 w 6407869"/>
              <a:gd name="connsiteY6" fmla="*/ 2872176 h 4985074"/>
              <a:gd name="connsiteX7" fmla="*/ 5872693 w 6407869"/>
              <a:gd name="connsiteY7" fmla="*/ 2868944 h 4985074"/>
              <a:gd name="connsiteX8" fmla="*/ 6176178 w 6407869"/>
              <a:gd name="connsiteY8" fmla="*/ 2603273 h 4985074"/>
              <a:gd name="connsiteX9" fmla="*/ 6166684 w 6407869"/>
              <a:gd name="connsiteY9" fmla="*/ 2606044 h 4985074"/>
              <a:gd name="connsiteX10" fmla="*/ 6159860 w 6407869"/>
              <a:gd name="connsiteY10" fmla="*/ 2607429 h 4985074"/>
              <a:gd name="connsiteX11" fmla="*/ 6176178 w 6407869"/>
              <a:gd name="connsiteY11" fmla="*/ 2603273 h 4985074"/>
              <a:gd name="connsiteX12" fmla="*/ 5196604 w 6407869"/>
              <a:gd name="connsiteY12" fmla="*/ 2301365 h 4985074"/>
              <a:gd name="connsiteX13" fmla="*/ 5113835 w 6407869"/>
              <a:gd name="connsiteY13" fmla="*/ 2338527 h 4985074"/>
              <a:gd name="connsiteX14" fmla="*/ 5101376 w 6407869"/>
              <a:gd name="connsiteY14" fmla="*/ 2334372 h 4985074"/>
              <a:gd name="connsiteX15" fmla="*/ 5109682 w 6407869"/>
              <a:gd name="connsiteY15" fmla="*/ 2330217 h 4985074"/>
              <a:gd name="connsiteX16" fmla="*/ 5196604 w 6407869"/>
              <a:gd name="connsiteY16" fmla="*/ 2301365 h 4985074"/>
              <a:gd name="connsiteX17" fmla="*/ 4965032 w 6407869"/>
              <a:gd name="connsiteY17" fmla="*/ 116 h 4985074"/>
              <a:gd name="connsiteX18" fmla="*/ 5167532 w 6407869"/>
              <a:gd name="connsiteY18" fmla="*/ 1966 h 4985074"/>
              <a:gd name="connsiteX19" fmla="*/ 5167532 w 6407869"/>
              <a:gd name="connsiteY19" fmla="*/ 6120 h 4985074"/>
              <a:gd name="connsiteX20" fmla="*/ 5192451 w 6407869"/>
              <a:gd name="connsiteY20" fmla="*/ 6120 h 4985074"/>
              <a:gd name="connsiteX21" fmla="*/ 5196604 w 6407869"/>
              <a:gd name="connsiteY21" fmla="*/ 14199 h 4985074"/>
              <a:gd name="connsiteX22" fmla="*/ 5209064 w 6407869"/>
              <a:gd name="connsiteY22" fmla="*/ 18354 h 4985074"/>
              <a:gd name="connsiteX23" fmla="*/ 5196604 w 6407869"/>
              <a:gd name="connsiteY23" fmla="*/ 18354 h 4985074"/>
              <a:gd name="connsiteX24" fmla="*/ 5171684 w 6407869"/>
              <a:gd name="connsiteY24" fmla="*/ 30818 h 4985074"/>
              <a:gd name="connsiteX25" fmla="*/ 5171684 w 6407869"/>
              <a:gd name="connsiteY25" fmla="*/ 34972 h 4985074"/>
              <a:gd name="connsiteX26" fmla="*/ 5200758 w 6407869"/>
              <a:gd name="connsiteY26" fmla="*/ 39128 h 4985074"/>
              <a:gd name="connsiteX27" fmla="*/ 5126295 w 6407869"/>
              <a:gd name="connsiteY27" fmla="*/ 47206 h 4985074"/>
              <a:gd name="connsiteX28" fmla="*/ 5109682 w 6407869"/>
              <a:gd name="connsiteY28" fmla="*/ 47206 h 4985074"/>
              <a:gd name="connsiteX29" fmla="*/ 5101376 w 6407869"/>
              <a:gd name="connsiteY29" fmla="*/ 47206 h 4985074"/>
              <a:gd name="connsiteX30" fmla="*/ 5088916 w 6407869"/>
              <a:gd name="connsiteY30" fmla="*/ 51361 h 4985074"/>
              <a:gd name="connsiteX31" fmla="*/ 5093069 w 6407869"/>
              <a:gd name="connsiteY31" fmla="*/ 51361 h 4985074"/>
              <a:gd name="connsiteX32" fmla="*/ 5097222 w 6407869"/>
              <a:gd name="connsiteY32" fmla="*/ 59670 h 4985074"/>
              <a:gd name="connsiteX33" fmla="*/ 5105528 w 6407869"/>
              <a:gd name="connsiteY33" fmla="*/ 59670 h 4985074"/>
              <a:gd name="connsiteX34" fmla="*/ 5117988 w 6407869"/>
              <a:gd name="connsiteY34" fmla="*/ 59670 h 4985074"/>
              <a:gd name="connsiteX35" fmla="*/ 5395070 w 6407869"/>
              <a:gd name="connsiteY35" fmla="*/ 55516 h 4985074"/>
              <a:gd name="connsiteX36" fmla="*/ 5436008 w 6407869"/>
              <a:gd name="connsiteY36" fmla="*/ 55516 h 4985074"/>
              <a:gd name="connsiteX37" fmla="*/ 5457072 w 6407869"/>
              <a:gd name="connsiteY37" fmla="*/ 55516 h 4985074"/>
              <a:gd name="connsiteX38" fmla="*/ 5465378 w 6407869"/>
              <a:gd name="connsiteY38" fmla="*/ 51361 h 4985074"/>
              <a:gd name="connsiteX39" fmla="*/ 5473388 w 6407869"/>
              <a:gd name="connsiteY39" fmla="*/ 55516 h 4985074"/>
              <a:gd name="connsiteX40" fmla="*/ 5465378 w 6407869"/>
              <a:gd name="connsiteY40" fmla="*/ 59670 h 4985074"/>
              <a:gd name="connsiteX41" fmla="*/ 5444612 w 6407869"/>
              <a:gd name="connsiteY41" fmla="*/ 63825 h 4985074"/>
              <a:gd name="connsiteX42" fmla="*/ 5444612 w 6407869"/>
              <a:gd name="connsiteY42" fmla="*/ 68210 h 4985074"/>
              <a:gd name="connsiteX43" fmla="*/ 5448766 w 6407869"/>
              <a:gd name="connsiteY43" fmla="*/ 68210 h 4985074"/>
              <a:gd name="connsiteX44" fmla="*/ 5461226 w 6407869"/>
              <a:gd name="connsiteY44" fmla="*/ 68210 h 4985074"/>
              <a:gd name="connsiteX45" fmla="*/ 5457072 w 6407869"/>
              <a:gd name="connsiteY45" fmla="*/ 72366 h 4985074"/>
              <a:gd name="connsiteX46" fmla="*/ 5428000 w 6407869"/>
              <a:gd name="connsiteY46" fmla="*/ 80214 h 4985074"/>
              <a:gd name="connsiteX47" fmla="*/ 5423846 w 6407869"/>
              <a:gd name="connsiteY47" fmla="*/ 80214 h 4985074"/>
              <a:gd name="connsiteX48" fmla="*/ 5411386 w 6407869"/>
              <a:gd name="connsiteY48" fmla="*/ 84599 h 4985074"/>
              <a:gd name="connsiteX49" fmla="*/ 5382610 w 6407869"/>
              <a:gd name="connsiteY49" fmla="*/ 92908 h 4985074"/>
              <a:gd name="connsiteX50" fmla="*/ 5378456 w 6407869"/>
              <a:gd name="connsiteY50" fmla="*/ 101218 h 4985074"/>
              <a:gd name="connsiteX51" fmla="*/ 5370448 w 6407869"/>
              <a:gd name="connsiteY51" fmla="*/ 105372 h 4985074"/>
              <a:gd name="connsiteX52" fmla="*/ 5361844 w 6407869"/>
              <a:gd name="connsiteY52" fmla="*/ 109295 h 4985074"/>
              <a:gd name="connsiteX53" fmla="*/ 5378456 w 6407869"/>
              <a:gd name="connsiteY53" fmla="*/ 109295 h 4985074"/>
              <a:gd name="connsiteX54" fmla="*/ 5370448 w 6407869"/>
              <a:gd name="connsiteY54" fmla="*/ 113451 h 4985074"/>
              <a:gd name="connsiteX55" fmla="*/ 5440459 w 6407869"/>
              <a:gd name="connsiteY55" fmla="*/ 121760 h 4985074"/>
              <a:gd name="connsiteX56" fmla="*/ 5407233 w 6407869"/>
              <a:gd name="connsiteY56" fmla="*/ 138379 h 4985074"/>
              <a:gd name="connsiteX57" fmla="*/ 5428000 w 6407869"/>
              <a:gd name="connsiteY57" fmla="*/ 154766 h 4985074"/>
              <a:gd name="connsiteX58" fmla="*/ 5378456 w 6407869"/>
              <a:gd name="connsiteY58" fmla="*/ 175310 h 4985074"/>
              <a:gd name="connsiteX59" fmla="*/ 5411386 w 6407869"/>
              <a:gd name="connsiteY59" fmla="*/ 196314 h 4985074"/>
              <a:gd name="connsiteX60" fmla="*/ 5291536 w 6407869"/>
              <a:gd name="connsiteY60" fmla="*/ 258173 h 4985074"/>
              <a:gd name="connsiteX61" fmla="*/ 5370448 w 6407869"/>
              <a:gd name="connsiteY61" fmla="*/ 241554 h 4985074"/>
              <a:gd name="connsiteX62" fmla="*/ 5130448 w 6407869"/>
              <a:gd name="connsiteY62" fmla="*/ 324417 h 4985074"/>
              <a:gd name="connsiteX63" fmla="*/ 5093069 w 6407869"/>
              <a:gd name="connsiteY63" fmla="*/ 336881 h 4985074"/>
              <a:gd name="connsiteX64" fmla="*/ 5560606 w 6407869"/>
              <a:gd name="connsiteY64" fmla="*/ 270868 h 4985074"/>
              <a:gd name="connsiteX65" fmla="*/ 5514920 w 6407869"/>
              <a:gd name="connsiteY65" fmla="*/ 311954 h 4985074"/>
              <a:gd name="connsiteX66" fmla="*/ 5527380 w 6407869"/>
              <a:gd name="connsiteY66" fmla="*/ 336881 h 4985074"/>
              <a:gd name="connsiteX67" fmla="*/ 5519074 w 6407869"/>
              <a:gd name="connsiteY67" fmla="*/ 344960 h 4985074"/>
              <a:gd name="connsiteX68" fmla="*/ 5535390 w 6407869"/>
              <a:gd name="connsiteY68" fmla="*/ 353269 h 4985074"/>
              <a:gd name="connsiteX69" fmla="*/ 5448766 w 6407869"/>
              <a:gd name="connsiteY69" fmla="*/ 382352 h 4985074"/>
              <a:gd name="connsiteX70" fmla="*/ 5527380 w 6407869"/>
              <a:gd name="connsiteY70" fmla="*/ 370119 h 4985074"/>
              <a:gd name="connsiteX71" fmla="*/ 5535390 w 6407869"/>
              <a:gd name="connsiteY71" fmla="*/ 373812 h 4985074"/>
              <a:gd name="connsiteX72" fmla="*/ 5531238 w 6407869"/>
              <a:gd name="connsiteY72" fmla="*/ 378198 h 4985074"/>
              <a:gd name="connsiteX73" fmla="*/ 5523227 w 6407869"/>
              <a:gd name="connsiteY73" fmla="*/ 386507 h 4985074"/>
              <a:gd name="connsiteX74" fmla="*/ 5519074 w 6407869"/>
              <a:gd name="connsiteY74" fmla="*/ 394817 h 4985074"/>
              <a:gd name="connsiteX75" fmla="*/ 5514920 w 6407869"/>
              <a:gd name="connsiteY75" fmla="*/ 411204 h 4985074"/>
              <a:gd name="connsiteX76" fmla="*/ 5514920 w 6407869"/>
              <a:gd name="connsiteY76" fmla="*/ 415359 h 4985074"/>
              <a:gd name="connsiteX77" fmla="*/ 5510767 w 6407869"/>
              <a:gd name="connsiteY77" fmla="*/ 419514 h 4985074"/>
              <a:gd name="connsiteX78" fmla="*/ 5465378 w 6407869"/>
              <a:gd name="connsiteY78" fmla="*/ 427823 h 4985074"/>
              <a:gd name="connsiteX79" fmla="*/ 5510767 w 6407869"/>
              <a:gd name="connsiteY79" fmla="*/ 440056 h 4985074"/>
              <a:gd name="connsiteX80" fmla="*/ 5498604 w 6407869"/>
              <a:gd name="connsiteY80" fmla="*/ 469371 h 4985074"/>
              <a:gd name="connsiteX81" fmla="*/ 5291536 w 6407869"/>
              <a:gd name="connsiteY81" fmla="*/ 522921 h 4985074"/>
              <a:gd name="connsiteX82" fmla="*/ 5386763 w 6407869"/>
              <a:gd name="connsiteY82" fmla="*/ 502377 h 4985074"/>
              <a:gd name="connsiteX83" fmla="*/ 5312302 w 6407869"/>
              <a:gd name="connsiteY83" fmla="*/ 510456 h 4985074"/>
              <a:gd name="connsiteX84" fmla="*/ 5349384 w 6407869"/>
              <a:gd name="connsiteY84" fmla="*/ 498223 h 4985074"/>
              <a:gd name="connsiteX85" fmla="*/ 5237840 w 6407869"/>
              <a:gd name="connsiteY85" fmla="*/ 510456 h 4985074"/>
              <a:gd name="connsiteX86" fmla="*/ 5378456 w 6407869"/>
              <a:gd name="connsiteY86" fmla="*/ 477448 h 4985074"/>
              <a:gd name="connsiteX87" fmla="*/ 5109682 w 6407869"/>
              <a:gd name="connsiteY87" fmla="*/ 502377 h 4985074"/>
              <a:gd name="connsiteX88" fmla="*/ 5275218 w 6407869"/>
              <a:gd name="connsiteY88" fmla="*/ 452521 h 4985074"/>
              <a:gd name="connsiteX89" fmla="*/ 5271066 w 6407869"/>
              <a:gd name="connsiteY89" fmla="*/ 452521 h 4985074"/>
              <a:gd name="connsiteX90" fmla="*/ 5241992 w 6407869"/>
              <a:gd name="connsiteY90" fmla="*/ 456675 h 4985074"/>
              <a:gd name="connsiteX91" fmla="*/ 5221226 w 6407869"/>
              <a:gd name="connsiteY91" fmla="*/ 461061 h 4985074"/>
              <a:gd name="connsiteX92" fmla="*/ 4799672 w 6407869"/>
              <a:gd name="connsiteY92" fmla="*/ 547617 h 4985074"/>
              <a:gd name="connsiteX93" fmla="*/ 4902910 w 6407869"/>
              <a:gd name="connsiteY93" fmla="*/ 551773 h 4985074"/>
              <a:gd name="connsiteX94" fmla="*/ 4840908 w 6407869"/>
              <a:gd name="connsiteY94" fmla="*/ 568621 h 4985074"/>
              <a:gd name="connsiteX95" fmla="*/ 4882440 w 6407869"/>
              <a:gd name="connsiteY95" fmla="*/ 589165 h 4985074"/>
              <a:gd name="connsiteX96" fmla="*/ 4766742 w 6407869"/>
              <a:gd name="connsiteY96" fmla="*/ 663719 h 4985074"/>
              <a:gd name="connsiteX97" fmla="*/ 4944442 w 6407869"/>
              <a:gd name="connsiteY97" fmla="*/ 671797 h 4985074"/>
              <a:gd name="connsiteX98" fmla="*/ 4609512 w 6407869"/>
              <a:gd name="connsiteY98" fmla="*/ 837062 h 4985074"/>
              <a:gd name="connsiteX99" fmla="*/ 5552004 w 6407869"/>
              <a:gd name="connsiteY99" fmla="*/ 659563 h 4985074"/>
              <a:gd name="connsiteX100" fmla="*/ 5572770 w 6407869"/>
              <a:gd name="connsiteY100" fmla="*/ 655409 h 4985074"/>
              <a:gd name="connsiteX101" fmla="*/ 5618158 w 6407869"/>
              <a:gd name="connsiteY101" fmla="*/ 655409 h 4985074"/>
              <a:gd name="connsiteX102" fmla="*/ 5622609 w 6407869"/>
              <a:gd name="connsiteY102" fmla="*/ 667411 h 4985074"/>
              <a:gd name="connsiteX103" fmla="*/ 5626465 w 6407869"/>
              <a:gd name="connsiteY103" fmla="*/ 675952 h 4985074"/>
              <a:gd name="connsiteX104" fmla="*/ 5618158 w 6407869"/>
              <a:gd name="connsiteY104" fmla="*/ 696725 h 4985074"/>
              <a:gd name="connsiteX105" fmla="*/ 5572770 w 6407869"/>
              <a:gd name="connsiteY105" fmla="*/ 733656 h 4985074"/>
              <a:gd name="connsiteX106" fmla="*/ 5576923 w 6407869"/>
              <a:gd name="connsiteY106" fmla="*/ 741965 h 4985074"/>
              <a:gd name="connsiteX107" fmla="*/ 5609852 w 6407869"/>
              <a:gd name="connsiteY107" fmla="*/ 758815 h 4985074"/>
              <a:gd name="connsiteX108" fmla="*/ 5626465 w 6407869"/>
              <a:gd name="connsiteY108" fmla="*/ 737811 h 4985074"/>
              <a:gd name="connsiteX109" fmla="*/ 5626465 w 6407869"/>
              <a:gd name="connsiteY109" fmla="*/ 750275 h 4985074"/>
              <a:gd name="connsiteX110" fmla="*/ 5626465 w 6407869"/>
              <a:gd name="connsiteY110" fmla="*/ 762969 h 4985074"/>
              <a:gd name="connsiteX111" fmla="*/ 5626465 w 6407869"/>
              <a:gd name="connsiteY111" fmla="*/ 766663 h 4985074"/>
              <a:gd name="connsiteX112" fmla="*/ 5626465 w 6407869"/>
              <a:gd name="connsiteY112" fmla="*/ 775203 h 4985074"/>
              <a:gd name="connsiteX113" fmla="*/ 5576923 w 6407869"/>
              <a:gd name="connsiteY113" fmla="*/ 837062 h 4985074"/>
              <a:gd name="connsiteX114" fmla="*/ 5568616 w 6407869"/>
              <a:gd name="connsiteY114" fmla="*/ 832907 h 4985074"/>
              <a:gd name="connsiteX115" fmla="*/ 5572770 w 6407869"/>
              <a:gd name="connsiteY115" fmla="*/ 812365 h 4985074"/>
              <a:gd name="connsiteX116" fmla="*/ 5568616 w 6407869"/>
              <a:gd name="connsiteY116" fmla="*/ 808209 h 4985074"/>
              <a:gd name="connsiteX117" fmla="*/ 5531238 w 6407869"/>
              <a:gd name="connsiteY117" fmla="*/ 845372 h 4985074"/>
              <a:gd name="connsiteX118" fmla="*/ 5519074 w 6407869"/>
              <a:gd name="connsiteY118" fmla="*/ 870300 h 4985074"/>
              <a:gd name="connsiteX119" fmla="*/ 5490001 w 6407869"/>
              <a:gd name="connsiteY119" fmla="*/ 903307 h 4985074"/>
              <a:gd name="connsiteX120" fmla="*/ 5494154 w 6407869"/>
              <a:gd name="connsiteY120" fmla="*/ 919926 h 4985074"/>
              <a:gd name="connsiteX121" fmla="*/ 5502460 w 6407869"/>
              <a:gd name="connsiteY121" fmla="*/ 932159 h 4985074"/>
              <a:gd name="connsiteX122" fmla="*/ 5502460 w 6407869"/>
              <a:gd name="connsiteY122" fmla="*/ 944623 h 4985074"/>
              <a:gd name="connsiteX123" fmla="*/ 5477541 w 6407869"/>
              <a:gd name="connsiteY123" fmla="*/ 990324 h 4985074"/>
              <a:gd name="connsiteX124" fmla="*/ 5519074 w 6407869"/>
              <a:gd name="connsiteY124" fmla="*/ 977861 h 4985074"/>
              <a:gd name="connsiteX125" fmla="*/ 5519074 w 6407869"/>
              <a:gd name="connsiteY125" fmla="*/ 994480 h 4985074"/>
              <a:gd name="connsiteX126" fmla="*/ 5519074 w 6407869"/>
              <a:gd name="connsiteY126" fmla="*/ 1006713 h 4985074"/>
              <a:gd name="connsiteX127" fmla="*/ 5531238 w 6407869"/>
              <a:gd name="connsiteY127" fmla="*/ 1002558 h 4985074"/>
              <a:gd name="connsiteX128" fmla="*/ 5539544 w 6407869"/>
              <a:gd name="connsiteY128" fmla="*/ 1006713 h 4985074"/>
              <a:gd name="connsiteX129" fmla="*/ 4642738 w 6407869"/>
              <a:gd name="connsiteY129" fmla="*/ 1201060 h 4985074"/>
              <a:gd name="connsiteX130" fmla="*/ 3538568 w 6407869"/>
              <a:gd name="connsiteY130" fmla="*/ 1515433 h 4985074"/>
              <a:gd name="connsiteX131" fmla="*/ 3530558 w 6407869"/>
              <a:gd name="connsiteY131" fmla="*/ 1519819 h 4985074"/>
              <a:gd name="connsiteX132" fmla="*/ 3546875 w 6407869"/>
              <a:gd name="connsiteY132" fmla="*/ 1515433 h 4985074"/>
              <a:gd name="connsiteX133" fmla="*/ 4642738 w 6407869"/>
              <a:gd name="connsiteY133" fmla="*/ 1213525 h 4985074"/>
              <a:gd name="connsiteX134" fmla="*/ 5349384 w 6407869"/>
              <a:gd name="connsiteY134" fmla="*/ 1072957 h 4985074"/>
              <a:gd name="connsiteX135" fmla="*/ 5543697 w 6407869"/>
              <a:gd name="connsiteY135" fmla="*/ 1019176 h 4985074"/>
              <a:gd name="connsiteX136" fmla="*/ 5556157 w 6407869"/>
              <a:gd name="connsiteY136" fmla="*/ 1027717 h 4985074"/>
              <a:gd name="connsiteX137" fmla="*/ 5643078 w 6407869"/>
              <a:gd name="connsiteY137" fmla="*/ 1015022 h 4985074"/>
              <a:gd name="connsiteX138" fmla="*/ 5643078 w 6407869"/>
              <a:gd name="connsiteY138" fmla="*/ 1019176 h 4985074"/>
              <a:gd name="connsiteX139" fmla="*/ 5589383 w 6407869"/>
              <a:gd name="connsiteY139" fmla="*/ 1052414 h 4985074"/>
              <a:gd name="connsiteX140" fmla="*/ 5585230 w 6407869"/>
              <a:gd name="connsiteY140" fmla="*/ 1064647 h 4985074"/>
              <a:gd name="connsiteX141" fmla="*/ 5597392 w 6407869"/>
              <a:gd name="connsiteY141" fmla="*/ 1072957 h 4985074"/>
              <a:gd name="connsiteX142" fmla="*/ 5601546 w 6407869"/>
              <a:gd name="connsiteY142" fmla="*/ 1081266 h 4985074"/>
              <a:gd name="connsiteX143" fmla="*/ 5609852 w 6407869"/>
              <a:gd name="connsiteY143" fmla="*/ 1081266 h 4985074"/>
              <a:gd name="connsiteX144" fmla="*/ 5688764 w 6407869"/>
              <a:gd name="connsiteY144" fmla="*/ 1068803 h 4985074"/>
              <a:gd name="connsiteX145" fmla="*/ 5688764 w 6407869"/>
              <a:gd name="connsiteY145" fmla="*/ 1072957 h 4985074"/>
              <a:gd name="connsiteX146" fmla="*/ 5671854 w 6407869"/>
              <a:gd name="connsiteY146" fmla="*/ 1089576 h 4985074"/>
              <a:gd name="connsiteX147" fmla="*/ 5428000 w 6407869"/>
              <a:gd name="connsiteY147" fmla="*/ 1172208 h 4985074"/>
              <a:gd name="connsiteX148" fmla="*/ 4646596 w 6407869"/>
              <a:gd name="connsiteY148" fmla="*/ 1354323 h 4985074"/>
              <a:gd name="connsiteX149" fmla="*/ 4262419 w 6407869"/>
              <a:gd name="connsiteY149" fmla="*/ 1453575 h 4985074"/>
              <a:gd name="connsiteX150" fmla="*/ 3989195 w 6407869"/>
              <a:gd name="connsiteY150" fmla="*/ 1515433 h 4985074"/>
              <a:gd name="connsiteX151" fmla="*/ 4332431 w 6407869"/>
              <a:gd name="connsiteY151" fmla="*/ 1416182 h 4985074"/>
              <a:gd name="connsiteX152" fmla="*/ 5014750 w 6407869"/>
              <a:gd name="connsiteY152" fmla="*/ 1238222 h 4985074"/>
              <a:gd name="connsiteX153" fmla="*/ 5076753 w 6407869"/>
              <a:gd name="connsiteY153" fmla="*/ 1205216 h 4985074"/>
              <a:gd name="connsiteX154" fmla="*/ 5018904 w 6407869"/>
              <a:gd name="connsiteY154" fmla="*/ 1201060 h 4985074"/>
              <a:gd name="connsiteX155" fmla="*/ 4320268 w 6407869"/>
              <a:gd name="connsiteY155" fmla="*/ 1370711 h 4985074"/>
              <a:gd name="connsiteX156" fmla="*/ 3208088 w 6407869"/>
              <a:gd name="connsiteY156" fmla="*/ 1676775 h 4985074"/>
              <a:gd name="connsiteX157" fmla="*/ 1769284 w 6407869"/>
              <a:gd name="connsiteY157" fmla="*/ 2181341 h 4985074"/>
              <a:gd name="connsiteX158" fmla="*/ 1727752 w 6407869"/>
              <a:gd name="connsiteY158" fmla="*/ 2206268 h 4985074"/>
              <a:gd name="connsiteX159" fmla="*/ 1781744 w 6407869"/>
              <a:gd name="connsiteY159" fmla="*/ 2197728 h 4985074"/>
              <a:gd name="connsiteX160" fmla="*/ 1769284 w 6407869"/>
              <a:gd name="connsiteY160" fmla="*/ 2197728 h 4985074"/>
              <a:gd name="connsiteX161" fmla="*/ 2596077 w 6407869"/>
              <a:gd name="connsiteY161" fmla="*/ 1920517 h 4985074"/>
              <a:gd name="connsiteX162" fmla="*/ 2885618 w 6407869"/>
              <a:gd name="connsiteY162" fmla="*/ 1866968 h 4985074"/>
              <a:gd name="connsiteX163" fmla="*/ 2596077 w 6407869"/>
              <a:gd name="connsiteY163" fmla="*/ 1957909 h 4985074"/>
              <a:gd name="connsiteX164" fmla="*/ 1748814 w 6407869"/>
              <a:gd name="connsiteY164" fmla="*/ 2317522 h 4985074"/>
              <a:gd name="connsiteX165" fmla="*/ 1752967 w 6407869"/>
              <a:gd name="connsiteY165" fmla="*/ 2330217 h 4985074"/>
              <a:gd name="connsiteX166" fmla="*/ 1752967 w 6407869"/>
              <a:gd name="connsiteY166" fmla="*/ 2338527 h 4985074"/>
              <a:gd name="connsiteX167" fmla="*/ 1790347 w 6407869"/>
              <a:gd name="connsiteY167" fmla="*/ 2326062 h 4985074"/>
              <a:gd name="connsiteX168" fmla="*/ 3811792 w 6407869"/>
              <a:gd name="connsiteY168" fmla="*/ 1635458 h 4985074"/>
              <a:gd name="connsiteX169" fmla="*/ 3819802 w 6407869"/>
              <a:gd name="connsiteY169" fmla="*/ 1631073 h 4985074"/>
              <a:gd name="connsiteX170" fmla="*/ 4134262 w 6407869"/>
              <a:gd name="connsiteY170" fmla="*/ 1548671 h 4985074"/>
              <a:gd name="connsiteX171" fmla="*/ 4171048 w 6407869"/>
              <a:gd name="connsiteY171" fmla="*/ 1531821 h 4985074"/>
              <a:gd name="connsiteX172" fmla="*/ 4163038 w 6407869"/>
              <a:gd name="connsiteY172" fmla="*/ 1527667 h 4985074"/>
              <a:gd name="connsiteX173" fmla="*/ 4282890 w 6407869"/>
              <a:gd name="connsiteY173" fmla="*/ 1486581 h 4985074"/>
              <a:gd name="connsiteX174" fmla="*/ 4320268 w 6407869"/>
              <a:gd name="connsiteY174" fmla="*/ 1469962 h 4985074"/>
              <a:gd name="connsiteX175" fmla="*/ 4551366 w 6407869"/>
              <a:gd name="connsiteY175" fmla="*/ 1428415 h 4985074"/>
              <a:gd name="connsiteX176" fmla="*/ 4477202 w 6407869"/>
              <a:gd name="connsiteY176" fmla="*/ 1449419 h 4985074"/>
              <a:gd name="connsiteX177" fmla="*/ 3063318 w 6407869"/>
              <a:gd name="connsiteY177" fmla="*/ 1970374 h 4985074"/>
              <a:gd name="connsiteX178" fmla="*/ 3059165 w 6407869"/>
              <a:gd name="connsiteY178" fmla="*/ 1978683 h 4985074"/>
              <a:gd name="connsiteX179" fmla="*/ 3084084 w 6407869"/>
              <a:gd name="connsiteY179" fmla="*/ 1974528 h 4985074"/>
              <a:gd name="connsiteX180" fmla="*/ 4390280 w 6407869"/>
              <a:gd name="connsiteY180" fmla="*/ 1515433 h 4985074"/>
              <a:gd name="connsiteX181" fmla="*/ 4869684 w 6407869"/>
              <a:gd name="connsiteY181" fmla="*/ 1412027 h 4985074"/>
              <a:gd name="connsiteX182" fmla="*/ 4902910 w 6407869"/>
              <a:gd name="connsiteY182" fmla="*/ 1395408 h 4985074"/>
              <a:gd name="connsiteX183" fmla="*/ 4874134 w 6407869"/>
              <a:gd name="connsiteY183" fmla="*/ 1391485 h 4985074"/>
              <a:gd name="connsiteX184" fmla="*/ 4704741 w 6407869"/>
              <a:gd name="connsiteY184" fmla="*/ 1428415 h 4985074"/>
              <a:gd name="connsiteX185" fmla="*/ 4915370 w 6407869"/>
              <a:gd name="connsiteY185" fmla="*/ 1379021 h 4985074"/>
              <a:gd name="connsiteX186" fmla="*/ 5026914 w 6407869"/>
              <a:gd name="connsiteY186" fmla="*/ 1366556 h 4985074"/>
              <a:gd name="connsiteX187" fmla="*/ 5060140 w 6407869"/>
              <a:gd name="connsiteY187" fmla="*/ 1354323 h 4985074"/>
              <a:gd name="connsiteX188" fmla="*/ 5064294 w 6407869"/>
              <a:gd name="connsiteY188" fmla="*/ 1350168 h 4985074"/>
              <a:gd name="connsiteX189" fmla="*/ 5671854 w 6407869"/>
              <a:gd name="connsiteY189" fmla="*/ 1209370 h 4985074"/>
              <a:gd name="connsiteX190" fmla="*/ 5700927 w 6407869"/>
              <a:gd name="connsiteY190" fmla="*/ 1226220 h 4985074"/>
              <a:gd name="connsiteX191" fmla="*/ 5700927 w 6407869"/>
              <a:gd name="connsiteY191" fmla="*/ 1229912 h 4985074"/>
              <a:gd name="connsiteX192" fmla="*/ 5618158 w 6407869"/>
              <a:gd name="connsiteY192" fmla="*/ 1288079 h 4985074"/>
              <a:gd name="connsiteX193" fmla="*/ 5622609 w 6407869"/>
              <a:gd name="connsiteY193" fmla="*/ 1300312 h 4985074"/>
              <a:gd name="connsiteX194" fmla="*/ 5626465 w 6407869"/>
              <a:gd name="connsiteY194" fmla="*/ 1304466 h 4985074"/>
              <a:gd name="connsiteX195" fmla="*/ 5626465 w 6407869"/>
              <a:gd name="connsiteY195" fmla="*/ 1312776 h 4985074"/>
              <a:gd name="connsiteX196" fmla="*/ 5609852 w 6407869"/>
              <a:gd name="connsiteY196" fmla="*/ 1346014 h 4985074"/>
              <a:gd name="connsiteX197" fmla="*/ 5609852 w 6407869"/>
              <a:gd name="connsiteY197" fmla="*/ 1350168 h 4985074"/>
              <a:gd name="connsiteX198" fmla="*/ 5647231 w 6407869"/>
              <a:gd name="connsiteY198" fmla="*/ 1346014 h 4985074"/>
              <a:gd name="connsiteX199" fmla="*/ 5663548 w 6407869"/>
              <a:gd name="connsiteY199" fmla="*/ 1337473 h 4985074"/>
              <a:gd name="connsiteX200" fmla="*/ 5671854 w 6407869"/>
              <a:gd name="connsiteY200" fmla="*/ 1387329 h 4985074"/>
              <a:gd name="connsiteX201" fmla="*/ 5684314 w 6407869"/>
              <a:gd name="connsiteY201" fmla="*/ 1395408 h 4985074"/>
              <a:gd name="connsiteX202" fmla="*/ 5717540 w 6407869"/>
              <a:gd name="connsiteY202" fmla="*/ 1420567 h 4985074"/>
              <a:gd name="connsiteX203" fmla="*/ 5713387 w 6407869"/>
              <a:gd name="connsiteY203" fmla="*/ 1420567 h 4985074"/>
              <a:gd name="connsiteX204" fmla="*/ 5655538 w 6407869"/>
              <a:gd name="connsiteY204" fmla="*/ 1474117 h 4985074"/>
              <a:gd name="connsiteX205" fmla="*/ 5643078 w 6407869"/>
              <a:gd name="connsiteY205" fmla="*/ 1478271 h 4985074"/>
              <a:gd name="connsiteX206" fmla="*/ 5552004 w 6407869"/>
              <a:gd name="connsiteY206" fmla="*/ 1593911 h 4985074"/>
              <a:gd name="connsiteX207" fmla="*/ 5552004 w 6407869"/>
              <a:gd name="connsiteY207" fmla="*/ 1602221 h 4985074"/>
              <a:gd name="connsiteX208" fmla="*/ 5568616 w 6407869"/>
              <a:gd name="connsiteY208" fmla="*/ 1602221 h 4985074"/>
              <a:gd name="connsiteX209" fmla="*/ 5564464 w 6407869"/>
              <a:gd name="connsiteY209" fmla="*/ 1606375 h 4985074"/>
              <a:gd name="connsiteX210" fmla="*/ 5556157 w 6407869"/>
              <a:gd name="connsiteY210" fmla="*/ 1614684 h 4985074"/>
              <a:gd name="connsiteX211" fmla="*/ 5556157 w 6407869"/>
              <a:gd name="connsiteY211" fmla="*/ 1622763 h 4985074"/>
              <a:gd name="connsiteX212" fmla="*/ 5568616 w 6407869"/>
              <a:gd name="connsiteY212" fmla="*/ 1622763 h 4985074"/>
              <a:gd name="connsiteX213" fmla="*/ 5581076 w 6407869"/>
              <a:gd name="connsiteY213" fmla="*/ 1622763 h 4985074"/>
              <a:gd name="connsiteX214" fmla="*/ 5671854 w 6407869"/>
              <a:gd name="connsiteY214" fmla="*/ 1606375 h 4985074"/>
              <a:gd name="connsiteX215" fmla="*/ 5676008 w 6407869"/>
              <a:gd name="connsiteY215" fmla="*/ 1614684 h 4985074"/>
              <a:gd name="connsiteX216" fmla="*/ 5676008 w 6407869"/>
              <a:gd name="connsiteY216" fmla="*/ 1622763 h 4985074"/>
              <a:gd name="connsiteX217" fmla="*/ 5663548 w 6407869"/>
              <a:gd name="connsiteY217" fmla="*/ 1631073 h 4985074"/>
              <a:gd name="connsiteX218" fmla="*/ 5502460 w 6407869"/>
              <a:gd name="connsiteY218" fmla="*/ 1709782 h 4985074"/>
              <a:gd name="connsiteX219" fmla="*/ 5485848 w 6407869"/>
              <a:gd name="connsiteY219" fmla="*/ 1722015 h 4985074"/>
              <a:gd name="connsiteX220" fmla="*/ 5101376 w 6407869"/>
              <a:gd name="connsiteY220" fmla="*/ 1978683 h 4985074"/>
              <a:gd name="connsiteX221" fmla="*/ 5080906 w 6407869"/>
              <a:gd name="connsiteY221" fmla="*/ 1986762 h 4985074"/>
              <a:gd name="connsiteX222" fmla="*/ 4927830 w 6407869"/>
              <a:gd name="connsiteY222" fmla="*/ 2057161 h 4985074"/>
              <a:gd name="connsiteX223" fmla="*/ 4911216 w 6407869"/>
              <a:gd name="connsiteY223" fmla="*/ 2065470 h 4985074"/>
              <a:gd name="connsiteX224" fmla="*/ 4828745 w 6407869"/>
              <a:gd name="connsiteY224" fmla="*/ 2131714 h 4985074"/>
              <a:gd name="connsiteX225" fmla="*/ 4828745 w 6407869"/>
              <a:gd name="connsiteY225" fmla="*/ 2135870 h 4985074"/>
              <a:gd name="connsiteX226" fmla="*/ 4861674 w 6407869"/>
              <a:gd name="connsiteY226" fmla="*/ 2131714 h 4985074"/>
              <a:gd name="connsiteX227" fmla="*/ 4783059 w 6407869"/>
              <a:gd name="connsiteY227" fmla="*/ 2168876 h 4985074"/>
              <a:gd name="connsiteX228" fmla="*/ 4770600 w 6407869"/>
              <a:gd name="connsiteY228" fmla="*/ 2177185 h 4985074"/>
              <a:gd name="connsiteX229" fmla="*/ 4774752 w 6407869"/>
              <a:gd name="connsiteY229" fmla="*/ 2185264 h 4985074"/>
              <a:gd name="connsiteX230" fmla="*/ 4861674 w 6407869"/>
              <a:gd name="connsiteY230" fmla="*/ 2173031 h 4985074"/>
              <a:gd name="connsiteX231" fmla="*/ 4882440 w 6407869"/>
              <a:gd name="connsiteY231" fmla="*/ 2168876 h 4985074"/>
              <a:gd name="connsiteX232" fmla="*/ 5506614 w 6407869"/>
              <a:gd name="connsiteY232" fmla="*/ 2011920 h 4985074"/>
              <a:gd name="connsiteX233" fmla="*/ 5523227 w 6407869"/>
              <a:gd name="connsiteY233" fmla="*/ 2007766 h 4985074"/>
              <a:gd name="connsiteX234" fmla="*/ 5829084 w 6407869"/>
              <a:gd name="connsiteY234" fmla="*/ 1924672 h 4985074"/>
              <a:gd name="connsiteX235" fmla="*/ 5841544 w 6407869"/>
              <a:gd name="connsiteY235" fmla="*/ 1920517 h 4985074"/>
              <a:gd name="connsiteX236" fmla="*/ 6077093 w 6407869"/>
              <a:gd name="connsiteY236" fmla="*/ 1862813 h 4985074"/>
              <a:gd name="connsiteX237" fmla="*/ 6077093 w 6407869"/>
              <a:gd name="connsiteY237" fmla="*/ 1866968 h 4985074"/>
              <a:gd name="connsiteX238" fmla="*/ 6077093 w 6407869"/>
              <a:gd name="connsiteY238" fmla="*/ 1879432 h 4985074"/>
              <a:gd name="connsiteX239" fmla="*/ 6081246 w 6407869"/>
              <a:gd name="connsiteY239" fmla="*/ 1883586 h 4985074"/>
              <a:gd name="connsiteX240" fmla="*/ 6081246 w 6407869"/>
              <a:gd name="connsiteY240" fmla="*/ 1895820 h 4985074"/>
              <a:gd name="connsiteX241" fmla="*/ 6043867 w 6407869"/>
              <a:gd name="connsiteY241" fmla="*/ 1916824 h 4985074"/>
              <a:gd name="connsiteX242" fmla="*/ 6048020 w 6407869"/>
              <a:gd name="connsiteY242" fmla="*/ 1924672 h 4985074"/>
              <a:gd name="connsiteX243" fmla="*/ 6246486 w 6407869"/>
              <a:gd name="connsiteY243" fmla="*/ 1891665 h 4985074"/>
              <a:gd name="connsiteX244" fmla="*/ 6167871 w 6407869"/>
              <a:gd name="connsiteY244" fmla="*/ 1941522 h 4985074"/>
              <a:gd name="connsiteX245" fmla="*/ 6259242 w 6407869"/>
              <a:gd name="connsiteY245" fmla="*/ 2028309 h 4985074"/>
              <a:gd name="connsiteX246" fmla="*/ 6263098 w 6407869"/>
              <a:gd name="connsiteY246" fmla="*/ 2061316 h 4985074"/>
              <a:gd name="connsiteX247" fmla="*/ 6242332 w 6407869"/>
              <a:gd name="connsiteY247" fmla="*/ 2077934 h 4985074"/>
              <a:gd name="connsiteX248" fmla="*/ 6246486 w 6407869"/>
              <a:gd name="connsiteY248" fmla="*/ 2077934 h 4985074"/>
              <a:gd name="connsiteX249" fmla="*/ 6271405 w 6407869"/>
              <a:gd name="connsiteY249" fmla="*/ 2098477 h 4985074"/>
              <a:gd name="connsiteX250" fmla="*/ 6279712 w 6407869"/>
              <a:gd name="connsiteY250" fmla="*/ 2098477 h 4985074"/>
              <a:gd name="connsiteX251" fmla="*/ 6283865 w 6407869"/>
              <a:gd name="connsiteY251" fmla="*/ 2107018 h 4985074"/>
              <a:gd name="connsiteX252" fmla="*/ 6283865 w 6407869"/>
              <a:gd name="connsiteY252" fmla="*/ 2115326 h 4985074"/>
              <a:gd name="connsiteX253" fmla="*/ 5432152 w 6407869"/>
              <a:gd name="connsiteY253" fmla="*/ 2379612 h 4985074"/>
              <a:gd name="connsiteX254" fmla="*/ 5419693 w 6407869"/>
              <a:gd name="connsiteY254" fmla="*/ 2379612 h 4985074"/>
              <a:gd name="connsiteX255" fmla="*/ 5382610 w 6407869"/>
              <a:gd name="connsiteY255" fmla="*/ 2387921 h 4985074"/>
              <a:gd name="connsiteX256" fmla="*/ 5382610 w 6407869"/>
              <a:gd name="connsiteY256" fmla="*/ 2383767 h 4985074"/>
              <a:gd name="connsiteX257" fmla="*/ 5386763 w 6407869"/>
              <a:gd name="connsiteY257" fmla="*/ 2379612 h 4985074"/>
              <a:gd name="connsiteX258" fmla="*/ 5386763 w 6407869"/>
              <a:gd name="connsiteY258" fmla="*/ 2371533 h 4985074"/>
              <a:gd name="connsiteX259" fmla="*/ 5378456 w 6407869"/>
              <a:gd name="connsiteY259" fmla="*/ 2371533 h 4985074"/>
              <a:gd name="connsiteX260" fmla="*/ 5378456 w 6407869"/>
              <a:gd name="connsiteY260" fmla="*/ 2367379 h 4985074"/>
              <a:gd name="connsiteX261" fmla="*/ 5514920 w 6407869"/>
              <a:gd name="connsiteY261" fmla="*/ 2330217 h 4985074"/>
              <a:gd name="connsiteX262" fmla="*/ 5527380 w 6407869"/>
              <a:gd name="connsiteY262" fmla="*/ 2317522 h 4985074"/>
              <a:gd name="connsiteX263" fmla="*/ 5519074 w 6407869"/>
              <a:gd name="connsiteY263" fmla="*/ 2313368 h 4985074"/>
              <a:gd name="connsiteX264" fmla="*/ 5085060 w 6407869"/>
              <a:gd name="connsiteY264" fmla="*/ 2417004 h 4985074"/>
              <a:gd name="connsiteX265" fmla="*/ 5287382 w 6407869"/>
              <a:gd name="connsiteY265" fmla="*/ 2338527 h 4985074"/>
              <a:gd name="connsiteX266" fmla="*/ 5303996 w 6407869"/>
              <a:gd name="connsiteY266" fmla="*/ 2342681 h 4985074"/>
              <a:gd name="connsiteX267" fmla="*/ 5312302 w 6407869"/>
              <a:gd name="connsiteY267" fmla="*/ 2342681 h 4985074"/>
              <a:gd name="connsiteX268" fmla="*/ 5320608 w 6407869"/>
              <a:gd name="connsiteY268" fmla="*/ 2330217 h 4985074"/>
              <a:gd name="connsiteX269" fmla="*/ 5411386 w 6407869"/>
              <a:gd name="connsiteY269" fmla="*/ 2309675 h 4985074"/>
              <a:gd name="connsiteX270" fmla="*/ 5428000 w 6407869"/>
              <a:gd name="connsiteY270" fmla="*/ 2301365 h 4985074"/>
              <a:gd name="connsiteX271" fmla="*/ 5490001 w 6407869"/>
              <a:gd name="connsiteY271" fmla="*/ 2276437 h 4985074"/>
              <a:gd name="connsiteX272" fmla="*/ 5378456 w 6407869"/>
              <a:gd name="connsiteY272" fmla="*/ 2284516 h 4985074"/>
              <a:gd name="connsiteX273" fmla="*/ 5357690 w 6407869"/>
              <a:gd name="connsiteY273" fmla="*/ 2292825 h 4985074"/>
              <a:gd name="connsiteX274" fmla="*/ 5320608 w 6407869"/>
              <a:gd name="connsiteY274" fmla="*/ 2296979 h 4985074"/>
              <a:gd name="connsiteX275" fmla="*/ 5448766 w 6407869"/>
              <a:gd name="connsiteY275" fmla="*/ 2263973 h 4985074"/>
              <a:gd name="connsiteX276" fmla="*/ 5457072 w 6407869"/>
              <a:gd name="connsiteY276" fmla="*/ 2255664 h 4985074"/>
              <a:gd name="connsiteX277" fmla="*/ 5452919 w 6407869"/>
              <a:gd name="connsiteY277" fmla="*/ 2251508 h 4985074"/>
              <a:gd name="connsiteX278" fmla="*/ 5217073 w 6407869"/>
              <a:gd name="connsiteY278" fmla="*/ 2296979 h 4985074"/>
              <a:gd name="connsiteX279" fmla="*/ 5196604 w 6407869"/>
              <a:gd name="connsiteY279" fmla="*/ 2301365 h 4985074"/>
              <a:gd name="connsiteX280" fmla="*/ 5209064 w 6407869"/>
              <a:gd name="connsiteY280" fmla="*/ 2292825 h 4985074"/>
              <a:gd name="connsiteX281" fmla="*/ 5200758 w 6407869"/>
              <a:gd name="connsiteY281" fmla="*/ 2284516 h 4985074"/>
              <a:gd name="connsiteX282" fmla="*/ 5142908 w 6407869"/>
              <a:gd name="connsiteY282" fmla="*/ 2292825 h 4985074"/>
              <a:gd name="connsiteX283" fmla="*/ 5138754 w 6407869"/>
              <a:gd name="connsiteY283" fmla="*/ 2292825 h 4985074"/>
              <a:gd name="connsiteX284" fmla="*/ 5130448 w 6407869"/>
              <a:gd name="connsiteY284" fmla="*/ 2296979 h 4985074"/>
              <a:gd name="connsiteX285" fmla="*/ 5097222 w 6407869"/>
              <a:gd name="connsiteY285" fmla="*/ 2305520 h 4985074"/>
              <a:gd name="connsiteX286" fmla="*/ 5088916 w 6407869"/>
              <a:gd name="connsiteY286" fmla="*/ 2301365 h 4985074"/>
              <a:gd name="connsiteX287" fmla="*/ 5097222 w 6407869"/>
              <a:gd name="connsiteY287" fmla="*/ 2296979 h 4985074"/>
              <a:gd name="connsiteX288" fmla="*/ 5333068 w 6407869"/>
              <a:gd name="connsiteY288" fmla="*/ 2201883 h 4985074"/>
              <a:gd name="connsiteX289" fmla="*/ 5262759 w 6407869"/>
              <a:gd name="connsiteY289" fmla="*/ 2206268 h 4985074"/>
              <a:gd name="connsiteX290" fmla="*/ 5245850 w 6407869"/>
              <a:gd name="connsiteY290" fmla="*/ 2210423 h 4985074"/>
              <a:gd name="connsiteX291" fmla="*/ 4638585 w 6407869"/>
              <a:gd name="connsiteY291" fmla="*/ 2412619 h 4985074"/>
              <a:gd name="connsiteX292" fmla="*/ 4626125 w 6407869"/>
              <a:gd name="connsiteY292" fmla="*/ 2417004 h 4985074"/>
              <a:gd name="connsiteX293" fmla="*/ 4634432 w 6407869"/>
              <a:gd name="connsiteY293" fmla="*/ 2417004 h 4985074"/>
              <a:gd name="connsiteX294" fmla="*/ 4650748 w 6407869"/>
              <a:gd name="connsiteY294" fmla="*/ 2425314 h 4985074"/>
              <a:gd name="connsiteX295" fmla="*/ 4671515 w 6407869"/>
              <a:gd name="connsiteY295" fmla="*/ 2421159 h 4985074"/>
              <a:gd name="connsiteX296" fmla="*/ 4712750 w 6407869"/>
              <a:gd name="connsiteY296" fmla="*/ 2412619 h 4985074"/>
              <a:gd name="connsiteX297" fmla="*/ 4708597 w 6407869"/>
              <a:gd name="connsiteY297" fmla="*/ 2417004 h 4985074"/>
              <a:gd name="connsiteX298" fmla="*/ 4601206 w 6407869"/>
              <a:gd name="connsiteY298" fmla="*/ 2499867 h 4985074"/>
              <a:gd name="connsiteX299" fmla="*/ 4580440 w 6407869"/>
              <a:gd name="connsiteY299" fmla="*/ 2504023 h 4985074"/>
              <a:gd name="connsiteX300" fmla="*/ 4572430 w 6407869"/>
              <a:gd name="connsiteY300" fmla="*/ 2508177 h 4985074"/>
              <a:gd name="connsiteX301" fmla="*/ 4568277 w 6407869"/>
              <a:gd name="connsiteY301" fmla="*/ 2499867 h 4985074"/>
              <a:gd name="connsiteX302" fmla="*/ 4564124 w 6407869"/>
              <a:gd name="connsiteY302" fmla="*/ 2495482 h 4985074"/>
              <a:gd name="connsiteX303" fmla="*/ 4444272 w 6407869"/>
              <a:gd name="connsiteY303" fmla="*/ 2537029 h 4985074"/>
              <a:gd name="connsiteX304" fmla="*/ 4427362 w 6407869"/>
              <a:gd name="connsiteY304" fmla="*/ 2545108 h 4985074"/>
              <a:gd name="connsiteX305" fmla="*/ 4229193 w 6407869"/>
              <a:gd name="connsiteY305" fmla="*/ 2632126 h 4985074"/>
              <a:gd name="connsiteX306" fmla="*/ 4229193 w 6407869"/>
              <a:gd name="connsiteY306" fmla="*/ 2636280 h 4985074"/>
              <a:gd name="connsiteX307" fmla="*/ 4295052 w 6407869"/>
              <a:gd name="connsiteY307" fmla="*/ 2632126 h 4985074"/>
              <a:gd name="connsiteX308" fmla="*/ 4200120 w 6407869"/>
              <a:gd name="connsiteY308" fmla="*/ 2685675 h 4985074"/>
              <a:gd name="connsiteX309" fmla="*/ 4200120 w 6407869"/>
              <a:gd name="connsiteY309" fmla="*/ 2689830 h 4985074"/>
              <a:gd name="connsiteX310" fmla="*/ 4307809 w 6407869"/>
              <a:gd name="connsiteY310" fmla="*/ 2665132 h 4985074"/>
              <a:gd name="connsiteX311" fmla="*/ 4113200 w 6407869"/>
              <a:gd name="connsiteY311" fmla="*/ 2743611 h 4985074"/>
              <a:gd name="connsiteX312" fmla="*/ 4088576 w 6407869"/>
              <a:gd name="connsiteY312" fmla="*/ 2751920 h 4985074"/>
              <a:gd name="connsiteX313" fmla="*/ 3972880 w 6407869"/>
              <a:gd name="connsiteY313" fmla="*/ 2784926 h 4985074"/>
              <a:gd name="connsiteX314" fmla="*/ 3947960 w 6407869"/>
              <a:gd name="connsiteY314" fmla="*/ 2793467 h 4985074"/>
              <a:gd name="connsiteX315" fmla="*/ 3914734 w 6407869"/>
              <a:gd name="connsiteY315" fmla="*/ 2822319 h 4985074"/>
              <a:gd name="connsiteX316" fmla="*/ 3914734 w 6407869"/>
              <a:gd name="connsiteY316" fmla="*/ 2826474 h 4985074"/>
              <a:gd name="connsiteX317" fmla="*/ 4328278 w 6407869"/>
              <a:gd name="connsiteY317" fmla="*/ 2689830 h 4985074"/>
              <a:gd name="connsiteX318" fmla="*/ 4344891 w 6407869"/>
              <a:gd name="connsiteY318" fmla="*/ 2677365 h 4985074"/>
              <a:gd name="connsiteX319" fmla="*/ 4357350 w 6407869"/>
              <a:gd name="connsiteY319" fmla="*/ 2673442 h 4985074"/>
              <a:gd name="connsiteX320" fmla="*/ 4481354 w 6407869"/>
              <a:gd name="connsiteY320" fmla="*/ 2656823 h 4985074"/>
              <a:gd name="connsiteX321" fmla="*/ 4349044 w 6407869"/>
              <a:gd name="connsiteY321" fmla="*/ 2714759 h 4985074"/>
              <a:gd name="connsiteX322" fmla="*/ 4324422 w 6407869"/>
              <a:gd name="connsiteY322" fmla="*/ 2718913 h 4985074"/>
              <a:gd name="connsiteX323" fmla="*/ 4096882 w 6407869"/>
              <a:gd name="connsiteY323" fmla="*/ 2797622 h 4985074"/>
              <a:gd name="connsiteX324" fmla="*/ 4076116 w 6407869"/>
              <a:gd name="connsiteY324" fmla="*/ 2805932 h 4985074"/>
              <a:gd name="connsiteX325" fmla="*/ 3803486 w 6407869"/>
              <a:gd name="connsiteY325" fmla="*/ 2913261 h 4985074"/>
              <a:gd name="connsiteX326" fmla="*/ 4229193 w 6407869"/>
              <a:gd name="connsiteY326" fmla="*/ 2768538 h 4985074"/>
              <a:gd name="connsiteX327" fmla="*/ 5390916 w 6407869"/>
              <a:gd name="connsiteY327" fmla="*/ 2417004 h 4985074"/>
              <a:gd name="connsiteX328" fmla="*/ 5990171 w 6407869"/>
              <a:gd name="connsiteY328" fmla="*/ 2239275 h 4985074"/>
              <a:gd name="connsiteX329" fmla="*/ 6407869 w 6407869"/>
              <a:gd name="connsiteY329" fmla="*/ 2119020 h 4985074"/>
              <a:gd name="connsiteX330" fmla="*/ 6267252 w 6407869"/>
              <a:gd name="connsiteY330" fmla="*/ 2218271 h 4985074"/>
              <a:gd name="connsiteX331" fmla="*/ 6350021 w 6407869"/>
              <a:gd name="connsiteY331" fmla="*/ 2239275 h 4985074"/>
              <a:gd name="connsiteX332" fmla="*/ 5738009 w 6407869"/>
              <a:gd name="connsiteY332" fmla="*/ 2445856 h 4985074"/>
              <a:gd name="connsiteX333" fmla="*/ 5047680 w 6407869"/>
              <a:gd name="connsiteY333" fmla="*/ 2669288 h 4985074"/>
              <a:gd name="connsiteX334" fmla="*/ 4448426 w 6407869"/>
              <a:gd name="connsiteY334" fmla="*/ 2859480 h 4985074"/>
              <a:gd name="connsiteX335" fmla="*/ 4427362 w 6407869"/>
              <a:gd name="connsiteY335" fmla="*/ 2842861 h 4985074"/>
              <a:gd name="connsiteX336" fmla="*/ 4419353 w 6407869"/>
              <a:gd name="connsiteY336" fmla="*/ 2875869 h 4985074"/>
              <a:gd name="connsiteX337" fmla="*/ 3724574 w 6407869"/>
              <a:gd name="connsiteY337" fmla="*/ 3153080 h 4985074"/>
              <a:gd name="connsiteX338" fmla="*/ 4121802 w 6407869"/>
              <a:gd name="connsiteY338" fmla="*/ 3020822 h 4985074"/>
              <a:gd name="connsiteX339" fmla="*/ 4840908 w 6407869"/>
              <a:gd name="connsiteY339" fmla="*/ 2768538 h 4985074"/>
              <a:gd name="connsiteX340" fmla="*/ 5432152 w 6407869"/>
              <a:gd name="connsiteY340" fmla="*/ 2594965 h 4985074"/>
              <a:gd name="connsiteX341" fmla="*/ 5448766 w 6407869"/>
              <a:gd name="connsiteY341" fmla="*/ 2590579 h 4985074"/>
              <a:gd name="connsiteX342" fmla="*/ 5510767 w 6407869"/>
              <a:gd name="connsiteY342" fmla="*/ 2561727 h 4985074"/>
              <a:gd name="connsiteX343" fmla="*/ 5523227 w 6407869"/>
              <a:gd name="connsiteY343" fmla="*/ 2561727 h 4985074"/>
              <a:gd name="connsiteX344" fmla="*/ 6217710 w 6407869"/>
              <a:gd name="connsiteY344" fmla="*/ 2326062 h 4985074"/>
              <a:gd name="connsiteX345" fmla="*/ 6226016 w 6407869"/>
              <a:gd name="connsiteY345" fmla="*/ 2330217 h 4985074"/>
              <a:gd name="connsiteX346" fmla="*/ 6259242 w 6407869"/>
              <a:gd name="connsiteY346" fmla="*/ 2354914 h 4985074"/>
              <a:gd name="connsiteX347" fmla="*/ 6259242 w 6407869"/>
              <a:gd name="connsiteY347" fmla="*/ 2367379 h 4985074"/>
              <a:gd name="connsiteX348" fmla="*/ 6229872 w 6407869"/>
              <a:gd name="connsiteY348" fmla="*/ 2408926 h 4985074"/>
              <a:gd name="connsiteX349" fmla="*/ 6221864 w 6407869"/>
              <a:gd name="connsiteY349" fmla="*/ 2408926 h 4985074"/>
              <a:gd name="connsiteX350" fmla="*/ 6217710 w 6407869"/>
              <a:gd name="connsiteY350" fmla="*/ 2412619 h 4985074"/>
              <a:gd name="connsiteX351" fmla="*/ 6217710 w 6407869"/>
              <a:gd name="connsiteY351" fmla="*/ 2417004 h 4985074"/>
              <a:gd name="connsiteX352" fmla="*/ 6234026 w 6407869"/>
              <a:gd name="connsiteY352" fmla="*/ 2429469 h 4985074"/>
              <a:gd name="connsiteX353" fmla="*/ 6176178 w 6407869"/>
              <a:gd name="connsiteY353" fmla="*/ 2458321 h 4985074"/>
              <a:gd name="connsiteX354" fmla="*/ 6167871 w 6407869"/>
              <a:gd name="connsiteY354" fmla="*/ 2466630 h 4985074"/>
              <a:gd name="connsiteX355" fmla="*/ 6147401 w 6407869"/>
              <a:gd name="connsiteY355" fmla="*/ 2520410 h 4985074"/>
              <a:gd name="connsiteX356" fmla="*/ 6139094 w 6407869"/>
              <a:gd name="connsiteY356" fmla="*/ 2528719 h 4985074"/>
              <a:gd name="connsiteX357" fmla="*/ 5494154 w 6407869"/>
              <a:gd name="connsiteY357" fmla="*/ 2751920 h 4985074"/>
              <a:gd name="connsiteX358" fmla="*/ 5490001 w 6407869"/>
              <a:gd name="connsiteY358" fmla="*/ 2747765 h 4985074"/>
              <a:gd name="connsiteX359" fmla="*/ 5485848 w 6407869"/>
              <a:gd name="connsiteY359" fmla="*/ 2743611 h 4985074"/>
              <a:gd name="connsiteX360" fmla="*/ 5287382 w 6407869"/>
              <a:gd name="connsiteY360" fmla="*/ 2793467 h 4985074"/>
              <a:gd name="connsiteX361" fmla="*/ 5432152 w 6407869"/>
              <a:gd name="connsiteY361" fmla="*/ 2743611 h 4985074"/>
              <a:gd name="connsiteX362" fmla="*/ 5440459 w 6407869"/>
              <a:gd name="connsiteY362" fmla="*/ 2735532 h 4985074"/>
              <a:gd name="connsiteX363" fmla="*/ 5436008 w 6407869"/>
              <a:gd name="connsiteY363" fmla="*/ 2731377 h 4985074"/>
              <a:gd name="connsiteX364" fmla="*/ 5179991 w 6407869"/>
              <a:gd name="connsiteY364" fmla="*/ 2797622 h 4985074"/>
              <a:gd name="connsiteX365" fmla="*/ 5200758 w 6407869"/>
              <a:gd name="connsiteY365" fmla="*/ 2776617 h 4985074"/>
              <a:gd name="connsiteX366" fmla="*/ 5200758 w 6407869"/>
              <a:gd name="connsiteY366" fmla="*/ 2772924 h 4985074"/>
              <a:gd name="connsiteX367" fmla="*/ 5188298 w 6407869"/>
              <a:gd name="connsiteY367" fmla="*/ 2776617 h 4985074"/>
              <a:gd name="connsiteX368" fmla="*/ 5345230 w 6407869"/>
              <a:gd name="connsiteY368" fmla="*/ 2718913 h 4985074"/>
              <a:gd name="connsiteX369" fmla="*/ 5357690 w 6407869"/>
              <a:gd name="connsiteY369" fmla="*/ 2714759 h 4985074"/>
              <a:gd name="connsiteX370" fmla="*/ 5469234 w 6407869"/>
              <a:gd name="connsiteY370" fmla="*/ 2685675 h 4985074"/>
              <a:gd name="connsiteX371" fmla="*/ 5477541 w 6407869"/>
              <a:gd name="connsiteY371" fmla="*/ 2677365 h 4985074"/>
              <a:gd name="connsiteX372" fmla="*/ 5473388 w 6407869"/>
              <a:gd name="connsiteY372" fmla="*/ 2673442 h 4985074"/>
              <a:gd name="connsiteX373" fmla="*/ 5328915 w 6407869"/>
              <a:gd name="connsiteY373" fmla="*/ 2698371 h 4985074"/>
              <a:gd name="connsiteX374" fmla="*/ 5312302 w 6407869"/>
              <a:gd name="connsiteY374" fmla="*/ 2702525 h 4985074"/>
              <a:gd name="connsiteX375" fmla="*/ 4497968 w 6407869"/>
              <a:gd name="connsiteY375" fmla="*/ 2987815 h 4985074"/>
              <a:gd name="connsiteX376" fmla="*/ 4493814 w 6407869"/>
              <a:gd name="connsiteY376" fmla="*/ 2987815 h 4985074"/>
              <a:gd name="connsiteX377" fmla="*/ 4055647 w 6407869"/>
              <a:gd name="connsiteY377" fmla="*/ 3136461 h 4985074"/>
              <a:gd name="connsiteX378" fmla="*/ 4179652 w 6407869"/>
              <a:gd name="connsiteY378" fmla="*/ 3099530 h 4985074"/>
              <a:gd name="connsiteX379" fmla="*/ 4047044 w 6407869"/>
              <a:gd name="connsiteY379" fmla="*/ 3148925 h 4985074"/>
              <a:gd name="connsiteX380" fmla="*/ 4034881 w 6407869"/>
              <a:gd name="connsiteY380" fmla="*/ 3148925 h 4985074"/>
              <a:gd name="connsiteX381" fmla="*/ 4042890 w 6407869"/>
              <a:gd name="connsiteY381" fmla="*/ 3140616 h 4985074"/>
              <a:gd name="connsiteX382" fmla="*/ 3633796 w 6407869"/>
              <a:gd name="connsiteY382" fmla="*/ 3277029 h 4985074"/>
              <a:gd name="connsiteX383" fmla="*/ 3608876 w 6407869"/>
              <a:gd name="connsiteY383" fmla="*/ 3289723 h 4985074"/>
              <a:gd name="connsiteX384" fmla="*/ 3588407 w 6407869"/>
              <a:gd name="connsiteY384" fmla="*/ 3334964 h 4985074"/>
              <a:gd name="connsiteX385" fmla="*/ 3559631 w 6407869"/>
              <a:gd name="connsiteY385" fmla="*/ 3343273 h 4985074"/>
              <a:gd name="connsiteX386" fmla="*/ 3373625 w 6407869"/>
              <a:gd name="connsiteY386" fmla="*/ 3417827 h 4985074"/>
              <a:gd name="connsiteX387" fmla="*/ 3348408 w 6407869"/>
              <a:gd name="connsiteY387" fmla="*/ 3426136 h 4985074"/>
              <a:gd name="connsiteX388" fmla="*/ 3228557 w 6407869"/>
              <a:gd name="connsiteY388" fmla="*/ 3504614 h 4985074"/>
              <a:gd name="connsiteX389" fmla="*/ 3203935 w 6407869"/>
              <a:gd name="connsiteY389" fmla="*/ 3517078 h 4985074"/>
              <a:gd name="connsiteX390" fmla="*/ 3100400 w 6407869"/>
              <a:gd name="connsiteY390" fmla="*/ 3554240 h 4985074"/>
              <a:gd name="connsiteX391" fmla="*/ 3071624 w 6407869"/>
              <a:gd name="connsiteY391" fmla="*/ 3570627 h 4985074"/>
              <a:gd name="connsiteX392" fmla="*/ 3042552 w 6407869"/>
              <a:gd name="connsiteY392" fmla="*/ 3603865 h 4985074"/>
              <a:gd name="connsiteX393" fmla="*/ 3038398 w 6407869"/>
              <a:gd name="connsiteY393" fmla="*/ 3612175 h 4985074"/>
              <a:gd name="connsiteX394" fmla="*/ 3059165 w 6407869"/>
              <a:gd name="connsiteY394" fmla="*/ 3612175 h 4985074"/>
              <a:gd name="connsiteX395" fmla="*/ 3055308 w 6407869"/>
              <a:gd name="connsiteY395" fmla="*/ 3620484 h 4985074"/>
              <a:gd name="connsiteX396" fmla="*/ 2881464 w 6407869"/>
              <a:gd name="connsiteY396" fmla="*/ 3719736 h 4985074"/>
              <a:gd name="connsiteX397" fmla="*/ 2906088 w 6407869"/>
              <a:gd name="connsiteY397" fmla="*/ 3723890 h 4985074"/>
              <a:gd name="connsiteX398" fmla="*/ 2935160 w 6407869"/>
              <a:gd name="connsiteY398" fmla="*/ 3707271 h 4985074"/>
              <a:gd name="connsiteX399" fmla="*/ 3633796 w 6407869"/>
              <a:gd name="connsiteY399" fmla="*/ 3434215 h 4985074"/>
              <a:gd name="connsiteX400" fmla="*/ 4812132 w 6407869"/>
              <a:gd name="connsiteY400" fmla="*/ 3004434 h 4985074"/>
              <a:gd name="connsiteX401" fmla="*/ 4828745 w 6407869"/>
              <a:gd name="connsiteY401" fmla="*/ 2996124 h 4985074"/>
              <a:gd name="connsiteX402" fmla="*/ 4911216 w 6407869"/>
              <a:gd name="connsiteY402" fmla="*/ 2975120 h 4985074"/>
              <a:gd name="connsiteX403" fmla="*/ 4927830 w 6407869"/>
              <a:gd name="connsiteY403" fmla="*/ 2967041 h 4985074"/>
              <a:gd name="connsiteX404" fmla="*/ 5097222 w 6407869"/>
              <a:gd name="connsiteY404" fmla="*/ 2913261 h 4985074"/>
              <a:gd name="connsiteX405" fmla="*/ 5671854 w 6407869"/>
              <a:gd name="connsiteY405" fmla="*/ 2718913 h 4985074"/>
              <a:gd name="connsiteX406" fmla="*/ 6147401 w 6407869"/>
              <a:gd name="connsiteY406" fmla="*/ 2549263 h 4985074"/>
              <a:gd name="connsiteX407" fmla="*/ 6197240 w 6407869"/>
              <a:gd name="connsiteY407" fmla="*/ 2590579 h 4985074"/>
              <a:gd name="connsiteX408" fmla="*/ 6193086 w 6407869"/>
              <a:gd name="connsiteY408" fmla="*/ 2590579 h 4985074"/>
              <a:gd name="connsiteX409" fmla="*/ 6188934 w 6407869"/>
              <a:gd name="connsiteY409" fmla="*/ 2590579 h 4985074"/>
              <a:gd name="connsiteX410" fmla="*/ 6184484 w 6407869"/>
              <a:gd name="connsiteY410" fmla="*/ 2594965 h 4985074"/>
              <a:gd name="connsiteX411" fmla="*/ 6176178 w 6407869"/>
              <a:gd name="connsiteY411" fmla="*/ 2599119 h 4985074"/>
              <a:gd name="connsiteX412" fmla="*/ 6110022 w 6407869"/>
              <a:gd name="connsiteY412" fmla="*/ 2623817 h 4985074"/>
              <a:gd name="connsiteX413" fmla="*/ 6166684 w 6407869"/>
              <a:gd name="connsiteY413" fmla="*/ 2606044 h 4985074"/>
              <a:gd name="connsiteX414" fmla="*/ 6263098 w 6407869"/>
              <a:gd name="connsiteY414" fmla="*/ 2590579 h 4985074"/>
              <a:gd name="connsiteX415" fmla="*/ 5870320 w 6407869"/>
              <a:gd name="connsiteY415" fmla="*/ 2743611 h 4985074"/>
              <a:gd name="connsiteX416" fmla="*/ 5936772 w 6407869"/>
              <a:gd name="connsiteY416" fmla="*/ 2731377 h 4985074"/>
              <a:gd name="connsiteX417" fmla="*/ 5523227 w 6407869"/>
              <a:gd name="connsiteY417" fmla="*/ 2884178 h 4985074"/>
              <a:gd name="connsiteX418" fmla="*/ 6010937 w 6407869"/>
              <a:gd name="connsiteY418" fmla="*/ 2718913 h 4985074"/>
              <a:gd name="connsiteX419" fmla="*/ 5948936 w 6407869"/>
              <a:gd name="connsiteY419" fmla="*/ 2727223 h 4985074"/>
              <a:gd name="connsiteX420" fmla="*/ 6139094 w 6407869"/>
              <a:gd name="connsiteY420" fmla="*/ 2677365 h 4985074"/>
              <a:gd name="connsiteX421" fmla="*/ 6118328 w 6407869"/>
              <a:gd name="connsiteY421" fmla="*/ 2694215 h 4985074"/>
              <a:gd name="connsiteX422" fmla="*/ 6131085 w 6407869"/>
              <a:gd name="connsiteY422" fmla="*/ 2694215 h 4985074"/>
              <a:gd name="connsiteX423" fmla="*/ 6105868 w 6407869"/>
              <a:gd name="connsiteY423" fmla="*/ 2706680 h 4985074"/>
              <a:gd name="connsiteX424" fmla="*/ 6105868 w 6407869"/>
              <a:gd name="connsiteY424" fmla="*/ 2714759 h 4985074"/>
              <a:gd name="connsiteX425" fmla="*/ 6015090 w 6407869"/>
              <a:gd name="connsiteY425" fmla="*/ 2768538 h 4985074"/>
              <a:gd name="connsiteX426" fmla="*/ 6184484 w 6407869"/>
              <a:gd name="connsiteY426" fmla="*/ 2751920 h 4985074"/>
              <a:gd name="connsiteX427" fmla="*/ 6043867 w 6407869"/>
              <a:gd name="connsiteY427" fmla="*/ 2809855 h 4985074"/>
              <a:gd name="connsiteX428" fmla="*/ 6052174 w 6407869"/>
              <a:gd name="connsiteY428" fmla="*/ 2818165 h 4985074"/>
              <a:gd name="connsiteX429" fmla="*/ 5953089 w 6407869"/>
              <a:gd name="connsiteY429" fmla="*/ 2851171 h 4985074"/>
              <a:gd name="connsiteX430" fmla="*/ 5886933 w 6407869"/>
              <a:gd name="connsiteY430" fmla="*/ 2867790 h 4985074"/>
              <a:gd name="connsiteX431" fmla="*/ 5882780 w 6407869"/>
              <a:gd name="connsiteY431" fmla="*/ 2867790 h 4985074"/>
              <a:gd name="connsiteX432" fmla="*/ 5874770 w 6407869"/>
              <a:gd name="connsiteY432" fmla="*/ 2867790 h 4985074"/>
              <a:gd name="connsiteX433" fmla="*/ 5872693 w 6407869"/>
              <a:gd name="connsiteY433" fmla="*/ 2868944 h 4985074"/>
              <a:gd name="connsiteX434" fmla="*/ 5837391 w 6407869"/>
              <a:gd name="connsiteY434" fmla="*/ 2872176 h 4985074"/>
              <a:gd name="connsiteX435" fmla="*/ 5924016 w 6407869"/>
              <a:gd name="connsiteY435" fmla="*/ 2822319 h 4985074"/>
              <a:gd name="connsiteX436" fmla="*/ 5717540 w 6407869"/>
              <a:gd name="connsiteY436" fmla="*/ 2884178 h 4985074"/>
              <a:gd name="connsiteX437" fmla="*/ 5783695 w 6407869"/>
              <a:gd name="connsiteY437" fmla="*/ 2884178 h 4985074"/>
              <a:gd name="connsiteX438" fmla="*/ 5622609 w 6407869"/>
              <a:gd name="connsiteY438" fmla="*/ 2925726 h 4985074"/>
              <a:gd name="connsiteX439" fmla="*/ 5659394 w 6407869"/>
              <a:gd name="connsiteY439" fmla="*/ 2921570 h 4985074"/>
              <a:gd name="connsiteX440" fmla="*/ 5337222 w 6407869"/>
              <a:gd name="connsiteY440" fmla="*/ 3037441 h 4985074"/>
              <a:gd name="connsiteX441" fmla="*/ 4981524 w 6407869"/>
              <a:gd name="connsiteY441" fmla="*/ 3124228 h 4985074"/>
              <a:gd name="connsiteX442" fmla="*/ 5134602 w 6407869"/>
              <a:gd name="connsiteY442" fmla="*/ 3057983 h 4985074"/>
              <a:gd name="connsiteX443" fmla="*/ 4998138 w 6407869"/>
              <a:gd name="connsiteY443" fmla="*/ 3074372 h 4985074"/>
              <a:gd name="connsiteX444" fmla="*/ 5117988 w 6407869"/>
              <a:gd name="connsiteY444" fmla="*/ 3024976 h 4985074"/>
              <a:gd name="connsiteX445" fmla="*/ 5121846 w 6407869"/>
              <a:gd name="connsiteY445" fmla="*/ 3016667 h 4985074"/>
              <a:gd name="connsiteX446" fmla="*/ 5097222 w 6407869"/>
              <a:gd name="connsiteY446" fmla="*/ 3012512 h 4985074"/>
              <a:gd name="connsiteX447" fmla="*/ 5370448 w 6407869"/>
              <a:gd name="connsiteY447" fmla="*/ 2892718 h 4985074"/>
              <a:gd name="connsiteX448" fmla="*/ 5349384 w 6407869"/>
              <a:gd name="connsiteY448" fmla="*/ 2888563 h 4985074"/>
              <a:gd name="connsiteX449" fmla="*/ 5395070 w 6407869"/>
              <a:gd name="connsiteY449" fmla="*/ 2867790 h 4985074"/>
              <a:gd name="connsiteX450" fmla="*/ 5179991 w 6407869"/>
              <a:gd name="connsiteY450" fmla="*/ 2913261 h 4985074"/>
              <a:gd name="connsiteX451" fmla="*/ 5159225 w 6407869"/>
              <a:gd name="connsiteY451" fmla="*/ 2917416 h 4985074"/>
              <a:gd name="connsiteX452" fmla="*/ 5039374 w 6407869"/>
              <a:gd name="connsiteY452" fmla="*/ 2958732 h 4985074"/>
              <a:gd name="connsiteX453" fmla="*/ 5014750 w 6407869"/>
              <a:gd name="connsiteY453" fmla="*/ 2962886 h 4985074"/>
              <a:gd name="connsiteX454" fmla="*/ 4696434 w 6407869"/>
              <a:gd name="connsiteY454" fmla="*/ 3070216 h 4985074"/>
              <a:gd name="connsiteX455" fmla="*/ 4671515 w 6407869"/>
              <a:gd name="connsiteY455" fmla="*/ 3074372 h 4985074"/>
              <a:gd name="connsiteX456" fmla="*/ 4609512 w 6407869"/>
              <a:gd name="connsiteY456" fmla="*/ 3087066 h 4985074"/>
              <a:gd name="connsiteX457" fmla="*/ 4592899 w 6407869"/>
              <a:gd name="connsiteY457" fmla="*/ 3095376 h 4985074"/>
              <a:gd name="connsiteX458" fmla="*/ 3923040 w 6407869"/>
              <a:gd name="connsiteY458" fmla="*/ 3347427 h 4985074"/>
              <a:gd name="connsiteX459" fmla="*/ 3902570 w 6407869"/>
              <a:gd name="connsiteY459" fmla="*/ 3359892 h 4985074"/>
              <a:gd name="connsiteX460" fmla="*/ 3885957 w 6407869"/>
              <a:gd name="connsiteY460" fmla="*/ 3372125 h 4985074"/>
              <a:gd name="connsiteX461" fmla="*/ 3720718 w 6407869"/>
              <a:gd name="connsiteY461" fmla="*/ 3434215 h 4985074"/>
              <a:gd name="connsiteX462" fmla="*/ 3695798 w 6407869"/>
              <a:gd name="connsiteY462" fmla="*/ 3442525 h 4985074"/>
              <a:gd name="connsiteX463" fmla="*/ 3642102 w 6407869"/>
              <a:gd name="connsiteY463" fmla="*/ 3446679 h 4985074"/>
              <a:gd name="connsiteX464" fmla="*/ 3629642 w 6407869"/>
              <a:gd name="connsiteY464" fmla="*/ 3454988 h 4985074"/>
              <a:gd name="connsiteX465" fmla="*/ 3637949 w 6407869"/>
              <a:gd name="connsiteY465" fmla="*/ 3459373 h 4985074"/>
              <a:gd name="connsiteX466" fmla="*/ 3633796 w 6407869"/>
              <a:gd name="connsiteY466" fmla="*/ 3467221 h 4985074"/>
              <a:gd name="connsiteX467" fmla="*/ 3613327 w 6407869"/>
              <a:gd name="connsiteY467" fmla="*/ 3467221 h 4985074"/>
              <a:gd name="connsiteX468" fmla="*/ 3592560 w 6407869"/>
              <a:gd name="connsiteY468" fmla="*/ 3467221 h 4985074"/>
              <a:gd name="connsiteX469" fmla="*/ 3075778 w 6407869"/>
              <a:gd name="connsiteY469" fmla="*/ 3703117 h 4985074"/>
              <a:gd name="connsiteX470" fmla="*/ 3047001 w 6407869"/>
              <a:gd name="connsiteY470" fmla="*/ 3711426 h 4985074"/>
              <a:gd name="connsiteX471" fmla="*/ 2980549 w 6407869"/>
              <a:gd name="connsiteY471" fmla="*/ 3740278 h 4985074"/>
              <a:gd name="connsiteX472" fmla="*/ 2980549 w 6407869"/>
              <a:gd name="connsiteY472" fmla="*/ 3744433 h 4985074"/>
              <a:gd name="connsiteX473" fmla="*/ 3017928 w 6407869"/>
              <a:gd name="connsiteY473" fmla="*/ 3748588 h 4985074"/>
              <a:gd name="connsiteX474" fmla="*/ 3051154 w 6407869"/>
              <a:gd name="connsiteY474" fmla="*/ 3731969 h 4985074"/>
              <a:gd name="connsiteX475" fmla="*/ 3299162 w 6407869"/>
              <a:gd name="connsiteY475" fmla="*/ 3620484 h 4985074"/>
              <a:gd name="connsiteX476" fmla="*/ 3303316 w 6407869"/>
              <a:gd name="connsiteY476" fmla="*/ 3624639 h 4985074"/>
              <a:gd name="connsiteX477" fmla="*/ 3261783 w 6407869"/>
              <a:gd name="connsiteY477" fmla="*/ 3662031 h 4985074"/>
              <a:gd name="connsiteX478" fmla="*/ 3232710 w 6407869"/>
              <a:gd name="connsiteY478" fmla="*/ 3669879 h 4985074"/>
              <a:gd name="connsiteX479" fmla="*/ 2968089 w 6407869"/>
              <a:gd name="connsiteY479" fmla="*/ 3785980 h 4985074"/>
              <a:gd name="connsiteX480" fmla="*/ 2935160 w 6407869"/>
              <a:gd name="connsiteY480" fmla="*/ 3802368 h 4985074"/>
              <a:gd name="connsiteX481" fmla="*/ 2699612 w 6407869"/>
              <a:gd name="connsiteY481" fmla="*/ 3922393 h 4985074"/>
              <a:gd name="connsiteX482" fmla="*/ 2695459 w 6407869"/>
              <a:gd name="connsiteY482" fmla="*/ 3930472 h 4985074"/>
              <a:gd name="connsiteX483" fmla="*/ 2695459 w 6407869"/>
              <a:gd name="connsiteY483" fmla="*/ 3938780 h 4985074"/>
              <a:gd name="connsiteX484" fmla="*/ 678166 w 6407869"/>
              <a:gd name="connsiteY484" fmla="*/ 4906597 h 4985074"/>
              <a:gd name="connsiteX485" fmla="*/ 632481 w 6407869"/>
              <a:gd name="connsiteY485" fmla="*/ 4922985 h 4985074"/>
              <a:gd name="connsiteX486" fmla="*/ 442321 w 6407869"/>
              <a:gd name="connsiteY486" fmla="*/ 4985074 h 4985074"/>
              <a:gd name="connsiteX487" fmla="*/ 727708 w 6407869"/>
              <a:gd name="connsiteY487" fmla="*/ 4819578 h 4985074"/>
              <a:gd name="connsiteX488" fmla="*/ 488006 w 6407869"/>
              <a:gd name="connsiteY488" fmla="*/ 4914676 h 4985074"/>
              <a:gd name="connsiteX489" fmla="*/ 773098 w 6407869"/>
              <a:gd name="connsiteY489" fmla="*/ 4749411 h 4985074"/>
              <a:gd name="connsiteX490" fmla="*/ 570478 w 6407869"/>
              <a:gd name="connsiteY490" fmla="*/ 4799036 h 4985074"/>
              <a:gd name="connsiteX491" fmla="*/ 682022 w 6407869"/>
              <a:gd name="connsiteY491" fmla="*/ 4737177 h 4985074"/>
              <a:gd name="connsiteX492" fmla="*/ 2869004 w 6407869"/>
              <a:gd name="connsiteY492" fmla="*/ 3698963 h 4985074"/>
              <a:gd name="connsiteX493" fmla="*/ 2893924 w 6407869"/>
              <a:gd name="connsiteY493" fmla="*/ 3682574 h 4985074"/>
              <a:gd name="connsiteX494" fmla="*/ 3125320 w 6407869"/>
              <a:gd name="connsiteY494" fmla="*/ 3525388 h 4985074"/>
              <a:gd name="connsiteX495" fmla="*/ 3137779 w 6407869"/>
              <a:gd name="connsiteY495" fmla="*/ 3508769 h 4985074"/>
              <a:gd name="connsiteX496" fmla="*/ 3108706 w 6407869"/>
              <a:gd name="connsiteY496" fmla="*/ 3512923 h 4985074"/>
              <a:gd name="connsiteX497" fmla="*/ 2720081 w 6407869"/>
              <a:gd name="connsiteY497" fmla="*/ 3698963 h 4985074"/>
              <a:gd name="connsiteX498" fmla="*/ 2691306 w 6407869"/>
              <a:gd name="connsiteY498" fmla="*/ 3707271 h 4985074"/>
              <a:gd name="connsiteX499" fmla="*/ 2662233 w 6407869"/>
              <a:gd name="connsiteY499" fmla="*/ 3715581 h 4985074"/>
              <a:gd name="connsiteX500" fmla="*/ 1955290 w 6407869"/>
              <a:gd name="connsiteY500" fmla="*/ 4062730 h 4985074"/>
              <a:gd name="connsiteX501" fmla="*/ 1917911 w 6407869"/>
              <a:gd name="connsiteY501" fmla="*/ 4079579 h 4985074"/>
              <a:gd name="connsiteX502" fmla="*/ 851712 w 6407869"/>
              <a:gd name="connsiteY502" fmla="*/ 4521825 h 4985074"/>
              <a:gd name="connsiteX503" fmla="*/ 810180 w 6407869"/>
              <a:gd name="connsiteY503" fmla="*/ 4542829 h 4985074"/>
              <a:gd name="connsiteX504" fmla="*/ 665707 w 6407869"/>
              <a:gd name="connsiteY504" fmla="*/ 4592224 h 4985074"/>
              <a:gd name="connsiteX505" fmla="*/ 636634 w 6407869"/>
              <a:gd name="connsiteY505" fmla="*/ 4596379 h 4985074"/>
              <a:gd name="connsiteX506" fmla="*/ 669860 w 6407869"/>
              <a:gd name="connsiteY506" fmla="*/ 4567527 h 4985074"/>
              <a:gd name="connsiteX507" fmla="*/ 657103 w 6407869"/>
              <a:gd name="connsiteY507" fmla="*/ 4563371 h 4985074"/>
              <a:gd name="connsiteX508" fmla="*/ 578785 w 6407869"/>
              <a:gd name="connsiteY508" fmla="*/ 4588069 h 4985074"/>
              <a:gd name="connsiteX509" fmla="*/ 582938 w 6407869"/>
              <a:gd name="connsiteY509" fmla="*/ 4563371 h 4985074"/>
              <a:gd name="connsiteX510" fmla="*/ 612011 w 6407869"/>
              <a:gd name="connsiteY510" fmla="*/ 4551138 h 4985074"/>
              <a:gd name="connsiteX511" fmla="*/ 607857 w 6407869"/>
              <a:gd name="connsiteY511" fmla="*/ 4538675 h 4985074"/>
              <a:gd name="connsiteX512" fmla="*/ 632481 w 6407869"/>
              <a:gd name="connsiteY512" fmla="*/ 4517900 h 4985074"/>
              <a:gd name="connsiteX513" fmla="*/ 574631 w 6407869"/>
              <a:gd name="connsiteY513" fmla="*/ 4509592 h 4985074"/>
              <a:gd name="connsiteX514" fmla="*/ 595101 w 6407869"/>
              <a:gd name="connsiteY514" fmla="*/ 4480740 h 4985074"/>
              <a:gd name="connsiteX515" fmla="*/ 595101 w 6407869"/>
              <a:gd name="connsiteY515" fmla="*/ 4476585 h 4985074"/>
              <a:gd name="connsiteX516" fmla="*/ 590948 w 6407869"/>
              <a:gd name="connsiteY516" fmla="*/ 4468275 h 4985074"/>
              <a:gd name="connsiteX517" fmla="*/ 446474 w 6407869"/>
              <a:gd name="connsiteY517" fmla="*/ 4505437 h 4985074"/>
              <a:gd name="connsiteX518" fmla="*/ 570478 w 6407869"/>
              <a:gd name="connsiteY518" fmla="*/ 4385642 h 4985074"/>
              <a:gd name="connsiteX519" fmla="*/ 475547 w 6407869"/>
              <a:gd name="connsiteY519" fmla="*/ 4418650 h 4985074"/>
              <a:gd name="connsiteX520" fmla="*/ 612011 w 6407869"/>
              <a:gd name="connsiteY520" fmla="*/ 4335786 h 4985074"/>
              <a:gd name="connsiteX521" fmla="*/ 488006 w 6407869"/>
              <a:gd name="connsiteY521" fmla="*/ 4360714 h 4985074"/>
              <a:gd name="connsiteX522" fmla="*/ 488006 w 6407869"/>
              <a:gd name="connsiteY522" fmla="*/ 4356329 h 4985074"/>
              <a:gd name="connsiteX523" fmla="*/ 578785 w 6407869"/>
              <a:gd name="connsiteY523" fmla="*/ 4298625 h 4985074"/>
              <a:gd name="connsiteX524" fmla="*/ 624174 w 6407869"/>
              <a:gd name="connsiteY524" fmla="*/ 4269773 h 4985074"/>
              <a:gd name="connsiteX525" fmla="*/ 1860359 w 6407869"/>
              <a:gd name="connsiteY525" fmla="*/ 3703117 h 4985074"/>
              <a:gd name="connsiteX526" fmla="*/ 413545 w 6407869"/>
              <a:gd name="connsiteY526" fmla="*/ 4240689 h 4985074"/>
              <a:gd name="connsiteX527" fmla="*/ 488006 w 6407869"/>
              <a:gd name="connsiteY527" fmla="*/ 4199373 h 4985074"/>
              <a:gd name="connsiteX528" fmla="*/ 488006 w 6407869"/>
              <a:gd name="connsiteY528" fmla="*/ 4195218 h 4985074"/>
              <a:gd name="connsiteX529" fmla="*/ 173843 w 6407869"/>
              <a:gd name="connsiteY529" fmla="*/ 4245075 h 4985074"/>
              <a:gd name="connsiteX530" fmla="*/ 227540 w 6407869"/>
              <a:gd name="connsiteY530" fmla="*/ 4203528 h 4985074"/>
              <a:gd name="connsiteX531" fmla="*/ 144475 w 6407869"/>
              <a:gd name="connsiteY531" fmla="*/ 4207683 h 4985074"/>
              <a:gd name="connsiteX532" fmla="*/ 322470 w 6407869"/>
              <a:gd name="connsiteY532" fmla="*/ 4050727 h 4985074"/>
              <a:gd name="connsiteX533" fmla="*/ 186007 w 6407869"/>
              <a:gd name="connsiteY533" fmla="*/ 4062730 h 4985074"/>
              <a:gd name="connsiteX534" fmla="*/ 214783 w 6407869"/>
              <a:gd name="connsiteY534" fmla="*/ 4038032 h 4985074"/>
              <a:gd name="connsiteX535" fmla="*/ 0 w 6407869"/>
              <a:gd name="connsiteY535" fmla="*/ 4050727 h 4985074"/>
              <a:gd name="connsiteX536" fmla="*/ 86625 w 6407869"/>
              <a:gd name="connsiteY536" fmla="*/ 3988637 h 4985074"/>
              <a:gd name="connsiteX537" fmla="*/ 111545 w 6407869"/>
              <a:gd name="connsiteY537" fmla="*/ 3976174 h 4985074"/>
              <a:gd name="connsiteX538" fmla="*/ 124004 w 6407869"/>
              <a:gd name="connsiteY538" fmla="*/ 3967864 h 4985074"/>
              <a:gd name="connsiteX539" fmla="*/ 148627 w 6407869"/>
              <a:gd name="connsiteY539" fmla="*/ 3942936 h 4985074"/>
              <a:gd name="connsiteX540" fmla="*/ 231692 w 6407869"/>
              <a:gd name="connsiteY540" fmla="*/ 3909928 h 4985074"/>
              <a:gd name="connsiteX541" fmla="*/ 235846 w 6407869"/>
              <a:gd name="connsiteY541" fmla="*/ 3909928 h 4985074"/>
              <a:gd name="connsiteX542" fmla="*/ 218936 w 6407869"/>
              <a:gd name="connsiteY542" fmla="*/ 3926317 h 4985074"/>
              <a:gd name="connsiteX543" fmla="*/ 256315 w 6407869"/>
              <a:gd name="connsiteY543" fmla="*/ 3922393 h 4985074"/>
              <a:gd name="connsiteX544" fmla="*/ 272631 w 6407869"/>
              <a:gd name="connsiteY544" fmla="*/ 3909928 h 4985074"/>
              <a:gd name="connsiteX545" fmla="*/ 301704 w 6407869"/>
              <a:gd name="connsiteY545" fmla="*/ 3901619 h 4985074"/>
              <a:gd name="connsiteX546" fmla="*/ 359849 w 6407869"/>
              <a:gd name="connsiteY546" fmla="*/ 3881076 h 4985074"/>
              <a:gd name="connsiteX547" fmla="*/ 342940 w 6407869"/>
              <a:gd name="connsiteY547" fmla="*/ 3876922 h 4985074"/>
              <a:gd name="connsiteX548" fmla="*/ 342940 w 6407869"/>
              <a:gd name="connsiteY548" fmla="*/ 3868613 h 4985074"/>
              <a:gd name="connsiteX549" fmla="*/ 446474 w 6407869"/>
              <a:gd name="connsiteY549" fmla="*/ 3777671 h 4985074"/>
              <a:gd name="connsiteX550" fmla="*/ 491864 w 6407869"/>
              <a:gd name="connsiteY550" fmla="*/ 3752973 h 4985074"/>
              <a:gd name="connsiteX551" fmla="*/ 632481 w 6407869"/>
              <a:gd name="connsiteY551" fmla="*/ 3698963 h 4985074"/>
              <a:gd name="connsiteX552" fmla="*/ 678166 w 6407869"/>
              <a:gd name="connsiteY552" fmla="*/ 3674265 h 4985074"/>
              <a:gd name="connsiteX553" fmla="*/ 851712 w 6407869"/>
              <a:gd name="connsiteY553" fmla="*/ 3554240 h 4985074"/>
              <a:gd name="connsiteX554" fmla="*/ 901255 w 6407869"/>
              <a:gd name="connsiteY554" fmla="*/ 3537621 h 4985074"/>
              <a:gd name="connsiteX555" fmla="*/ 905111 w 6407869"/>
              <a:gd name="connsiteY555" fmla="*/ 3533467 h 4985074"/>
              <a:gd name="connsiteX556" fmla="*/ 946644 w 6407869"/>
              <a:gd name="connsiteY556" fmla="*/ 3517078 h 4985074"/>
              <a:gd name="connsiteX557" fmla="*/ 1294034 w 6407869"/>
              <a:gd name="connsiteY557" fmla="*/ 3331039 h 4985074"/>
              <a:gd name="connsiteX558" fmla="*/ 239702 w 6407869"/>
              <a:gd name="connsiteY558" fmla="*/ 3645182 h 4985074"/>
              <a:gd name="connsiteX559" fmla="*/ 239702 w 6407869"/>
              <a:gd name="connsiteY559" fmla="*/ 3641027 h 4985074"/>
              <a:gd name="connsiteX560" fmla="*/ 1628963 w 6407869"/>
              <a:gd name="connsiteY560" fmla="*/ 3132537 h 4985074"/>
              <a:gd name="connsiteX561" fmla="*/ 1566962 w 6407869"/>
              <a:gd name="connsiteY561" fmla="*/ 3198781 h 4985074"/>
              <a:gd name="connsiteX562" fmla="*/ 2071284 w 6407869"/>
              <a:gd name="connsiteY562" fmla="*/ 2975120 h 4985074"/>
              <a:gd name="connsiteX563" fmla="*/ 1963596 w 6407869"/>
              <a:gd name="connsiteY563" fmla="*/ 2991970 h 4985074"/>
              <a:gd name="connsiteX564" fmla="*/ 2054671 w 6407869"/>
              <a:gd name="connsiteY564" fmla="*/ 2942113 h 4985074"/>
              <a:gd name="connsiteX565" fmla="*/ 1864512 w 6407869"/>
              <a:gd name="connsiteY565" fmla="*/ 2929880 h 4985074"/>
              <a:gd name="connsiteX566" fmla="*/ 1914055 w 6407869"/>
              <a:gd name="connsiteY566" fmla="*/ 2892718 h 4985074"/>
              <a:gd name="connsiteX567" fmla="*/ 1418038 w 6407869"/>
              <a:gd name="connsiteY567" fmla="*/ 2942113 h 4985074"/>
              <a:gd name="connsiteX568" fmla="*/ 1512970 w 6407869"/>
              <a:gd name="connsiteY568" fmla="*/ 2884178 h 4985074"/>
              <a:gd name="connsiteX569" fmla="*/ 1339422 w 6407869"/>
              <a:gd name="connsiteY569" fmla="*/ 2938189 h 4985074"/>
              <a:gd name="connsiteX570" fmla="*/ 1562809 w 6407869"/>
              <a:gd name="connsiteY570" fmla="*/ 2772924 h 4985074"/>
              <a:gd name="connsiteX571" fmla="*/ 1232031 w 6407869"/>
              <a:gd name="connsiteY571" fmla="*/ 2859480 h 4985074"/>
              <a:gd name="connsiteX572" fmla="*/ 1781744 w 6407869"/>
              <a:gd name="connsiteY572" fmla="*/ 2673442 h 4985074"/>
              <a:gd name="connsiteX573" fmla="*/ 1446814 w 6407869"/>
              <a:gd name="connsiteY573" fmla="*/ 2743611 h 4985074"/>
              <a:gd name="connsiteX574" fmla="*/ 1843746 w 6407869"/>
              <a:gd name="connsiteY574" fmla="*/ 2615507 h 4985074"/>
              <a:gd name="connsiteX575" fmla="*/ 1889135 w 6407869"/>
              <a:gd name="connsiteY575" fmla="*/ 2603273 h 4985074"/>
              <a:gd name="connsiteX576" fmla="*/ 1909901 w 6407869"/>
              <a:gd name="connsiteY576" fmla="*/ 2590579 h 4985074"/>
              <a:gd name="connsiteX577" fmla="*/ 1893288 w 6407869"/>
              <a:gd name="connsiteY577" fmla="*/ 2590579 h 4985074"/>
              <a:gd name="connsiteX578" fmla="*/ 1727752 w 6407869"/>
              <a:gd name="connsiteY578" fmla="*/ 2611121 h 4985074"/>
              <a:gd name="connsiteX579" fmla="*/ 1695119 w 6407869"/>
              <a:gd name="connsiteY579" fmla="*/ 2627971 h 4985074"/>
              <a:gd name="connsiteX580" fmla="*/ 1665749 w 6407869"/>
              <a:gd name="connsiteY580" fmla="*/ 2632126 h 4985074"/>
              <a:gd name="connsiteX581" fmla="*/ 1670200 w 6407869"/>
              <a:gd name="connsiteY581" fmla="*/ 2623817 h 4985074"/>
              <a:gd name="connsiteX582" fmla="*/ 1686813 w 6407869"/>
              <a:gd name="connsiteY582" fmla="*/ 2611121 h 4985074"/>
              <a:gd name="connsiteX583" fmla="*/ 1682659 w 6407869"/>
              <a:gd name="connsiteY583" fmla="*/ 2603273 h 4985074"/>
              <a:gd name="connsiteX584" fmla="*/ 1670200 w 6407869"/>
              <a:gd name="connsiteY584" fmla="*/ 2603273 h 4985074"/>
              <a:gd name="connsiteX585" fmla="*/ 1665749 w 6407869"/>
              <a:gd name="connsiteY585" fmla="*/ 2590579 h 4985074"/>
              <a:gd name="connsiteX586" fmla="*/ 1822979 w 6407869"/>
              <a:gd name="connsiteY586" fmla="*/ 2516256 h 4985074"/>
              <a:gd name="connsiteX587" fmla="*/ 1856205 w 6407869"/>
              <a:gd name="connsiteY587" fmla="*/ 2499867 h 4985074"/>
              <a:gd name="connsiteX588" fmla="*/ 1860359 w 6407869"/>
              <a:gd name="connsiteY588" fmla="*/ 2474940 h 4985074"/>
              <a:gd name="connsiteX589" fmla="*/ 1752967 w 6407869"/>
              <a:gd name="connsiteY589" fmla="*/ 2495482 h 4985074"/>
              <a:gd name="connsiteX590" fmla="*/ 1715588 w 6407869"/>
              <a:gd name="connsiteY590" fmla="*/ 2516256 h 4985074"/>
              <a:gd name="connsiteX591" fmla="*/ 1641127 w 6407869"/>
              <a:gd name="connsiteY591" fmla="*/ 2549263 h 4985074"/>
              <a:gd name="connsiteX592" fmla="*/ 1628963 w 6407869"/>
              <a:gd name="connsiteY592" fmla="*/ 2537029 h 4985074"/>
              <a:gd name="connsiteX593" fmla="*/ 1678506 w 6407869"/>
              <a:gd name="connsiteY593" fmla="*/ 2491327 h 4985074"/>
              <a:gd name="connsiteX594" fmla="*/ 1661893 w 6407869"/>
              <a:gd name="connsiteY594" fmla="*/ 2474940 h 4985074"/>
              <a:gd name="connsiteX595" fmla="*/ 1504959 w 6407869"/>
              <a:gd name="connsiteY595" fmla="*/ 2537029 h 4985074"/>
              <a:gd name="connsiteX596" fmla="*/ 1587431 w 6407869"/>
              <a:gd name="connsiteY596" fmla="*/ 2450011 h 4985074"/>
              <a:gd name="connsiteX597" fmla="*/ 1587431 w 6407869"/>
              <a:gd name="connsiteY597" fmla="*/ 2445856 h 4985074"/>
              <a:gd name="connsiteX598" fmla="*/ 214783 w 6407869"/>
              <a:gd name="connsiteY598" fmla="*/ 2942113 h 4985074"/>
              <a:gd name="connsiteX599" fmla="*/ 173843 w 6407869"/>
              <a:gd name="connsiteY599" fmla="*/ 2938189 h 4985074"/>
              <a:gd name="connsiteX600" fmla="*/ 181853 w 6407869"/>
              <a:gd name="connsiteY600" fmla="*/ 2921570 h 4985074"/>
              <a:gd name="connsiteX601" fmla="*/ 256315 w 6407869"/>
              <a:gd name="connsiteY601" fmla="*/ 2859480 h 4985074"/>
              <a:gd name="connsiteX602" fmla="*/ 256315 w 6407869"/>
              <a:gd name="connsiteY602" fmla="*/ 2855326 h 4985074"/>
              <a:gd name="connsiteX603" fmla="*/ 66155 w 6407869"/>
              <a:gd name="connsiteY603" fmla="*/ 2913261 h 4985074"/>
              <a:gd name="connsiteX604" fmla="*/ 33226 w 6407869"/>
              <a:gd name="connsiteY604" fmla="*/ 2913261 h 4985074"/>
              <a:gd name="connsiteX605" fmla="*/ 24623 w 6407869"/>
              <a:gd name="connsiteY605" fmla="*/ 2905182 h 4985074"/>
              <a:gd name="connsiteX606" fmla="*/ 66155 w 6407869"/>
              <a:gd name="connsiteY606" fmla="*/ 2875869 h 4985074"/>
              <a:gd name="connsiteX607" fmla="*/ 1413588 w 6407869"/>
              <a:gd name="connsiteY607" fmla="*/ 2375688 h 4985074"/>
              <a:gd name="connsiteX608" fmla="*/ 1401425 w 6407869"/>
              <a:gd name="connsiteY608" fmla="*/ 2354914 h 4985074"/>
              <a:gd name="connsiteX609" fmla="*/ 384472 w 6407869"/>
              <a:gd name="connsiteY609" fmla="*/ 2694215 h 4985074"/>
              <a:gd name="connsiteX610" fmla="*/ 330776 w 6407869"/>
              <a:gd name="connsiteY610" fmla="*/ 2677365 h 4985074"/>
              <a:gd name="connsiteX611" fmla="*/ 392779 w 6407869"/>
              <a:gd name="connsiteY611" fmla="*/ 2619661 h 4985074"/>
              <a:gd name="connsiteX612" fmla="*/ 12460 w 6407869"/>
              <a:gd name="connsiteY612" fmla="*/ 2751920 h 4985074"/>
              <a:gd name="connsiteX613" fmla="*/ 380319 w 6407869"/>
              <a:gd name="connsiteY613" fmla="*/ 2590579 h 4985074"/>
              <a:gd name="connsiteX614" fmla="*/ 280937 w 6407869"/>
              <a:gd name="connsiteY614" fmla="*/ 2607429 h 4985074"/>
              <a:gd name="connsiteX615" fmla="*/ 434014 w 6407869"/>
              <a:gd name="connsiteY615" fmla="*/ 2537029 h 4985074"/>
              <a:gd name="connsiteX616" fmla="*/ 359849 w 6407869"/>
              <a:gd name="connsiteY616" fmla="*/ 2520410 h 4985074"/>
              <a:gd name="connsiteX617" fmla="*/ 1186643 w 6407869"/>
              <a:gd name="connsiteY617" fmla="*/ 2230966 h 4985074"/>
              <a:gd name="connsiteX618" fmla="*/ 1190499 w 6407869"/>
              <a:gd name="connsiteY618" fmla="*/ 2230966 h 4985074"/>
              <a:gd name="connsiteX619" fmla="*/ 1202959 w 6407869"/>
              <a:gd name="connsiteY619" fmla="*/ 2206268 h 4985074"/>
              <a:gd name="connsiteX620" fmla="*/ 1186643 w 6407869"/>
              <a:gd name="connsiteY620" fmla="*/ 2156412 h 4985074"/>
              <a:gd name="connsiteX621" fmla="*/ 1157273 w 6407869"/>
              <a:gd name="connsiteY621" fmla="*/ 2148333 h 4985074"/>
              <a:gd name="connsiteX622" fmla="*/ 764791 w 6407869"/>
              <a:gd name="connsiteY622" fmla="*/ 2239275 h 4985074"/>
              <a:gd name="connsiteX623" fmla="*/ 793864 w 6407869"/>
              <a:gd name="connsiteY623" fmla="*/ 2210423 h 4985074"/>
              <a:gd name="connsiteX624" fmla="*/ 789711 w 6407869"/>
              <a:gd name="connsiteY624" fmla="*/ 2197728 h 4985074"/>
              <a:gd name="connsiteX625" fmla="*/ 768945 w 6407869"/>
              <a:gd name="connsiteY625" fmla="*/ 2193574 h 4985074"/>
              <a:gd name="connsiteX626" fmla="*/ 744321 w 6407869"/>
              <a:gd name="connsiteY626" fmla="*/ 2197728 h 4985074"/>
              <a:gd name="connsiteX627" fmla="*/ 686176 w 6407869"/>
              <a:gd name="connsiteY627" fmla="*/ 2173031 h 4985074"/>
              <a:gd name="connsiteX628" fmla="*/ 678166 w 6407869"/>
              <a:gd name="connsiteY628" fmla="*/ 2156412 h 4985074"/>
              <a:gd name="connsiteX629" fmla="*/ 736015 w 6407869"/>
              <a:gd name="connsiteY629" fmla="*/ 2102632 h 4985074"/>
              <a:gd name="connsiteX630" fmla="*/ 723555 w 6407869"/>
              <a:gd name="connsiteY630" fmla="*/ 2090168 h 4985074"/>
              <a:gd name="connsiteX631" fmla="*/ 301704 w 6407869"/>
              <a:gd name="connsiteY631" fmla="*/ 2173031 h 4985074"/>
              <a:gd name="connsiteX632" fmla="*/ 301704 w 6407869"/>
              <a:gd name="connsiteY632" fmla="*/ 2168876 h 4985074"/>
              <a:gd name="connsiteX633" fmla="*/ 599551 w 6407869"/>
              <a:gd name="connsiteY633" fmla="*/ 2028309 h 4985074"/>
              <a:gd name="connsiteX634" fmla="*/ 599551 w 6407869"/>
              <a:gd name="connsiteY634" fmla="*/ 2023924 h 4985074"/>
              <a:gd name="connsiteX635" fmla="*/ 545856 w 6407869"/>
              <a:gd name="connsiteY635" fmla="*/ 1990916 h 4985074"/>
              <a:gd name="connsiteX636" fmla="*/ 545856 w 6407869"/>
              <a:gd name="connsiteY636" fmla="*/ 1982838 h 4985074"/>
              <a:gd name="connsiteX637" fmla="*/ 1232031 w 6407869"/>
              <a:gd name="connsiteY637" fmla="*/ 1747174 h 4985074"/>
              <a:gd name="connsiteX638" fmla="*/ 1232031 w 6407869"/>
              <a:gd name="connsiteY638" fmla="*/ 1738865 h 4985074"/>
              <a:gd name="connsiteX639" fmla="*/ 1223429 w 6407869"/>
              <a:gd name="connsiteY639" fmla="*/ 1738865 h 4985074"/>
              <a:gd name="connsiteX640" fmla="*/ 1219572 w 6407869"/>
              <a:gd name="connsiteY640" fmla="*/ 1734709 h 4985074"/>
              <a:gd name="connsiteX641" fmla="*/ 1372648 w 6407869"/>
              <a:gd name="connsiteY641" fmla="*/ 1656001 h 4985074"/>
              <a:gd name="connsiteX642" fmla="*/ 1405578 w 6407869"/>
              <a:gd name="connsiteY642" fmla="*/ 1631073 h 4985074"/>
              <a:gd name="connsiteX643" fmla="*/ 1397272 w 6407869"/>
              <a:gd name="connsiteY643" fmla="*/ 1622763 h 4985074"/>
              <a:gd name="connsiteX644" fmla="*/ 843110 w 6407869"/>
              <a:gd name="connsiteY644" fmla="*/ 1693163 h 4985074"/>
              <a:gd name="connsiteX645" fmla="*/ 1438804 w 6407869"/>
              <a:gd name="connsiteY645" fmla="*/ 1490505 h 4985074"/>
              <a:gd name="connsiteX646" fmla="*/ 731861 w 6407869"/>
              <a:gd name="connsiteY646" fmla="*/ 1593911 h 4985074"/>
              <a:gd name="connsiteX647" fmla="*/ 984023 w 6407869"/>
              <a:gd name="connsiteY647" fmla="*/ 1494660 h 4985074"/>
              <a:gd name="connsiteX648" fmla="*/ 1000340 w 6407869"/>
              <a:gd name="connsiteY648" fmla="*/ 1469962 h 4985074"/>
              <a:gd name="connsiteX649" fmla="*/ 934481 w 6407869"/>
              <a:gd name="connsiteY649" fmla="*/ 1461652 h 4985074"/>
              <a:gd name="connsiteX650" fmla="*/ 946644 w 6407869"/>
              <a:gd name="connsiteY650" fmla="*/ 1416182 h 4985074"/>
              <a:gd name="connsiteX651" fmla="*/ 938337 w 6407869"/>
              <a:gd name="connsiteY651" fmla="*/ 1407873 h 4985074"/>
              <a:gd name="connsiteX652" fmla="*/ 930328 w 6407869"/>
              <a:gd name="connsiteY652" fmla="*/ 1391485 h 4985074"/>
              <a:gd name="connsiteX653" fmla="*/ 897102 w 6407869"/>
              <a:gd name="connsiteY653" fmla="*/ 1383175 h 4985074"/>
              <a:gd name="connsiteX654" fmla="*/ 864172 w 6407869"/>
              <a:gd name="connsiteY654" fmla="*/ 1387329 h 4985074"/>
              <a:gd name="connsiteX655" fmla="*/ 860019 w 6407869"/>
              <a:gd name="connsiteY655" fmla="*/ 1379021 h 4985074"/>
              <a:gd name="connsiteX656" fmla="*/ 1252501 w 6407869"/>
              <a:gd name="connsiteY656" fmla="*/ 1201060 h 4985074"/>
              <a:gd name="connsiteX657" fmla="*/ 1248644 w 6407869"/>
              <a:gd name="connsiteY657" fmla="*/ 1192982 h 4985074"/>
              <a:gd name="connsiteX658" fmla="*/ 1190499 w 6407869"/>
              <a:gd name="connsiteY658" fmla="*/ 1192982 h 4985074"/>
              <a:gd name="connsiteX659" fmla="*/ 1178336 w 6407869"/>
              <a:gd name="connsiteY659" fmla="*/ 1180518 h 4985074"/>
              <a:gd name="connsiteX660" fmla="*/ 1202959 w 6407869"/>
              <a:gd name="connsiteY660" fmla="*/ 1118428 h 4985074"/>
              <a:gd name="connsiteX661" fmla="*/ 1194652 w 6407869"/>
              <a:gd name="connsiteY661" fmla="*/ 1110118 h 4985074"/>
              <a:gd name="connsiteX662" fmla="*/ 1120487 w 6407869"/>
              <a:gd name="connsiteY662" fmla="*/ 1126968 h 4985074"/>
              <a:gd name="connsiteX663" fmla="*/ 1103874 w 6407869"/>
              <a:gd name="connsiteY663" fmla="*/ 1114274 h 4985074"/>
              <a:gd name="connsiteX664" fmla="*/ 1062341 w 6407869"/>
              <a:gd name="connsiteY664" fmla="*/ 1085422 h 4985074"/>
              <a:gd name="connsiteX665" fmla="*/ 1029413 w 6407869"/>
              <a:gd name="connsiteY665" fmla="*/ 1081266 h 4985074"/>
              <a:gd name="connsiteX666" fmla="*/ 496017 w 6407869"/>
              <a:gd name="connsiteY666" fmla="*/ 940468 h 4985074"/>
              <a:gd name="connsiteX667" fmla="*/ 516783 w 6407869"/>
              <a:gd name="connsiteY667" fmla="*/ 911616 h 4985074"/>
              <a:gd name="connsiteX668" fmla="*/ 446474 w 6407869"/>
              <a:gd name="connsiteY668" fmla="*/ 907461 h 4985074"/>
              <a:gd name="connsiteX669" fmla="*/ 434014 w 6407869"/>
              <a:gd name="connsiteY669" fmla="*/ 903307 h 4985074"/>
              <a:gd name="connsiteX670" fmla="*/ 471097 w 6407869"/>
              <a:gd name="connsiteY670" fmla="*/ 874455 h 4985074"/>
              <a:gd name="connsiteX671" fmla="*/ 500170 w 6407869"/>
              <a:gd name="connsiteY671" fmla="*/ 837062 h 4985074"/>
              <a:gd name="connsiteX672" fmla="*/ 409392 w 6407869"/>
              <a:gd name="connsiteY672" fmla="*/ 717268 h 4985074"/>
              <a:gd name="connsiteX673" fmla="*/ 426005 w 6407869"/>
              <a:gd name="connsiteY673" fmla="*/ 704804 h 4985074"/>
              <a:gd name="connsiteX674" fmla="*/ 533099 w 6407869"/>
              <a:gd name="connsiteY674" fmla="*/ 688415 h 4985074"/>
              <a:gd name="connsiteX675" fmla="*/ 562172 w 6407869"/>
              <a:gd name="connsiteY675" fmla="*/ 663719 h 4985074"/>
              <a:gd name="connsiteX676" fmla="*/ 586795 w 6407869"/>
              <a:gd name="connsiteY676" fmla="*/ 651023 h 4985074"/>
              <a:gd name="connsiteX677" fmla="*/ 595101 w 6407869"/>
              <a:gd name="connsiteY677" fmla="*/ 638559 h 4985074"/>
              <a:gd name="connsiteX678" fmla="*/ 3294713 w 6407869"/>
              <a:gd name="connsiteY678" fmla="*/ 63825 h 4985074"/>
              <a:gd name="connsiteX679" fmla="*/ 4588746 w 6407869"/>
              <a:gd name="connsiteY679" fmla="*/ 1966 h 4985074"/>
              <a:gd name="connsiteX680" fmla="*/ 4822218 w 6407869"/>
              <a:gd name="connsiteY680" fmla="*/ 120 h 4985074"/>
              <a:gd name="connsiteX681" fmla="*/ 4965032 w 6407869"/>
              <a:gd name="connsiteY681" fmla="*/ 116 h 498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Lst>
            <a:rect l="l" t="t" r="r" b="b"/>
            <a:pathLst>
              <a:path w="6407869" h="4985074">
                <a:moveTo>
                  <a:pt x="5882780" y="2867790"/>
                </a:moveTo>
                <a:cubicBezTo>
                  <a:pt x="5857860" y="2876099"/>
                  <a:pt x="5829084" y="2884409"/>
                  <a:pt x="5804165" y="2892718"/>
                </a:cubicBezTo>
                <a:cubicBezTo>
                  <a:pt x="5800012" y="2892718"/>
                  <a:pt x="5800012" y="2892488"/>
                  <a:pt x="5804165" y="2888563"/>
                </a:cubicBezTo>
                <a:cubicBezTo>
                  <a:pt x="5808318" y="2888563"/>
                  <a:pt x="5812768" y="2888563"/>
                  <a:pt x="5816921" y="2888563"/>
                </a:cubicBezTo>
                <a:cubicBezTo>
                  <a:pt x="5821074" y="2884409"/>
                  <a:pt x="5829084" y="2880024"/>
                  <a:pt x="5833238" y="2880024"/>
                </a:cubicBezTo>
                <a:cubicBezTo>
                  <a:pt x="5833238" y="2875869"/>
                  <a:pt x="5837391" y="2875869"/>
                  <a:pt x="5841544" y="2875869"/>
                </a:cubicBezTo>
                <a:cubicBezTo>
                  <a:pt x="5849851" y="2871714"/>
                  <a:pt x="5858158" y="2872176"/>
                  <a:pt x="5866166" y="2872176"/>
                </a:cubicBezTo>
                <a:lnTo>
                  <a:pt x="5872693" y="2868944"/>
                </a:lnTo>
                <a:close/>
                <a:moveTo>
                  <a:pt x="6176178" y="2603273"/>
                </a:moveTo>
                <a:lnTo>
                  <a:pt x="6166684" y="2606044"/>
                </a:lnTo>
                <a:lnTo>
                  <a:pt x="6159860" y="2607429"/>
                </a:lnTo>
                <a:cubicBezTo>
                  <a:pt x="6164014" y="2607429"/>
                  <a:pt x="6172024" y="2607429"/>
                  <a:pt x="6176178" y="2603273"/>
                </a:cubicBezTo>
                <a:close/>
                <a:moveTo>
                  <a:pt x="5196604" y="2301365"/>
                </a:moveTo>
                <a:cubicBezTo>
                  <a:pt x="5167532" y="2313598"/>
                  <a:pt x="5142908" y="2326062"/>
                  <a:pt x="5113835" y="2338527"/>
                </a:cubicBezTo>
                <a:cubicBezTo>
                  <a:pt x="5109682" y="2338527"/>
                  <a:pt x="5101376" y="2338527"/>
                  <a:pt x="5101376" y="2334372"/>
                </a:cubicBezTo>
                <a:cubicBezTo>
                  <a:pt x="5101376" y="2334372"/>
                  <a:pt x="5105528" y="2330217"/>
                  <a:pt x="5109682" y="2330217"/>
                </a:cubicBezTo>
                <a:cubicBezTo>
                  <a:pt x="5138754" y="2317753"/>
                  <a:pt x="5167532" y="2309444"/>
                  <a:pt x="5196604" y="2301365"/>
                </a:cubicBezTo>
                <a:close/>
                <a:moveTo>
                  <a:pt x="4965032" y="116"/>
                </a:moveTo>
                <a:cubicBezTo>
                  <a:pt x="5091771" y="538"/>
                  <a:pt x="5167532" y="1966"/>
                  <a:pt x="5167532" y="1966"/>
                </a:cubicBezTo>
                <a:cubicBezTo>
                  <a:pt x="5167532" y="1966"/>
                  <a:pt x="5167532" y="1966"/>
                  <a:pt x="5167532" y="6120"/>
                </a:cubicBezTo>
                <a:cubicBezTo>
                  <a:pt x="5171684" y="6120"/>
                  <a:pt x="5188298" y="1966"/>
                  <a:pt x="5192451" y="6120"/>
                </a:cubicBezTo>
                <a:cubicBezTo>
                  <a:pt x="5196604" y="6120"/>
                  <a:pt x="5192451" y="14199"/>
                  <a:pt x="5196604" y="14199"/>
                </a:cubicBezTo>
                <a:cubicBezTo>
                  <a:pt x="5209064" y="18354"/>
                  <a:pt x="5209064" y="18354"/>
                  <a:pt x="5209064" y="18354"/>
                </a:cubicBezTo>
                <a:cubicBezTo>
                  <a:pt x="5206986" y="18354"/>
                  <a:pt x="5202834" y="18354"/>
                  <a:pt x="5196604" y="18354"/>
                </a:cubicBezTo>
                <a:cubicBezTo>
                  <a:pt x="5188298" y="22509"/>
                  <a:pt x="5179991" y="30818"/>
                  <a:pt x="5171684" y="30818"/>
                </a:cubicBezTo>
                <a:cubicBezTo>
                  <a:pt x="5167532" y="34972"/>
                  <a:pt x="5167532" y="34972"/>
                  <a:pt x="5171684" y="34972"/>
                </a:cubicBezTo>
                <a:cubicBezTo>
                  <a:pt x="5184144" y="39128"/>
                  <a:pt x="5192451" y="39128"/>
                  <a:pt x="5200758" y="39128"/>
                </a:cubicBezTo>
                <a:cubicBezTo>
                  <a:pt x="5175838" y="39128"/>
                  <a:pt x="5150918" y="43051"/>
                  <a:pt x="5126295" y="47206"/>
                </a:cubicBezTo>
                <a:cubicBezTo>
                  <a:pt x="5122142" y="47206"/>
                  <a:pt x="5113835" y="47206"/>
                  <a:pt x="5109682" y="47206"/>
                </a:cubicBezTo>
                <a:cubicBezTo>
                  <a:pt x="5105528" y="47206"/>
                  <a:pt x="5101376" y="47206"/>
                  <a:pt x="5101376" y="47206"/>
                </a:cubicBezTo>
                <a:cubicBezTo>
                  <a:pt x="5093069" y="47206"/>
                  <a:pt x="5088916" y="51361"/>
                  <a:pt x="5088916" y="51361"/>
                </a:cubicBezTo>
                <a:cubicBezTo>
                  <a:pt x="5088916" y="51361"/>
                  <a:pt x="5088916" y="51361"/>
                  <a:pt x="5093069" y="51361"/>
                </a:cubicBezTo>
                <a:cubicBezTo>
                  <a:pt x="5097222" y="51361"/>
                  <a:pt x="5097222" y="55516"/>
                  <a:pt x="5097222" y="59670"/>
                </a:cubicBezTo>
                <a:cubicBezTo>
                  <a:pt x="5097222" y="59670"/>
                  <a:pt x="5101376" y="63825"/>
                  <a:pt x="5105528" y="59670"/>
                </a:cubicBezTo>
                <a:cubicBezTo>
                  <a:pt x="5109682" y="59670"/>
                  <a:pt x="5114132" y="59670"/>
                  <a:pt x="5117988" y="59670"/>
                </a:cubicBezTo>
                <a:cubicBezTo>
                  <a:pt x="5117988" y="59670"/>
                  <a:pt x="5303996" y="55516"/>
                  <a:pt x="5395070" y="55516"/>
                </a:cubicBezTo>
                <a:cubicBezTo>
                  <a:pt x="5411682" y="55516"/>
                  <a:pt x="5436008" y="55516"/>
                  <a:pt x="5436008" y="55516"/>
                </a:cubicBezTo>
                <a:cubicBezTo>
                  <a:pt x="5440162" y="55516"/>
                  <a:pt x="5448766" y="55516"/>
                  <a:pt x="5457072" y="55516"/>
                </a:cubicBezTo>
                <a:cubicBezTo>
                  <a:pt x="5457072" y="51361"/>
                  <a:pt x="5461226" y="51361"/>
                  <a:pt x="5465378" y="51361"/>
                </a:cubicBezTo>
                <a:cubicBezTo>
                  <a:pt x="5469532" y="51361"/>
                  <a:pt x="5473388" y="55516"/>
                  <a:pt x="5473388" y="55516"/>
                </a:cubicBezTo>
                <a:cubicBezTo>
                  <a:pt x="5473388" y="59670"/>
                  <a:pt x="5469532" y="59670"/>
                  <a:pt x="5465378" y="59670"/>
                </a:cubicBezTo>
                <a:cubicBezTo>
                  <a:pt x="5457072" y="59670"/>
                  <a:pt x="5448766" y="63825"/>
                  <a:pt x="5444612" y="63825"/>
                </a:cubicBezTo>
                <a:cubicBezTo>
                  <a:pt x="5440459" y="67980"/>
                  <a:pt x="5440459" y="68210"/>
                  <a:pt x="5444612" y="68210"/>
                </a:cubicBezTo>
                <a:cubicBezTo>
                  <a:pt x="5448766" y="68210"/>
                  <a:pt x="5448766" y="68210"/>
                  <a:pt x="5448766" y="68210"/>
                </a:cubicBezTo>
                <a:lnTo>
                  <a:pt x="5461226" y="68210"/>
                </a:lnTo>
                <a:cubicBezTo>
                  <a:pt x="5461226" y="72134"/>
                  <a:pt x="5457072" y="72366"/>
                  <a:pt x="5457072" y="72366"/>
                </a:cubicBezTo>
                <a:cubicBezTo>
                  <a:pt x="5444612" y="76520"/>
                  <a:pt x="5436306" y="80214"/>
                  <a:pt x="5428000" y="80214"/>
                </a:cubicBezTo>
                <a:cubicBezTo>
                  <a:pt x="5428000" y="80214"/>
                  <a:pt x="5428000" y="80214"/>
                  <a:pt x="5423846" y="80214"/>
                </a:cubicBezTo>
                <a:cubicBezTo>
                  <a:pt x="5419693" y="80214"/>
                  <a:pt x="5415540" y="80443"/>
                  <a:pt x="5411386" y="84599"/>
                </a:cubicBezTo>
                <a:cubicBezTo>
                  <a:pt x="5403080" y="84599"/>
                  <a:pt x="5386763" y="92908"/>
                  <a:pt x="5382610" y="92908"/>
                </a:cubicBezTo>
                <a:cubicBezTo>
                  <a:pt x="5378456" y="97062"/>
                  <a:pt x="5378456" y="97062"/>
                  <a:pt x="5378456" y="101218"/>
                </a:cubicBezTo>
                <a:cubicBezTo>
                  <a:pt x="5378456" y="101218"/>
                  <a:pt x="5378456" y="101218"/>
                  <a:pt x="5370448" y="105372"/>
                </a:cubicBezTo>
                <a:cubicBezTo>
                  <a:pt x="5366294" y="105372"/>
                  <a:pt x="5365997" y="109295"/>
                  <a:pt x="5361844" y="109295"/>
                </a:cubicBezTo>
                <a:cubicBezTo>
                  <a:pt x="5365997" y="109295"/>
                  <a:pt x="5370150" y="109295"/>
                  <a:pt x="5378456" y="109295"/>
                </a:cubicBezTo>
                <a:cubicBezTo>
                  <a:pt x="5370150" y="113451"/>
                  <a:pt x="5370448" y="113451"/>
                  <a:pt x="5370448" y="113451"/>
                </a:cubicBezTo>
                <a:cubicBezTo>
                  <a:pt x="5386763" y="117606"/>
                  <a:pt x="5428000" y="134224"/>
                  <a:pt x="5440459" y="121760"/>
                </a:cubicBezTo>
                <a:cubicBezTo>
                  <a:pt x="5428000" y="134224"/>
                  <a:pt x="5419693" y="130070"/>
                  <a:pt x="5407233" y="138379"/>
                </a:cubicBezTo>
                <a:cubicBezTo>
                  <a:pt x="5407233" y="150843"/>
                  <a:pt x="5428000" y="146458"/>
                  <a:pt x="5428000" y="154766"/>
                </a:cubicBezTo>
                <a:cubicBezTo>
                  <a:pt x="5407530" y="158922"/>
                  <a:pt x="5394774" y="167231"/>
                  <a:pt x="5378456" y="175310"/>
                </a:cubicBezTo>
                <a:cubicBezTo>
                  <a:pt x="5386467" y="179464"/>
                  <a:pt x="5398926" y="188004"/>
                  <a:pt x="5411386" y="196314"/>
                </a:cubicBezTo>
                <a:cubicBezTo>
                  <a:pt x="5370150" y="212933"/>
                  <a:pt x="5324762" y="229321"/>
                  <a:pt x="5291536" y="258173"/>
                </a:cubicBezTo>
                <a:cubicBezTo>
                  <a:pt x="5316455" y="250094"/>
                  <a:pt x="5349681" y="245708"/>
                  <a:pt x="5370448" y="241554"/>
                </a:cubicBezTo>
                <a:cubicBezTo>
                  <a:pt x="5295985" y="270406"/>
                  <a:pt x="5196604" y="287256"/>
                  <a:pt x="5130448" y="324417"/>
                </a:cubicBezTo>
                <a:cubicBezTo>
                  <a:pt x="5117988" y="328572"/>
                  <a:pt x="5105528" y="332727"/>
                  <a:pt x="5093069" y="336881"/>
                </a:cubicBezTo>
                <a:cubicBezTo>
                  <a:pt x="5254452" y="332727"/>
                  <a:pt x="5415836" y="262558"/>
                  <a:pt x="5560606" y="270868"/>
                </a:cubicBezTo>
                <a:cubicBezTo>
                  <a:pt x="5535686" y="283102"/>
                  <a:pt x="5539544" y="295335"/>
                  <a:pt x="5514920" y="311954"/>
                </a:cubicBezTo>
                <a:cubicBezTo>
                  <a:pt x="5519074" y="320262"/>
                  <a:pt x="5527380" y="328802"/>
                  <a:pt x="5527380" y="336881"/>
                </a:cubicBezTo>
                <a:cubicBezTo>
                  <a:pt x="5531534" y="341036"/>
                  <a:pt x="5519074" y="344960"/>
                  <a:pt x="5519074" y="344960"/>
                </a:cubicBezTo>
                <a:cubicBezTo>
                  <a:pt x="5523227" y="349115"/>
                  <a:pt x="5531238" y="349115"/>
                  <a:pt x="5535390" y="353269"/>
                </a:cubicBezTo>
                <a:cubicBezTo>
                  <a:pt x="5510471" y="365733"/>
                  <a:pt x="5477541" y="374043"/>
                  <a:pt x="5448766" y="382352"/>
                </a:cubicBezTo>
                <a:cubicBezTo>
                  <a:pt x="5473388" y="378198"/>
                  <a:pt x="5502460" y="374273"/>
                  <a:pt x="5527380" y="370119"/>
                </a:cubicBezTo>
                <a:cubicBezTo>
                  <a:pt x="5531534" y="370119"/>
                  <a:pt x="5535390" y="373812"/>
                  <a:pt x="5535390" y="373812"/>
                </a:cubicBezTo>
                <a:cubicBezTo>
                  <a:pt x="5531238" y="377967"/>
                  <a:pt x="5531238" y="378198"/>
                  <a:pt x="5531238" y="378198"/>
                </a:cubicBezTo>
                <a:cubicBezTo>
                  <a:pt x="5531238" y="382121"/>
                  <a:pt x="5523227" y="386507"/>
                  <a:pt x="5523227" y="386507"/>
                </a:cubicBezTo>
                <a:cubicBezTo>
                  <a:pt x="5519074" y="390662"/>
                  <a:pt x="5519074" y="390662"/>
                  <a:pt x="5519074" y="394817"/>
                </a:cubicBezTo>
                <a:cubicBezTo>
                  <a:pt x="5519074" y="394817"/>
                  <a:pt x="5519074" y="407050"/>
                  <a:pt x="5514920" y="411204"/>
                </a:cubicBezTo>
                <a:cubicBezTo>
                  <a:pt x="5510767" y="411204"/>
                  <a:pt x="5510767" y="415359"/>
                  <a:pt x="5514920" y="415359"/>
                </a:cubicBezTo>
                <a:cubicBezTo>
                  <a:pt x="5514920" y="415359"/>
                  <a:pt x="5514920" y="415359"/>
                  <a:pt x="5510767" y="419514"/>
                </a:cubicBezTo>
                <a:cubicBezTo>
                  <a:pt x="5498308" y="423669"/>
                  <a:pt x="5481992" y="423669"/>
                  <a:pt x="5465378" y="427823"/>
                </a:cubicBezTo>
                <a:cubicBezTo>
                  <a:pt x="5481992" y="431978"/>
                  <a:pt x="5498308" y="435902"/>
                  <a:pt x="5510767" y="440056"/>
                </a:cubicBezTo>
                <a:cubicBezTo>
                  <a:pt x="5506614" y="448366"/>
                  <a:pt x="5498604" y="469371"/>
                  <a:pt x="5498604" y="469371"/>
                </a:cubicBezTo>
                <a:cubicBezTo>
                  <a:pt x="5432449" y="514842"/>
                  <a:pt x="5365997" y="514611"/>
                  <a:pt x="5291536" y="522921"/>
                </a:cubicBezTo>
                <a:cubicBezTo>
                  <a:pt x="5320608" y="514611"/>
                  <a:pt x="5349384" y="510687"/>
                  <a:pt x="5386763" y="502377"/>
                </a:cubicBezTo>
                <a:cubicBezTo>
                  <a:pt x="5357690" y="506532"/>
                  <a:pt x="5332771" y="506302"/>
                  <a:pt x="5312302" y="510456"/>
                </a:cubicBezTo>
                <a:cubicBezTo>
                  <a:pt x="5320311" y="502146"/>
                  <a:pt x="5336924" y="502377"/>
                  <a:pt x="5349384" y="498223"/>
                </a:cubicBezTo>
                <a:cubicBezTo>
                  <a:pt x="5312302" y="502377"/>
                  <a:pt x="5275218" y="506302"/>
                  <a:pt x="5237840" y="510456"/>
                </a:cubicBezTo>
                <a:cubicBezTo>
                  <a:pt x="5283525" y="493837"/>
                  <a:pt x="5328618" y="485527"/>
                  <a:pt x="5378456" y="477448"/>
                </a:cubicBezTo>
                <a:cubicBezTo>
                  <a:pt x="5291536" y="477448"/>
                  <a:pt x="5200758" y="485758"/>
                  <a:pt x="5109682" y="502377"/>
                </a:cubicBezTo>
                <a:cubicBezTo>
                  <a:pt x="5163674" y="485758"/>
                  <a:pt x="5221524" y="464985"/>
                  <a:pt x="5275218" y="452521"/>
                </a:cubicBezTo>
                <a:cubicBezTo>
                  <a:pt x="5275218" y="452521"/>
                  <a:pt x="5275218" y="452521"/>
                  <a:pt x="5271066" y="452521"/>
                </a:cubicBezTo>
                <a:cubicBezTo>
                  <a:pt x="5262759" y="452521"/>
                  <a:pt x="5250299" y="456675"/>
                  <a:pt x="5241992" y="456675"/>
                </a:cubicBezTo>
                <a:cubicBezTo>
                  <a:pt x="5233984" y="460830"/>
                  <a:pt x="5225380" y="461061"/>
                  <a:pt x="5221226" y="461061"/>
                </a:cubicBezTo>
                <a:cubicBezTo>
                  <a:pt x="5113835" y="481604"/>
                  <a:pt x="4915666" y="568392"/>
                  <a:pt x="4799672" y="547617"/>
                </a:cubicBezTo>
                <a:cubicBezTo>
                  <a:pt x="4828745" y="551773"/>
                  <a:pt x="4865827" y="555927"/>
                  <a:pt x="4902910" y="551773"/>
                </a:cubicBezTo>
                <a:cubicBezTo>
                  <a:pt x="4882144" y="560082"/>
                  <a:pt x="4865827" y="564467"/>
                  <a:pt x="4840908" y="568621"/>
                </a:cubicBezTo>
                <a:cubicBezTo>
                  <a:pt x="4849214" y="576931"/>
                  <a:pt x="4869980" y="585010"/>
                  <a:pt x="4882440" y="589165"/>
                </a:cubicBezTo>
                <a:cubicBezTo>
                  <a:pt x="4828745" y="605784"/>
                  <a:pt x="4787508" y="630481"/>
                  <a:pt x="4766742" y="663719"/>
                </a:cubicBezTo>
                <a:cubicBezTo>
                  <a:pt x="4812132" y="680107"/>
                  <a:pt x="4886593" y="671797"/>
                  <a:pt x="4944442" y="671797"/>
                </a:cubicBezTo>
                <a:cubicBezTo>
                  <a:pt x="4840908" y="708959"/>
                  <a:pt x="4713048" y="787436"/>
                  <a:pt x="4609512" y="837062"/>
                </a:cubicBezTo>
                <a:cubicBezTo>
                  <a:pt x="4845358" y="804055"/>
                  <a:pt x="5365997" y="717268"/>
                  <a:pt x="5552004" y="659563"/>
                </a:cubicBezTo>
                <a:cubicBezTo>
                  <a:pt x="5556157" y="655409"/>
                  <a:pt x="5568616" y="655409"/>
                  <a:pt x="5572770" y="655409"/>
                </a:cubicBezTo>
                <a:cubicBezTo>
                  <a:pt x="5584932" y="655409"/>
                  <a:pt x="5601842" y="655409"/>
                  <a:pt x="5618158" y="655409"/>
                </a:cubicBezTo>
                <a:cubicBezTo>
                  <a:pt x="5622312" y="655409"/>
                  <a:pt x="5622609" y="659333"/>
                  <a:pt x="5622609" y="667411"/>
                </a:cubicBezTo>
                <a:cubicBezTo>
                  <a:pt x="5622609" y="671567"/>
                  <a:pt x="5626465" y="675952"/>
                  <a:pt x="5626465" y="675952"/>
                </a:cubicBezTo>
                <a:cubicBezTo>
                  <a:pt x="5626465" y="688186"/>
                  <a:pt x="5626465" y="692571"/>
                  <a:pt x="5618158" y="696725"/>
                </a:cubicBezTo>
                <a:cubicBezTo>
                  <a:pt x="5605996" y="709190"/>
                  <a:pt x="5589086" y="721192"/>
                  <a:pt x="5572770" y="733656"/>
                </a:cubicBezTo>
                <a:cubicBezTo>
                  <a:pt x="5568616" y="737811"/>
                  <a:pt x="5572770" y="741965"/>
                  <a:pt x="5576923" y="741965"/>
                </a:cubicBezTo>
                <a:cubicBezTo>
                  <a:pt x="5585230" y="746120"/>
                  <a:pt x="5597392" y="750505"/>
                  <a:pt x="5609852" y="758815"/>
                </a:cubicBezTo>
                <a:cubicBezTo>
                  <a:pt x="5614005" y="754661"/>
                  <a:pt x="5622312" y="737811"/>
                  <a:pt x="5626465" y="737811"/>
                </a:cubicBezTo>
                <a:cubicBezTo>
                  <a:pt x="5626465" y="741965"/>
                  <a:pt x="5626465" y="746351"/>
                  <a:pt x="5626465" y="750275"/>
                </a:cubicBezTo>
                <a:cubicBezTo>
                  <a:pt x="5622312" y="754430"/>
                  <a:pt x="5622312" y="762969"/>
                  <a:pt x="5626465" y="762969"/>
                </a:cubicBezTo>
                <a:cubicBezTo>
                  <a:pt x="5626465" y="767125"/>
                  <a:pt x="5626465" y="766663"/>
                  <a:pt x="5626465" y="766663"/>
                </a:cubicBezTo>
                <a:cubicBezTo>
                  <a:pt x="5630322" y="766663"/>
                  <a:pt x="5630322" y="771048"/>
                  <a:pt x="5626465" y="775203"/>
                </a:cubicBezTo>
                <a:cubicBezTo>
                  <a:pt x="5609852" y="795746"/>
                  <a:pt x="5593536" y="816519"/>
                  <a:pt x="5576923" y="837062"/>
                </a:cubicBezTo>
                <a:cubicBezTo>
                  <a:pt x="5572770" y="837062"/>
                  <a:pt x="5568616" y="837062"/>
                  <a:pt x="5568616" y="832907"/>
                </a:cubicBezTo>
                <a:cubicBezTo>
                  <a:pt x="5572770" y="828753"/>
                  <a:pt x="5572770" y="820674"/>
                  <a:pt x="5572770" y="812365"/>
                </a:cubicBezTo>
                <a:cubicBezTo>
                  <a:pt x="5576923" y="808209"/>
                  <a:pt x="5572770" y="808209"/>
                  <a:pt x="5568616" y="808209"/>
                </a:cubicBezTo>
                <a:cubicBezTo>
                  <a:pt x="5556157" y="820674"/>
                  <a:pt x="5543697" y="833138"/>
                  <a:pt x="5531238" y="845372"/>
                </a:cubicBezTo>
                <a:cubicBezTo>
                  <a:pt x="5527084" y="853680"/>
                  <a:pt x="5523227" y="861990"/>
                  <a:pt x="5519074" y="870300"/>
                </a:cubicBezTo>
                <a:cubicBezTo>
                  <a:pt x="5510767" y="882533"/>
                  <a:pt x="5502460" y="890842"/>
                  <a:pt x="5490001" y="903307"/>
                </a:cubicBezTo>
                <a:cubicBezTo>
                  <a:pt x="5490001" y="911616"/>
                  <a:pt x="5490298" y="919926"/>
                  <a:pt x="5494154" y="919926"/>
                </a:cubicBezTo>
                <a:cubicBezTo>
                  <a:pt x="5498308" y="924080"/>
                  <a:pt x="5502460" y="928003"/>
                  <a:pt x="5502460" y="932159"/>
                </a:cubicBezTo>
                <a:cubicBezTo>
                  <a:pt x="5506318" y="936313"/>
                  <a:pt x="5506318" y="940699"/>
                  <a:pt x="5502460" y="944623"/>
                </a:cubicBezTo>
                <a:cubicBezTo>
                  <a:pt x="5494154" y="961242"/>
                  <a:pt x="5485848" y="973705"/>
                  <a:pt x="5477541" y="990324"/>
                </a:cubicBezTo>
                <a:cubicBezTo>
                  <a:pt x="5494154" y="986170"/>
                  <a:pt x="5506614" y="982015"/>
                  <a:pt x="5519074" y="977861"/>
                </a:cubicBezTo>
                <a:cubicBezTo>
                  <a:pt x="5519074" y="982015"/>
                  <a:pt x="5519074" y="990324"/>
                  <a:pt x="5519074" y="994480"/>
                </a:cubicBezTo>
                <a:cubicBezTo>
                  <a:pt x="5514920" y="998634"/>
                  <a:pt x="5514920" y="1006713"/>
                  <a:pt x="5519074" y="1006713"/>
                </a:cubicBezTo>
                <a:cubicBezTo>
                  <a:pt x="5523227" y="1015022"/>
                  <a:pt x="5527084" y="1002558"/>
                  <a:pt x="5531238" y="1002558"/>
                </a:cubicBezTo>
                <a:cubicBezTo>
                  <a:pt x="5535390" y="1002558"/>
                  <a:pt x="5535390" y="1002558"/>
                  <a:pt x="5539544" y="1006713"/>
                </a:cubicBezTo>
                <a:cubicBezTo>
                  <a:pt x="5274922" y="1093499"/>
                  <a:pt x="4969362" y="1126737"/>
                  <a:pt x="4642738" y="1201060"/>
                </a:cubicBezTo>
                <a:cubicBezTo>
                  <a:pt x="4299502" y="1275614"/>
                  <a:pt x="3918887" y="1370711"/>
                  <a:pt x="3538568" y="1515433"/>
                </a:cubicBezTo>
                <a:cubicBezTo>
                  <a:pt x="3530262" y="1515433"/>
                  <a:pt x="3530558" y="1519819"/>
                  <a:pt x="3530558" y="1519819"/>
                </a:cubicBezTo>
                <a:cubicBezTo>
                  <a:pt x="3534711" y="1519819"/>
                  <a:pt x="3543018" y="1519588"/>
                  <a:pt x="3546875" y="1515433"/>
                </a:cubicBezTo>
                <a:cubicBezTo>
                  <a:pt x="3923336" y="1379021"/>
                  <a:pt x="4299502" y="1279769"/>
                  <a:pt x="4642738" y="1213525"/>
                </a:cubicBezTo>
                <a:cubicBezTo>
                  <a:pt x="4903206" y="1159745"/>
                  <a:pt x="5126295" y="1122583"/>
                  <a:pt x="5349384" y="1072957"/>
                </a:cubicBezTo>
                <a:cubicBezTo>
                  <a:pt x="5419693" y="1056339"/>
                  <a:pt x="5485848" y="1039951"/>
                  <a:pt x="5543697" y="1019176"/>
                </a:cubicBezTo>
                <a:cubicBezTo>
                  <a:pt x="5543697" y="1027486"/>
                  <a:pt x="5552300" y="1027717"/>
                  <a:pt x="5556157" y="1027717"/>
                </a:cubicBezTo>
                <a:cubicBezTo>
                  <a:pt x="5585230" y="1023562"/>
                  <a:pt x="5614005" y="1019176"/>
                  <a:pt x="5643078" y="1015022"/>
                </a:cubicBezTo>
                <a:cubicBezTo>
                  <a:pt x="5647231" y="1015022"/>
                  <a:pt x="5647231" y="1019176"/>
                  <a:pt x="5643078" y="1019176"/>
                </a:cubicBezTo>
                <a:cubicBezTo>
                  <a:pt x="5622312" y="1031641"/>
                  <a:pt x="5605996" y="1044105"/>
                  <a:pt x="5589383" y="1052414"/>
                </a:cubicBezTo>
                <a:cubicBezTo>
                  <a:pt x="5585230" y="1056570"/>
                  <a:pt x="5585230" y="1060493"/>
                  <a:pt x="5585230" y="1064647"/>
                </a:cubicBezTo>
                <a:cubicBezTo>
                  <a:pt x="5589383" y="1064647"/>
                  <a:pt x="5593239" y="1068803"/>
                  <a:pt x="5597392" y="1072957"/>
                </a:cubicBezTo>
                <a:cubicBezTo>
                  <a:pt x="5601546" y="1072957"/>
                  <a:pt x="5601546" y="1081266"/>
                  <a:pt x="5601546" y="1081266"/>
                </a:cubicBezTo>
                <a:cubicBezTo>
                  <a:pt x="5601546" y="1081266"/>
                  <a:pt x="5605698" y="1081266"/>
                  <a:pt x="5609852" y="1081266"/>
                </a:cubicBezTo>
                <a:cubicBezTo>
                  <a:pt x="5634772" y="1077112"/>
                  <a:pt x="5663844" y="1072957"/>
                  <a:pt x="5688764" y="1068803"/>
                </a:cubicBezTo>
                <a:cubicBezTo>
                  <a:pt x="5692917" y="1068803"/>
                  <a:pt x="5692917" y="1072957"/>
                  <a:pt x="5688764" y="1072957"/>
                </a:cubicBezTo>
                <a:cubicBezTo>
                  <a:pt x="5684610" y="1077112"/>
                  <a:pt x="5676008" y="1085422"/>
                  <a:pt x="5671854" y="1089576"/>
                </a:cubicBezTo>
                <a:cubicBezTo>
                  <a:pt x="5597392" y="1118659"/>
                  <a:pt x="5514920" y="1147280"/>
                  <a:pt x="5428000" y="1172208"/>
                </a:cubicBezTo>
                <a:cubicBezTo>
                  <a:pt x="5175838" y="1250687"/>
                  <a:pt x="4931686" y="1288079"/>
                  <a:pt x="4646596" y="1354323"/>
                </a:cubicBezTo>
                <a:cubicBezTo>
                  <a:pt x="4522591" y="1383175"/>
                  <a:pt x="4394730" y="1416413"/>
                  <a:pt x="4262419" y="1453575"/>
                </a:cubicBezTo>
                <a:cubicBezTo>
                  <a:pt x="4175498" y="1470193"/>
                  <a:pt x="4084423" y="1490736"/>
                  <a:pt x="3989195" y="1515433"/>
                </a:cubicBezTo>
                <a:cubicBezTo>
                  <a:pt x="4109342" y="1478271"/>
                  <a:pt x="4225040" y="1449419"/>
                  <a:pt x="4332431" y="1416182"/>
                </a:cubicBezTo>
                <a:cubicBezTo>
                  <a:pt x="4580440" y="1350168"/>
                  <a:pt x="4803826" y="1287848"/>
                  <a:pt x="5014750" y="1238222"/>
                </a:cubicBezTo>
                <a:cubicBezTo>
                  <a:pt x="5051834" y="1230143"/>
                  <a:pt x="5076753" y="1217679"/>
                  <a:pt x="5076753" y="1205216"/>
                </a:cubicBezTo>
                <a:cubicBezTo>
                  <a:pt x="5076753" y="1196906"/>
                  <a:pt x="5051834" y="1192751"/>
                  <a:pt x="5018904" y="1201060"/>
                </a:cubicBezTo>
                <a:cubicBezTo>
                  <a:pt x="4799672" y="1242377"/>
                  <a:pt x="4572430" y="1300312"/>
                  <a:pt x="4320268" y="1370711"/>
                </a:cubicBezTo>
                <a:cubicBezTo>
                  <a:pt x="3981186" y="1465808"/>
                  <a:pt x="3609174" y="1560904"/>
                  <a:pt x="3208088" y="1676775"/>
                </a:cubicBezTo>
                <a:cubicBezTo>
                  <a:pt x="2761614" y="1800954"/>
                  <a:pt x="2277761" y="1958140"/>
                  <a:pt x="1769284" y="2181341"/>
                </a:cubicBezTo>
                <a:cubicBezTo>
                  <a:pt x="1740508" y="2189650"/>
                  <a:pt x="1723895" y="2202114"/>
                  <a:pt x="1727752" y="2206268"/>
                </a:cubicBezTo>
                <a:cubicBezTo>
                  <a:pt x="1731905" y="2210193"/>
                  <a:pt x="1761274" y="2206037"/>
                  <a:pt x="1781744" y="2197728"/>
                </a:cubicBezTo>
                <a:cubicBezTo>
                  <a:pt x="1777591" y="2197728"/>
                  <a:pt x="1773438" y="2197728"/>
                  <a:pt x="1769284" y="2197728"/>
                </a:cubicBezTo>
                <a:cubicBezTo>
                  <a:pt x="2054671" y="2106787"/>
                  <a:pt x="2335609" y="2007535"/>
                  <a:pt x="2596077" y="1920517"/>
                </a:cubicBezTo>
                <a:cubicBezTo>
                  <a:pt x="2691306" y="1908284"/>
                  <a:pt x="2786237" y="1887741"/>
                  <a:pt x="2885618" y="1866968"/>
                </a:cubicBezTo>
                <a:cubicBezTo>
                  <a:pt x="2794544" y="1895820"/>
                  <a:pt x="2695459" y="1924672"/>
                  <a:pt x="2596077" y="1957909"/>
                </a:cubicBezTo>
                <a:cubicBezTo>
                  <a:pt x="2302680" y="2061316"/>
                  <a:pt x="2033904" y="2181110"/>
                  <a:pt x="1748814" y="2317522"/>
                </a:cubicBezTo>
                <a:cubicBezTo>
                  <a:pt x="1744661" y="2325831"/>
                  <a:pt x="1748814" y="2326062"/>
                  <a:pt x="1752967" y="2330217"/>
                </a:cubicBezTo>
                <a:cubicBezTo>
                  <a:pt x="1740508" y="2334372"/>
                  <a:pt x="1740508" y="2338527"/>
                  <a:pt x="1752967" y="2338527"/>
                </a:cubicBezTo>
                <a:cubicBezTo>
                  <a:pt x="1765427" y="2338527"/>
                  <a:pt x="1782040" y="2330217"/>
                  <a:pt x="1790347" y="2326062"/>
                </a:cubicBezTo>
                <a:cubicBezTo>
                  <a:pt x="2546831" y="2024154"/>
                  <a:pt x="3224701" y="1817342"/>
                  <a:pt x="3811792" y="1635458"/>
                </a:cubicBezTo>
                <a:cubicBezTo>
                  <a:pt x="3811792" y="1635458"/>
                  <a:pt x="3815649" y="1635227"/>
                  <a:pt x="3819802" y="1631073"/>
                </a:cubicBezTo>
                <a:cubicBezTo>
                  <a:pt x="3927194" y="1602221"/>
                  <a:pt x="4034881" y="1573369"/>
                  <a:pt x="4134262" y="1548671"/>
                </a:cubicBezTo>
                <a:cubicBezTo>
                  <a:pt x="4150875" y="1544517"/>
                  <a:pt x="4171048" y="1535976"/>
                  <a:pt x="4171048" y="1531821"/>
                </a:cubicBezTo>
                <a:cubicBezTo>
                  <a:pt x="4171048" y="1527898"/>
                  <a:pt x="4163038" y="1527667"/>
                  <a:pt x="4163038" y="1527667"/>
                </a:cubicBezTo>
                <a:cubicBezTo>
                  <a:pt x="4204571" y="1515433"/>
                  <a:pt x="4245806" y="1499046"/>
                  <a:pt x="4282890" y="1486581"/>
                </a:cubicBezTo>
                <a:cubicBezTo>
                  <a:pt x="4299502" y="1482427"/>
                  <a:pt x="4311962" y="1474117"/>
                  <a:pt x="4320268" y="1469962"/>
                </a:cubicBezTo>
                <a:cubicBezTo>
                  <a:pt x="4402740" y="1453344"/>
                  <a:pt x="4477202" y="1440879"/>
                  <a:pt x="4551366" y="1428415"/>
                </a:cubicBezTo>
                <a:cubicBezTo>
                  <a:pt x="4530898" y="1436725"/>
                  <a:pt x="4502121" y="1445265"/>
                  <a:pt x="4477202" y="1449419"/>
                </a:cubicBezTo>
                <a:cubicBezTo>
                  <a:pt x="4026574" y="1577523"/>
                  <a:pt x="3530262" y="1755252"/>
                  <a:pt x="3063318" y="1970374"/>
                </a:cubicBezTo>
                <a:cubicBezTo>
                  <a:pt x="3055012" y="1974528"/>
                  <a:pt x="3055012" y="1978683"/>
                  <a:pt x="3059165" y="1978683"/>
                </a:cubicBezTo>
                <a:cubicBezTo>
                  <a:pt x="3067471" y="1978683"/>
                  <a:pt x="3075778" y="1978683"/>
                  <a:pt x="3084084" y="1974528"/>
                </a:cubicBezTo>
                <a:cubicBezTo>
                  <a:pt x="3538864" y="1784336"/>
                  <a:pt x="3976736" y="1631304"/>
                  <a:pt x="4390280" y="1515433"/>
                </a:cubicBezTo>
                <a:cubicBezTo>
                  <a:pt x="4539204" y="1499046"/>
                  <a:pt x="4716904" y="1449419"/>
                  <a:pt x="4869684" y="1412027"/>
                </a:cubicBezTo>
                <a:cubicBezTo>
                  <a:pt x="4886297" y="1407873"/>
                  <a:pt x="4898757" y="1399563"/>
                  <a:pt x="4902910" y="1395408"/>
                </a:cubicBezTo>
                <a:cubicBezTo>
                  <a:pt x="4902910" y="1391254"/>
                  <a:pt x="4890450" y="1387329"/>
                  <a:pt x="4874134" y="1391485"/>
                </a:cubicBezTo>
                <a:cubicBezTo>
                  <a:pt x="4815988" y="1403948"/>
                  <a:pt x="4762589" y="1416182"/>
                  <a:pt x="4704741" y="1428415"/>
                </a:cubicBezTo>
                <a:cubicBezTo>
                  <a:pt x="4775049" y="1412027"/>
                  <a:pt x="4845060" y="1395639"/>
                  <a:pt x="4915370" y="1379021"/>
                </a:cubicBezTo>
                <a:cubicBezTo>
                  <a:pt x="4952749" y="1374866"/>
                  <a:pt x="4989831" y="1370711"/>
                  <a:pt x="5026914" y="1366556"/>
                </a:cubicBezTo>
                <a:cubicBezTo>
                  <a:pt x="5039374" y="1366556"/>
                  <a:pt x="5055987" y="1362633"/>
                  <a:pt x="5060140" y="1354323"/>
                </a:cubicBezTo>
                <a:cubicBezTo>
                  <a:pt x="5063996" y="1350168"/>
                  <a:pt x="5064294" y="1350168"/>
                  <a:pt x="5064294" y="1350168"/>
                </a:cubicBezTo>
                <a:cubicBezTo>
                  <a:pt x="5283229" y="1300543"/>
                  <a:pt x="5485848" y="1258995"/>
                  <a:pt x="5671854" y="1209370"/>
                </a:cubicBezTo>
                <a:cubicBezTo>
                  <a:pt x="5680161" y="1213525"/>
                  <a:pt x="5688468" y="1222064"/>
                  <a:pt x="5700927" y="1226220"/>
                </a:cubicBezTo>
                <a:cubicBezTo>
                  <a:pt x="5705080" y="1226220"/>
                  <a:pt x="5705080" y="1225758"/>
                  <a:pt x="5700927" y="1229912"/>
                </a:cubicBezTo>
                <a:cubicBezTo>
                  <a:pt x="5671854" y="1250687"/>
                  <a:pt x="5647231" y="1267535"/>
                  <a:pt x="5618158" y="1288079"/>
                </a:cubicBezTo>
                <a:cubicBezTo>
                  <a:pt x="5618158" y="1292233"/>
                  <a:pt x="5618456" y="1300312"/>
                  <a:pt x="5622609" y="1300312"/>
                </a:cubicBezTo>
                <a:cubicBezTo>
                  <a:pt x="5622609" y="1304466"/>
                  <a:pt x="5626465" y="1304466"/>
                  <a:pt x="5626465" y="1304466"/>
                </a:cubicBezTo>
                <a:cubicBezTo>
                  <a:pt x="5630322" y="1308621"/>
                  <a:pt x="5626465" y="1312776"/>
                  <a:pt x="5626465" y="1312776"/>
                </a:cubicBezTo>
                <a:cubicBezTo>
                  <a:pt x="5618158" y="1325240"/>
                  <a:pt x="5614005" y="1333550"/>
                  <a:pt x="5609852" y="1346014"/>
                </a:cubicBezTo>
                <a:cubicBezTo>
                  <a:pt x="5605698" y="1350168"/>
                  <a:pt x="5605698" y="1350168"/>
                  <a:pt x="5609852" y="1350168"/>
                </a:cubicBezTo>
                <a:cubicBezTo>
                  <a:pt x="5622312" y="1346014"/>
                  <a:pt x="5634772" y="1346014"/>
                  <a:pt x="5647231" y="1346014"/>
                </a:cubicBezTo>
                <a:cubicBezTo>
                  <a:pt x="5651384" y="1337704"/>
                  <a:pt x="5659394" y="1337473"/>
                  <a:pt x="5663548" y="1337473"/>
                </a:cubicBezTo>
                <a:cubicBezTo>
                  <a:pt x="5663548" y="1358247"/>
                  <a:pt x="5667701" y="1370942"/>
                  <a:pt x="5671854" y="1387329"/>
                </a:cubicBezTo>
                <a:cubicBezTo>
                  <a:pt x="5676008" y="1387329"/>
                  <a:pt x="5680457" y="1391254"/>
                  <a:pt x="5684314" y="1395408"/>
                </a:cubicBezTo>
                <a:cubicBezTo>
                  <a:pt x="5692620" y="1403718"/>
                  <a:pt x="5705080" y="1412258"/>
                  <a:pt x="5717540" y="1420567"/>
                </a:cubicBezTo>
                <a:cubicBezTo>
                  <a:pt x="5717540" y="1420567"/>
                  <a:pt x="5717540" y="1420567"/>
                  <a:pt x="5713387" y="1420567"/>
                </a:cubicBezTo>
                <a:cubicBezTo>
                  <a:pt x="5696774" y="1436956"/>
                  <a:pt x="5676304" y="1457498"/>
                  <a:pt x="5655538" y="1474117"/>
                </a:cubicBezTo>
                <a:cubicBezTo>
                  <a:pt x="5651384" y="1469962"/>
                  <a:pt x="5647231" y="1474117"/>
                  <a:pt x="5643078" y="1478271"/>
                </a:cubicBezTo>
                <a:cubicBezTo>
                  <a:pt x="5609852" y="1519588"/>
                  <a:pt x="5581076" y="1556750"/>
                  <a:pt x="5552004" y="1593911"/>
                </a:cubicBezTo>
                <a:cubicBezTo>
                  <a:pt x="5543993" y="1598065"/>
                  <a:pt x="5543993" y="1602221"/>
                  <a:pt x="5552004" y="1602221"/>
                </a:cubicBezTo>
                <a:cubicBezTo>
                  <a:pt x="5556157" y="1602221"/>
                  <a:pt x="5560310" y="1602221"/>
                  <a:pt x="5568616" y="1602221"/>
                </a:cubicBezTo>
                <a:cubicBezTo>
                  <a:pt x="5568616" y="1606375"/>
                  <a:pt x="5568320" y="1606375"/>
                  <a:pt x="5564464" y="1606375"/>
                </a:cubicBezTo>
                <a:cubicBezTo>
                  <a:pt x="5560310" y="1610530"/>
                  <a:pt x="5556157" y="1610761"/>
                  <a:pt x="5556157" y="1614684"/>
                </a:cubicBezTo>
                <a:cubicBezTo>
                  <a:pt x="5552300" y="1618840"/>
                  <a:pt x="5552300" y="1622763"/>
                  <a:pt x="5556157" y="1622763"/>
                </a:cubicBezTo>
                <a:cubicBezTo>
                  <a:pt x="5560310" y="1622763"/>
                  <a:pt x="5564464" y="1622763"/>
                  <a:pt x="5568616" y="1622763"/>
                </a:cubicBezTo>
                <a:cubicBezTo>
                  <a:pt x="5572770" y="1622763"/>
                  <a:pt x="5576923" y="1622763"/>
                  <a:pt x="5581076" y="1622763"/>
                </a:cubicBezTo>
                <a:cubicBezTo>
                  <a:pt x="5609852" y="1618609"/>
                  <a:pt x="5643078" y="1614684"/>
                  <a:pt x="5671854" y="1606375"/>
                </a:cubicBezTo>
                <a:cubicBezTo>
                  <a:pt x="5676008" y="1606375"/>
                  <a:pt x="5680161" y="1610761"/>
                  <a:pt x="5676008" y="1614684"/>
                </a:cubicBezTo>
                <a:cubicBezTo>
                  <a:pt x="5676008" y="1618840"/>
                  <a:pt x="5676008" y="1622763"/>
                  <a:pt x="5676008" y="1622763"/>
                </a:cubicBezTo>
                <a:cubicBezTo>
                  <a:pt x="5671854" y="1626917"/>
                  <a:pt x="5667701" y="1631073"/>
                  <a:pt x="5663548" y="1631073"/>
                </a:cubicBezTo>
                <a:cubicBezTo>
                  <a:pt x="5609852" y="1656001"/>
                  <a:pt x="5560310" y="1685084"/>
                  <a:pt x="5502460" y="1709782"/>
                </a:cubicBezTo>
                <a:cubicBezTo>
                  <a:pt x="5498308" y="1713936"/>
                  <a:pt x="5494154" y="1717859"/>
                  <a:pt x="5485848" y="1722015"/>
                </a:cubicBezTo>
                <a:cubicBezTo>
                  <a:pt x="5361844" y="1800723"/>
                  <a:pt x="5233686" y="1891896"/>
                  <a:pt x="5101376" y="1978683"/>
                </a:cubicBezTo>
                <a:cubicBezTo>
                  <a:pt x="5097222" y="1978683"/>
                  <a:pt x="5089213" y="1982607"/>
                  <a:pt x="5080906" y="1986762"/>
                </a:cubicBezTo>
                <a:cubicBezTo>
                  <a:pt x="5035517" y="2011690"/>
                  <a:pt x="4977668" y="2032232"/>
                  <a:pt x="4927830" y="2057161"/>
                </a:cubicBezTo>
                <a:cubicBezTo>
                  <a:pt x="4923972" y="2061316"/>
                  <a:pt x="4915370" y="2061316"/>
                  <a:pt x="4911216" y="2065470"/>
                </a:cubicBezTo>
                <a:cubicBezTo>
                  <a:pt x="4882440" y="2086243"/>
                  <a:pt x="4853367" y="2110941"/>
                  <a:pt x="4828745" y="2131714"/>
                </a:cubicBezTo>
                <a:cubicBezTo>
                  <a:pt x="4820438" y="2131714"/>
                  <a:pt x="4820438" y="2135870"/>
                  <a:pt x="4828745" y="2135870"/>
                </a:cubicBezTo>
                <a:cubicBezTo>
                  <a:pt x="4837052" y="2131714"/>
                  <a:pt x="4849511" y="2131714"/>
                  <a:pt x="4861674" y="2131714"/>
                </a:cubicBezTo>
                <a:cubicBezTo>
                  <a:pt x="4832898" y="2140024"/>
                  <a:pt x="4807978" y="2152257"/>
                  <a:pt x="4783059" y="2168876"/>
                </a:cubicBezTo>
                <a:cubicBezTo>
                  <a:pt x="4774752" y="2168876"/>
                  <a:pt x="4770600" y="2173031"/>
                  <a:pt x="4770600" y="2177185"/>
                </a:cubicBezTo>
                <a:cubicBezTo>
                  <a:pt x="4766446" y="2181341"/>
                  <a:pt x="4770600" y="2185264"/>
                  <a:pt x="4774752" y="2185264"/>
                </a:cubicBezTo>
                <a:cubicBezTo>
                  <a:pt x="4803826" y="2181110"/>
                  <a:pt x="4828745" y="2177185"/>
                  <a:pt x="4861674" y="2173031"/>
                </a:cubicBezTo>
                <a:cubicBezTo>
                  <a:pt x="4865827" y="2173031"/>
                  <a:pt x="4878286" y="2173031"/>
                  <a:pt x="4882440" y="2168876"/>
                </a:cubicBezTo>
                <a:cubicBezTo>
                  <a:pt x="5101376" y="2110941"/>
                  <a:pt x="5312302" y="2061547"/>
                  <a:pt x="5506614" y="2011920"/>
                </a:cubicBezTo>
                <a:cubicBezTo>
                  <a:pt x="5510767" y="2011920"/>
                  <a:pt x="5519074" y="2007766"/>
                  <a:pt x="5523227" y="2007766"/>
                </a:cubicBezTo>
                <a:cubicBezTo>
                  <a:pt x="5630618" y="1974528"/>
                  <a:pt x="5733856" y="1949601"/>
                  <a:pt x="5829084" y="1924672"/>
                </a:cubicBezTo>
                <a:cubicBezTo>
                  <a:pt x="5833238" y="1920748"/>
                  <a:pt x="5841544" y="1920517"/>
                  <a:pt x="5841544" y="1920517"/>
                </a:cubicBezTo>
                <a:cubicBezTo>
                  <a:pt x="5924312" y="1899974"/>
                  <a:pt x="6002630" y="1883355"/>
                  <a:pt x="6077093" y="1862813"/>
                </a:cubicBezTo>
                <a:cubicBezTo>
                  <a:pt x="6081246" y="1862813"/>
                  <a:pt x="6081246" y="1862813"/>
                  <a:pt x="6077093" y="1866968"/>
                </a:cubicBezTo>
                <a:cubicBezTo>
                  <a:pt x="6077093" y="1871122"/>
                  <a:pt x="6072940" y="1875278"/>
                  <a:pt x="6077093" y="1879432"/>
                </a:cubicBezTo>
                <a:cubicBezTo>
                  <a:pt x="6081246" y="1883586"/>
                  <a:pt x="6081246" y="1883586"/>
                  <a:pt x="6081246" y="1883586"/>
                </a:cubicBezTo>
                <a:cubicBezTo>
                  <a:pt x="6085400" y="1887741"/>
                  <a:pt x="6085400" y="1891665"/>
                  <a:pt x="6081246" y="1895820"/>
                </a:cubicBezTo>
                <a:cubicBezTo>
                  <a:pt x="6068786" y="1904130"/>
                  <a:pt x="6056326" y="1908515"/>
                  <a:pt x="6043867" y="1916824"/>
                </a:cubicBezTo>
                <a:cubicBezTo>
                  <a:pt x="6043867" y="1920978"/>
                  <a:pt x="6043867" y="1924672"/>
                  <a:pt x="6048020" y="1924672"/>
                </a:cubicBezTo>
                <a:cubicBezTo>
                  <a:pt x="6118328" y="1912438"/>
                  <a:pt x="6180331" y="1899974"/>
                  <a:pt x="6246486" y="1891665"/>
                </a:cubicBezTo>
                <a:cubicBezTo>
                  <a:pt x="6217710" y="1908284"/>
                  <a:pt x="6192790" y="1924903"/>
                  <a:pt x="6167871" y="1941522"/>
                </a:cubicBezTo>
                <a:cubicBezTo>
                  <a:pt x="6213260" y="1949830"/>
                  <a:pt x="6246783" y="1970374"/>
                  <a:pt x="6259242" y="2028309"/>
                </a:cubicBezTo>
                <a:cubicBezTo>
                  <a:pt x="6250936" y="2044697"/>
                  <a:pt x="6254792" y="2053006"/>
                  <a:pt x="6263098" y="2061316"/>
                </a:cubicBezTo>
                <a:cubicBezTo>
                  <a:pt x="6258946" y="2069624"/>
                  <a:pt x="6250639" y="2077934"/>
                  <a:pt x="6242332" y="2077934"/>
                </a:cubicBezTo>
                <a:cubicBezTo>
                  <a:pt x="6246486" y="2077934"/>
                  <a:pt x="6246486" y="2077934"/>
                  <a:pt x="6246486" y="2077934"/>
                </a:cubicBezTo>
                <a:cubicBezTo>
                  <a:pt x="6254792" y="2086243"/>
                  <a:pt x="6263098" y="2090399"/>
                  <a:pt x="6271405" y="2098477"/>
                </a:cubicBezTo>
                <a:cubicBezTo>
                  <a:pt x="6275558" y="2094322"/>
                  <a:pt x="6279712" y="2098477"/>
                  <a:pt x="6279712" y="2098477"/>
                </a:cubicBezTo>
                <a:cubicBezTo>
                  <a:pt x="6283865" y="2102632"/>
                  <a:pt x="6283865" y="2107018"/>
                  <a:pt x="6283865" y="2107018"/>
                </a:cubicBezTo>
                <a:cubicBezTo>
                  <a:pt x="6288018" y="2110941"/>
                  <a:pt x="6283865" y="2111172"/>
                  <a:pt x="6283865" y="2115326"/>
                </a:cubicBezTo>
                <a:cubicBezTo>
                  <a:pt x="6027550" y="2197959"/>
                  <a:pt x="5746613" y="2280360"/>
                  <a:pt x="5432152" y="2379612"/>
                </a:cubicBezTo>
                <a:cubicBezTo>
                  <a:pt x="5432152" y="2379612"/>
                  <a:pt x="5423846" y="2379612"/>
                  <a:pt x="5419693" y="2379612"/>
                </a:cubicBezTo>
                <a:cubicBezTo>
                  <a:pt x="5407233" y="2383767"/>
                  <a:pt x="5394774" y="2383767"/>
                  <a:pt x="5382610" y="2387921"/>
                </a:cubicBezTo>
                <a:cubicBezTo>
                  <a:pt x="5378456" y="2387921"/>
                  <a:pt x="5378456" y="2383767"/>
                  <a:pt x="5382610" y="2383767"/>
                </a:cubicBezTo>
                <a:cubicBezTo>
                  <a:pt x="5386763" y="2379612"/>
                  <a:pt x="5386763" y="2379612"/>
                  <a:pt x="5386763" y="2379612"/>
                </a:cubicBezTo>
                <a:cubicBezTo>
                  <a:pt x="5390916" y="2375458"/>
                  <a:pt x="5390916" y="2375688"/>
                  <a:pt x="5386763" y="2371533"/>
                </a:cubicBezTo>
                <a:cubicBezTo>
                  <a:pt x="5382610" y="2371533"/>
                  <a:pt x="5382610" y="2371533"/>
                  <a:pt x="5378456" y="2371533"/>
                </a:cubicBezTo>
                <a:cubicBezTo>
                  <a:pt x="5370150" y="2371533"/>
                  <a:pt x="5370150" y="2371533"/>
                  <a:pt x="5378456" y="2367379"/>
                </a:cubicBezTo>
                <a:cubicBezTo>
                  <a:pt x="5423846" y="2359069"/>
                  <a:pt x="5469234" y="2342681"/>
                  <a:pt x="5514920" y="2330217"/>
                </a:cubicBezTo>
                <a:cubicBezTo>
                  <a:pt x="5519074" y="2330217"/>
                  <a:pt x="5523227" y="2325831"/>
                  <a:pt x="5527380" y="2317522"/>
                </a:cubicBezTo>
                <a:cubicBezTo>
                  <a:pt x="5527380" y="2317522"/>
                  <a:pt x="5527380" y="2313368"/>
                  <a:pt x="5519074" y="2313368"/>
                </a:cubicBezTo>
                <a:cubicBezTo>
                  <a:pt x="5386763" y="2350760"/>
                  <a:pt x="5238136" y="2383767"/>
                  <a:pt x="5085060" y="2417004"/>
                </a:cubicBezTo>
                <a:cubicBezTo>
                  <a:pt x="5151214" y="2392077"/>
                  <a:pt x="5221226" y="2367379"/>
                  <a:pt x="5287382" y="2338527"/>
                </a:cubicBezTo>
                <a:cubicBezTo>
                  <a:pt x="5295689" y="2338527"/>
                  <a:pt x="5303996" y="2342681"/>
                  <a:pt x="5303996" y="2342681"/>
                </a:cubicBezTo>
                <a:cubicBezTo>
                  <a:pt x="5308148" y="2346836"/>
                  <a:pt x="5312302" y="2346836"/>
                  <a:pt x="5312302" y="2342681"/>
                </a:cubicBezTo>
                <a:cubicBezTo>
                  <a:pt x="5312302" y="2338527"/>
                  <a:pt x="5316455" y="2334372"/>
                  <a:pt x="5320608" y="2330217"/>
                </a:cubicBezTo>
                <a:cubicBezTo>
                  <a:pt x="5349384" y="2326062"/>
                  <a:pt x="5382610" y="2313829"/>
                  <a:pt x="5411386" y="2309675"/>
                </a:cubicBezTo>
                <a:cubicBezTo>
                  <a:pt x="5415540" y="2305520"/>
                  <a:pt x="5423846" y="2301365"/>
                  <a:pt x="5428000" y="2301365"/>
                </a:cubicBezTo>
                <a:cubicBezTo>
                  <a:pt x="5448766" y="2293056"/>
                  <a:pt x="5469532" y="2284746"/>
                  <a:pt x="5490001" y="2276437"/>
                </a:cubicBezTo>
                <a:cubicBezTo>
                  <a:pt x="5452919" y="2276437"/>
                  <a:pt x="5415540" y="2280360"/>
                  <a:pt x="5378456" y="2284516"/>
                </a:cubicBezTo>
                <a:cubicBezTo>
                  <a:pt x="5370150" y="2284516"/>
                  <a:pt x="5361844" y="2288670"/>
                  <a:pt x="5357690" y="2292825"/>
                </a:cubicBezTo>
                <a:cubicBezTo>
                  <a:pt x="5345230" y="2292825"/>
                  <a:pt x="5332771" y="2293056"/>
                  <a:pt x="5320608" y="2296979"/>
                </a:cubicBezTo>
                <a:cubicBezTo>
                  <a:pt x="5361844" y="2284746"/>
                  <a:pt x="5407233" y="2276437"/>
                  <a:pt x="5448766" y="2263973"/>
                </a:cubicBezTo>
                <a:cubicBezTo>
                  <a:pt x="5452919" y="2263973"/>
                  <a:pt x="5457072" y="2259818"/>
                  <a:pt x="5457072" y="2255664"/>
                </a:cubicBezTo>
                <a:cubicBezTo>
                  <a:pt x="5461226" y="2255664"/>
                  <a:pt x="5457072" y="2251508"/>
                  <a:pt x="5452919" y="2251508"/>
                </a:cubicBezTo>
                <a:cubicBezTo>
                  <a:pt x="5378456" y="2267897"/>
                  <a:pt x="5295689" y="2280591"/>
                  <a:pt x="5217073" y="2296979"/>
                </a:cubicBezTo>
                <a:cubicBezTo>
                  <a:pt x="5212920" y="2301135"/>
                  <a:pt x="5200758" y="2301365"/>
                  <a:pt x="5196604" y="2301365"/>
                </a:cubicBezTo>
                <a:cubicBezTo>
                  <a:pt x="5200758" y="2297210"/>
                  <a:pt x="5209064" y="2292825"/>
                  <a:pt x="5209064" y="2292825"/>
                </a:cubicBezTo>
                <a:cubicBezTo>
                  <a:pt x="5213217" y="2288670"/>
                  <a:pt x="5209064" y="2284516"/>
                  <a:pt x="5200758" y="2284516"/>
                </a:cubicBezTo>
                <a:cubicBezTo>
                  <a:pt x="5184144" y="2288670"/>
                  <a:pt x="5163674" y="2292825"/>
                  <a:pt x="5142908" y="2292825"/>
                </a:cubicBezTo>
                <a:cubicBezTo>
                  <a:pt x="5138754" y="2296979"/>
                  <a:pt x="5138754" y="2296979"/>
                  <a:pt x="5138754" y="2292825"/>
                </a:cubicBezTo>
                <a:cubicBezTo>
                  <a:pt x="5138754" y="2292825"/>
                  <a:pt x="5134602" y="2296979"/>
                  <a:pt x="5130448" y="2296979"/>
                </a:cubicBezTo>
                <a:cubicBezTo>
                  <a:pt x="5117988" y="2301135"/>
                  <a:pt x="5109682" y="2301365"/>
                  <a:pt x="5097222" y="2305520"/>
                </a:cubicBezTo>
                <a:cubicBezTo>
                  <a:pt x="5093069" y="2305520"/>
                  <a:pt x="5088916" y="2305289"/>
                  <a:pt x="5088916" y="2301365"/>
                </a:cubicBezTo>
                <a:cubicBezTo>
                  <a:pt x="5088916" y="2301365"/>
                  <a:pt x="5088916" y="2296979"/>
                  <a:pt x="5097222" y="2296979"/>
                </a:cubicBezTo>
                <a:cubicBezTo>
                  <a:pt x="5175838" y="2263973"/>
                  <a:pt x="5254452" y="2230966"/>
                  <a:pt x="5333068" y="2201883"/>
                </a:cubicBezTo>
                <a:cubicBezTo>
                  <a:pt x="5308148" y="2201883"/>
                  <a:pt x="5287382" y="2206268"/>
                  <a:pt x="5262759" y="2206268"/>
                </a:cubicBezTo>
                <a:cubicBezTo>
                  <a:pt x="5258606" y="2206268"/>
                  <a:pt x="5250003" y="2210423"/>
                  <a:pt x="5245850" y="2210423"/>
                </a:cubicBezTo>
                <a:cubicBezTo>
                  <a:pt x="5055690" y="2272283"/>
                  <a:pt x="4849511" y="2342450"/>
                  <a:pt x="4638585" y="2412619"/>
                </a:cubicBezTo>
                <a:cubicBezTo>
                  <a:pt x="4630278" y="2412619"/>
                  <a:pt x="4626125" y="2417004"/>
                  <a:pt x="4626125" y="2417004"/>
                </a:cubicBezTo>
                <a:cubicBezTo>
                  <a:pt x="4626125" y="2420929"/>
                  <a:pt x="4630278" y="2420929"/>
                  <a:pt x="4634432" y="2417004"/>
                </a:cubicBezTo>
                <a:cubicBezTo>
                  <a:pt x="4638585" y="2420929"/>
                  <a:pt x="4646596" y="2425314"/>
                  <a:pt x="4650748" y="2425314"/>
                </a:cubicBezTo>
                <a:cubicBezTo>
                  <a:pt x="4659055" y="2425314"/>
                  <a:pt x="4667362" y="2421159"/>
                  <a:pt x="4671515" y="2421159"/>
                </a:cubicBezTo>
                <a:cubicBezTo>
                  <a:pt x="4683974" y="2417004"/>
                  <a:pt x="4700290" y="2416773"/>
                  <a:pt x="4712750" y="2412619"/>
                </a:cubicBezTo>
                <a:cubicBezTo>
                  <a:pt x="4716904" y="2412619"/>
                  <a:pt x="4712750" y="2417004"/>
                  <a:pt x="4708597" y="2417004"/>
                </a:cubicBezTo>
                <a:cubicBezTo>
                  <a:pt x="4671218" y="2441702"/>
                  <a:pt x="4638585" y="2466630"/>
                  <a:pt x="4601206" y="2499867"/>
                </a:cubicBezTo>
                <a:cubicBezTo>
                  <a:pt x="4597052" y="2499867"/>
                  <a:pt x="4588746" y="2504023"/>
                  <a:pt x="4580440" y="2504023"/>
                </a:cubicBezTo>
                <a:cubicBezTo>
                  <a:pt x="4580440" y="2504023"/>
                  <a:pt x="4576584" y="2504023"/>
                  <a:pt x="4572430" y="2508177"/>
                </a:cubicBezTo>
                <a:cubicBezTo>
                  <a:pt x="4568277" y="2508177"/>
                  <a:pt x="4564124" y="2503792"/>
                  <a:pt x="4568277" y="2499867"/>
                </a:cubicBezTo>
                <a:cubicBezTo>
                  <a:pt x="4572430" y="2495713"/>
                  <a:pt x="4568277" y="2491558"/>
                  <a:pt x="4564124" y="2495482"/>
                </a:cubicBezTo>
                <a:cubicBezTo>
                  <a:pt x="4526744" y="2507946"/>
                  <a:pt x="4485508" y="2520410"/>
                  <a:pt x="4444272" y="2537029"/>
                </a:cubicBezTo>
                <a:cubicBezTo>
                  <a:pt x="4440120" y="2537029"/>
                  <a:pt x="4431516" y="2545108"/>
                  <a:pt x="4427362" y="2545108"/>
                </a:cubicBezTo>
                <a:cubicBezTo>
                  <a:pt x="4361208" y="2573960"/>
                  <a:pt x="4295349" y="2603273"/>
                  <a:pt x="4229193" y="2632126"/>
                </a:cubicBezTo>
                <a:cubicBezTo>
                  <a:pt x="4220886" y="2636280"/>
                  <a:pt x="4220886" y="2636280"/>
                  <a:pt x="4229193" y="2636280"/>
                </a:cubicBezTo>
                <a:cubicBezTo>
                  <a:pt x="4249960" y="2632126"/>
                  <a:pt x="4274583" y="2632126"/>
                  <a:pt x="4295052" y="2632126"/>
                </a:cubicBezTo>
                <a:cubicBezTo>
                  <a:pt x="4266276" y="2648744"/>
                  <a:pt x="4233050" y="2669288"/>
                  <a:pt x="4200120" y="2685675"/>
                </a:cubicBezTo>
                <a:cubicBezTo>
                  <a:pt x="4195967" y="2689830"/>
                  <a:pt x="4191814" y="2689830"/>
                  <a:pt x="4200120" y="2689830"/>
                </a:cubicBezTo>
                <a:cubicBezTo>
                  <a:pt x="4237204" y="2681752"/>
                  <a:pt x="4270430" y="2673442"/>
                  <a:pt x="4307809" y="2665132"/>
                </a:cubicBezTo>
                <a:cubicBezTo>
                  <a:pt x="4245806" y="2690061"/>
                  <a:pt x="4179354" y="2714528"/>
                  <a:pt x="4113200" y="2743611"/>
                </a:cubicBezTo>
                <a:cubicBezTo>
                  <a:pt x="4105189" y="2743611"/>
                  <a:pt x="4092729" y="2747765"/>
                  <a:pt x="4088576" y="2751920"/>
                </a:cubicBezTo>
                <a:cubicBezTo>
                  <a:pt x="4051494" y="2760230"/>
                  <a:pt x="4014411" y="2772694"/>
                  <a:pt x="3972880" y="2784926"/>
                </a:cubicBezTo>
                <a:cubicBezTo>
                  <a:pt x="3964573" y="2789082"/>
                  <a:pt x="3956266" y="2793467"/>
                  <a:pt x="3947960" y="2793467"/>
                </a:cubicBezTo>
                <a:cubicBezTo>
                  <a:pt x="3935500" y="2801546"/>
                  <a:pt x="3923040" y="2809855"/>
                  <a:pt x="3914734" y="2822319"/>
                </a:cubicBezTo>
                <a:cubicBezTo>
                  <a:pt x="3906428" y="2826474"/>
                  <a:pt x="3906428" y="2830628"/>
                  <a:pt x="3914734" y="2826474"/>
                </a:cubicBezTo>
                <a:cubicBezTo>
                  <a:pt x="4059503" y="2776848"/>
                  <a:pt x="4200120" y="2735532"/>
                  <a:pt x="4328278" y="2689830"/>
                </a:cubicBezTo>
                <a:cubicBezTo>
                  <a:pt x="4336584" y="2689830"/>
                  <a:pt x="4344891" y="2681521"/>
                  <a:pt x="4344891" y="2677365"/>
                </a:cubicBezTo>
                <a:cubicBezTo>
                  <a:pt x="4344891" y="2677365"/>
                  <a:pt x="4349342" y="2673442"/>
                  <a:pt x="4357350" y="2673442"/>
                </a:cubicBezTo>
                <a:cubicBezTo>
                  <a:pt x="4398883" y="2669519"/>
                  <a:pt x="4440120" y="2660978"/>
                  <a:pt x="4481354" y="2656823"/>
                </a:cubicBezTo>
                <a:cubicBezTo>
                  <a:pt x="4435966" y="2677596"/>
                  <a:pt x="4394730" y="2698140"/>
                  <a:pt x="4349044" y="2714759"/>
                </a:cubicBezTo>
                <a:cubicBezTo>
                  <a:pt x="4344891" y="2714759"/>
                  <a:pt x="4328575" y="2718913"/>
                  <a:pt x="4324422" y="2718913"/>
                </a:cubicBezTo>
                <a:cubicBezTo>
                  <a:pt x="4249960" y="2743611"/>
                  <a:pt x="4175498" y="2768538"/>
                  <a:pt x="4096882" y="2797622"/>
                </a:cubicBezTo>
                <a:cubicBezTo>
                  <a:pt x="4092729" y="2797622"/>
                  <a:pt x="4084423" y="2801776"/>
                  <a:pt x="4076116" y="2805932"/>
                </a:cubicBezTo>
                <a:cubicBezTo>
                  <a:pt x="3985042" y="2843092"/>
                  <a:pt x="3894264" y="2875869"/>
                  <a:pt x="3803486" y="2913261"/>
                </a:cubicBezTo>
                <a:cubicBezTo>
                  <a:pt x="3906724" y="2929649"/>
                  <a:pt x="4117649" y="2805932"/>
                  <a:pt x="4229193" y="2768538"/>
                </a:cubicBezTo>
                <a:cubicBezTo>
                  <a:pt x="4663504" y="2636280"/>
                  <a:pt x="5047680" y="2520179"/>
                  <a:pt x="5390916" y="2417004"/>
                </a:cubicBezTo>
                <a:cubicBezTo>
                  <a:pt x="5605698" y="2354914"/>
                  <a:pt x="5804165" y="2293056"/>
                  <a:pt x="5990171" y="2239275"/>
                </a:cubicBezTo>
                <a:cubicBezTo>
                  <a:pt x="6139094" y="2193804"/>
                  <a:pt x="6283865" y="2127329"/>
                  <a:pt x="6407869" y="2119020"/>
                </a:cubicBezTo>
                <a:cubicBezTo>
                  <a:pt x="6374940" y="2185264"/>
                  <a:pt x="6312642" y="2176955"/>
                  <a:pt x="6267252" y="2218271"/>
                </a:cubicBezTo>
                <a:cubicBezTo>
                  <a:pt x="6291876" y="2230735"/>
                  <a:pt x="6325102" y="2230966"/>
                  <a:pt x="6350021" y="2239275"/>
                </a:cubicBezTo>
                <a:cubicBezTo>
                  <a:pt x="6155708" y="2317753"/>
                  <a:pt x="5957242" y="2383767"/>
                  <a:pt x="5738009" y="2445856"/>
                </a:cubicBezTo>
                <a:cubicBezTo>
                  <a:pt x="5523227" y="2511871"/>
                  <a:pt x="5291832" y="2586655"/>
                  <a:pt x="5047680" y="2669288"/>
                </a:cubicBezTo>
                <a:cubicBezTo>
                  <a:pt x="4861674" y="2731377"/>
                  <a:pt x="4655198" y="2764384"/>
                  <a:pt x="4448426" y="2859480"/>
                </a:cubicBezTo>
                <a:cubicBezTo>
                  <a:pt x="4435966" y="2843092"/>
                  <a:pt x="4443976" y="2851171"/>
                  <a:pt x="4427362" y="2842861"/>
                </a:cubicBezTo>
                <a:cubicBezTo>
                  <a:pt x="4423506" y="2855326"/>
                  <a:pt x="4423506" y="2863405"/>
                  <a:pt x="4419353" y="2875869"/>
                </a:cubicBezTo>
                <a:cubicBezTo>
                  <a:pt x="4204571" y="2933803"/>
                  <a:pt x="3968429" y="3033286"/>
                  <a:pt x="3724574" y="3153080"/>
                </a:cubicBezTo>
                <a:cubicBezTo>
                  <a:pt x="3865191" y="3103454"/>
                  <a:pt x="3993646" y="3070447"/>
                  <a:pt x="4121802" y="3020822"/>
                </a:cubicBezTo>
                <a:cubicBezTo>
                  <a:pt x="4382270" y="2913261"/>
                  <a:pt x="4621676" y="2838938"/>
                  <a:pt x="4840908" y="2768538"/>
                </a:cubicBezTo>
                <a:cubicBezTo>
                  <a:pt x="5055987" y="2706680"/>
                  <a:pt x="5250299" y="2656823"/>
                  <a:pt x="5432152" y="2594965"/>
                </a:cubicBezTo>
                <a:cubicBezTo>
                  <a:pt x="5436306" y="2594965"/>
                  <a:pt x="5440459" y="2590579"/>
                  <a:pt x="5448766" y="2590579"/>
                </a:cubicBezTo>
                <a:cubicBezTo>
                  <a:pt x="5465082" y="2582500"/>
                  <a:pt x="5490001" y="2574190"/>
                  <a:pt x="5510767" y="2561727"/>
                </a:cubicBezTo>
                <a:cubicBezTo>
                  <a:pt x="5510767" y="2561727"/>
                  <a:pt x="5519074" y="2561727"/>
                  <a:pt x="5523227" y="2561727"/>
                </a:cubicBezTo>
                <a:cubicBezTo>
                  <a:pt x="5775388" y="2474940"/>
                  <a:pt x="6002630" y="2396231"/>
                  <a:pt x="6217710" y="2326062"/>
                </a:cubicBezTo>
                <a:cubicBezTo>
                  <a:pt x="6217710" y="2326062"/>
                  <a:pt x="6226016" y="2326062"/>
                  <a:pt x="6226016" y="2330217"/>
                </a:cubicBezTo>
                <a:cubicBezTo>
                  <a:pt x="6234323" y="2338527"/>
                  <a:pt x="6246783" y="2346606"/>
                  <a:pt x="6259242" y="2354914"/>
                </a:cubicBezTo>
                <a:cubicBezTo>
                  <a:pt x="6259242" y="2359069"/>
                  <a:pt x="6259242" y="2363224"/>
                  <a:pt x="6259242" y="2367379"/>
                </a:cubicBezTo>
                <a:cubicBezTo>
                  <a:pt x="6250936" y="2379843"/>
                  <a:pt x="6234026" y="2392306"/>
                  <a:pt x="6229872" y="2408926"/>
                </a:cubicBezTo>
                <a:cubicBezTo>
                  <a:pt x="6225720" y="2408926"/>
                  <a:pt x="6221864" y="2408926"/>
                  <a:pt x="6221864" y="2408926"/>
                </a:cubicBezTo>
                <a:cubicBezTo>
                  <a:pt x="6221864" y="2408926"/>
                  <a:pt x="6217710" y="2408695"/>
                  <a:pt x="6217710" y="2412619"/>
                </a:cubicBezTo>
                <a:cubicBezTo>
                  <a:pt x="6217710" y="2416773"/>
                  <a:pt x="6217710" y="2417004"/>
                  <a:pt x="6217710" y="2417004"/>
                </a:cubicBezTo>
                <a:cubicBezTo>
                  <a:pt x="6226016" y="2420929"/>
                  <a:pt x="6225720" y="2425314"/>
                  <a:pt x="6234026" y="2429469"/>
                </a:cubicBezTo>
                <a:cubicBezTo>
                  <a:pt x="6213557" y="2437777"/>
                  <a:pt x="6196944" y="2445856"/>
                  <a:pt x="6176178" y="2458321"/>
                </a:cubicBezTo>
                <a:cubicBezTo>
                  <a:pt x="6172024" y="2458321"/>
                  <a:pt x="6167871" y="2462475"/>
                  <a:pt x="6167871" y="2466630"/>
                </a:cubicBezTo>
                <a:cubicBezTo>
                  <a:pt x="6159564" y="2483248"/>
                  <a:pt x="6155708" y="2503792"/>
                  <a:pt x="6147401" y="2520410"/>
                </a:cubicBezTo>
                <a:cubicBezTo>
                  <a:pt x="6147401" y="2524565"/>
                  <a:pt x="6139094" y="2528719"/>
                  <a:pt x="6139094" y="2528719"/>
                </a:cubicBezTo>
                <a:cubicBezTo>
                  <a:pt x="5940629" y="2594734"/>
                  <a:pt x="5730000" y="2673442"/>
                  <a:pt x="5494154" y="2751920"/>
                </a:cubicBezTo>
                <a:cubicBezTo>
                  <a:pt x="5490298" y="2751920"/>
                  <a:pt x="5485848" y="2751920"/>
                  <a:pt x="5490001" y="2747765"/>
                </a:cubicBezTo>
                <a:cubicBezTo>
                  <a:pt x="5490001" y="2747765"/>
                  <a:pt x="5490001" y="2743611"/>
                  <a:pt x="5485848" y="2743611"/>
                </a:cubicBezTo>
                <a:cubicBezTo>
                  <a:pt x="5419693" y="2760230"/>
                  <a:pt x="5353537" y="2776848"/>
                  <a:pt x="5287382" y="2793467"/>
                </a:cubicBezTo>
                <a:cubicBezTo>
                  <a:pt x="5332771" y="2776848"/>
                  <a:pt x="5386763" y="2760230"/>
                  <a:pt x="5432152" y="2743611"/>
                </a:cubicBezTo>
                <a:cubicBezTo>
                  <a:pt x="5436306" y="2743611"/>
                  <a:pt x="5440459" y="2739686"/>
                  <a:pt x="5440459" y="2735532"/>
                </a:cubicBezTo>
                <a:cubicBezTo>
                  <a:pt x="5444315" y="2735532"/>
                  <a:pt x="5440162" y="2731377"/>
                  <a:pt x="5436008" y="2731377"/>
                </a:cubicBezTo>
                <a:cubicBezTo>
                  <a:pt x="5353537" y="2752151"/>
                  <a:pt x="5271066" y="2776848"/>
                  <a:pt x="5179991" y="2797622"/>
                </a:cubicBezTo>
                <a:cubicBezTo>
                  <a:pt x="5184144" y="2789313"/>
                  <a:pt x="5192451" y="2784926"/>
                  <a:pt x="5200758" y="2776617"/>
                </a:cubicBezTo>
                <a:cubicBezTo>
                  <a:pt x="5209064" y="2772463"/>
                  <a:pt x="5209064" y="2772694"/>
                  <a:pt x="5200758" y="2772924"/>
                </a:cubicBezTo>
                <a:cubicBezTo>
                  <a:pt x="5196604" y="2776848"/>
                  <a:pt x="5192154" y="2776617"/>
                  <a:pt x="5188298" y="2776617"/>
                </a:cubicBezTo>
                <a:cubicBezTo>
                  <a:pt x="5241992" y="2756075"/>
                  <a:pt x="5291536" y="2735301"/>
                  <a:pt x="5345230" y="2718913"/>
                </a:cubicBezTo>
                <a:cubicBezTo>
                  <a:pt x="5349384" y="2714759"/>
                  <a:pt x="5353537" y="2714759"/>
                  <a:pt x="5357690" y="2714759"/>
                </a:cubicBezTo>
                <a:cubicBezTo>
                  <a:pt x="5399223" y="2706449"/>
                  <a:pt x="5432152" y="2693984"/>
                  <a:pt x="5469234" y="2685675"/>
                </a:cubicBezTo>
                <a:cubicBezTo>
                  <a:pt x="5473388" y="2685675"/>
                  <a:pt x="5477541" y="2681521"/>
                  <a:pt x="5477541" y="2677365"/>
                </a:cubicBezTo>
                <a:cubicBezTo>
                  <a:pt x="5481694" y="2677365"/>
                  <a:pt x="5477541" y="2673442"/>
                  <a:pt x="5473388" y="2673442"/>
                </a:cubicBezTo>
                <a:cubicBezTo>
                  <a:pt x="5428000" y="2681752"/>
                  <a:pt x="5378456" y="2690061"/>
                  <a:pt x="5328915" y="2698371"/>
                </a:cubicBezTo>
                <a:cubicBezTo>
                  <a:pt x="5324762" y="2698371"/>
                  <a:pt x="5316158" y="2702525"/>
                  <a:pt x="5312302" y="2702525"/>
                </a:cubicBezTo>
                <a:cubicBezTo>
                  <a:pt x="5063996" y="2789313"/>
                  <a:pt x="4791366" y="2884409"/>
                  <a:pt x="4497968" y="2987815"/>
                </a:cubicBezTo>
                <a:cubicBezTo>
                  <a:pt x="4493814" y="2987815"/>
                  <a:pt x="4493814" y="2987815"/>
                  <a:pt x="4493814" y="2987815"/>
                </a:cubicBezTo>
                <a:cubicBezTo>
                  <a:pt x="4357350" y="3033286"/>
                  <a:pt x="4208427" y="3082681"/>
                  <a:pt x="4055647" y="3136461"/>
                </a:cubicBezTo>
                <a:cubicBezTo>
                  <a:pt x="4096882" y="3123997"/>
                  <a:pt x="4138119" y="3111995"/>
                  <a:pt x="4179652" y="3099530"/>
                </a:cubicBezTo>
                <a:cubicBezTo>
                  <a:pt x="4133966" y="3116149"/>
                  <a:pt x="4088576" y="3132306"/>
                  <a:pt x="4047044" y="3148925"/>
                </a:cubicBezTo>
                <a:cubicBezTo>
                  <a:pt x="4039034" y="3153080"/>
                  <a:pt x="4034881" y="3153080"/>
                  <a:pt x="4034881" y="3148925"/>
                </a:cubicBezTo>
                <a:cubicBezTo>
                  <a:pt x="4034881" y="3148925"/>
                  <a:pt x="4038737" y="3140616"/>
                  <a:pt x="4042890" y="3140616"/>
                </a:cubicBezTo>
                <a:cubicBezTo>
                  <a:pt x="3910581" y="3186087"/>
                  <a:pt x="3774413" y="3231558"/>
                  <a:pt x="3633796" y="3277029"/>
                </a:cubicBezTo>
                <a:cubicBezTo>
                  <a:pt x="3629642" y="3281183"/>
                  <a:pt x="3617183" y="3285569"/>
                  <a:pt x="3608876" y="3289723"/>
                </a:cubicBezTo>
                <a:cubicBezTo>
                  <a:pt x="3600867" y="3301956"/>
                  <a:pt x="3596714" y="3318345"/>
                  <a:pt x="3588407" y="3334964"/>
                </a:cubicBezTo>
                <a:cubicBezTo>
                  <a:pt x="3580101" y="3334964"/>
                  <a:pt x="3567937" y="3339118"/>
                  <a:pt x="3559631" y="3343273"/>
                </a:cubicBezTo>
                <a:cubicBezTo>
                  <a:pt x="3497629" y="3368202"/>
                  <a:pt x="3435626" y="3392898"/>
                  <a:pt x="3373625" y="3417827"/>
                </a:cubicBezTo>
                <a:cubicBezTo>
                  <a:pt x="3365318" y="3417827"/>
                  <a:pt x="3356715" y="3421981"/>
                  <a:pt x="3348408" y="3426136"/>
                </a:cubicBezTo>
                <a:cubicBezTo>
                  <a:pt x="3303020" y="3451065"/>
                  <a:pt x="3265936" y="3479686"/>
                  <a:pt x="3228557" y="3504614"/>
                </a:cubicBezTo>
                <a:cubicBezTo>
                  <a:pt x="3224404" y="3508769"/>
                  <a:pt x="3212242" y="3512923"/>
                  <a:pt x="3203935" y="3517078"/>
                </a:cubicBezTo>
                <a:cubicBezTo>
                  <a:pt x="3171005" y="3529542"/>
                  <a:pt x="3137779" y="3542006"/>
                  <a:pt x="3100400" y="3554240"/>
                </a:cubicBezTo>
                <a:cubicBezTo>
                  <a:pt x="3092094" y="3558394"/>
                  <a:pt x="3079931" y="3566704"/>
                  <a:pt x="3071624" y="3570627"/>
                </a:cubicBezTo>
                <a:cubicBezTo>
                  <a:pt x="3063318" y="3578937"/>
                  <a:pt x="3050858" y="3591401"/>
                  <a:pt x="3042552" y="3603865"/>
                </a:cubicBezTo>
                <a:cubicBezTo>
                  <a:pt x="3034541" y="3608019"/>
                  <a:pt x="3034245" y="3612175"/>
                  <a:pt x="3038398" y="3612175"/>
                </a:cubicBezTo>
                <a:cubicBezTo>
                  <a:pt x="3046705" y="3612175"/>
                  <a:pt x="3055012" y="3612175"/>
                  <a:pt x="3059165" y="3612175"/>
                </a:cubicBezTo>
                <a:cubicBezTo>
                  <a:pt x="3067471" y="3612175"/>
                  <a:pt x="3067471" y="3616329"/>
                  <a:pt x="3055308" y="3620484"/>
                </a:cubicBezTo>
                <a:cubicBezTo>
                  <a:pt x="3001315" y="3653492"/>
                  <a:pt x="2939314" y="3686729"/>
                  <a:pt x="2881464" y="3719736"/>
                </a:cubicBezTo>
                <a:cubicBezTo>
                  <a:pt x="2889771" y="3719736"/>
                  <a:pt x="2897781" y="3719736"/>
                  <a:pt x="2906088" y="3723890"/>
                </a:cubicBezTo>
                <a:cubicBezTo>
                  <a:pt x="2914394" y="3715581"/>
                  <a:pt x="2926854" y="3711426"/>
                  <a:pt x="2935160" y="3707271"/>
                </a:cubicBezTo>
                <a:cubicBezTo>
                  <a:pt x="2935160" y="3707271"/>
                  <a:pt x="3402104" y="3516848"/>
                  <a:pt x="3633796" y="3434215"/>
                </a:cubicBezTo>
                <a:cubicBezTo>
                  <a:pt x="4084423" y="3268719"/>
                  <a:pt x="4812132" y="3004434"/>
                  <a:pt x="4812132" y="3004434"/>
                </a:cubicBezTo>
                <a:cubicBezTo>
                  <a:pt x="4816285" y="3000279"/>
                  <a:pt x="4824592" y="2996124"/>
                  <a:pt x="4828745" y="2996124"/>
                </a:cubicBezTo>
                <a:cubicBezTo>
                  <a:pt x="4853367" y="2987815"/>
                  <a:pt x="4886593" y="2983430"/>
                  <a:pt x="4911216" y="2975120"/>
                </a:cubicBezTo>
                <a:cubicBezTo>
                  <a:pt x="4915370" y="2975120"/>
                  <a:pt x="4923972" y="2971196"/>
                  <a:pt x="4927830" y="2967041"/>
                </a:cubicBezTo>
                <a:cubicBezTo>
                  <a:pt x="4985975" y="2946499"/>
                  <a:pt x="5047680" y="2929649"/>
                  <a:pt x="5097222" y="2913261"/>
                </a:cubicBezTo>
                <a:cubicBezTo>
                  <a:pt x="5303996" y="2842861"/>
                  <a:pt x="5494154" y="2776848"/>
                  <a:pt x="5671854" y="2718913"/>
                </a:cubicBezTo>
                <a:cubicBezTo>
                  <a:pt x="5841544" y="2660978"/>
                  <a:pt x="5998478" y="2603042"/>
                  <a:pt x="6147401" y="2549263"/>
                </a:cubicBezTo>
                <a:cubicBezTo>
                  <a:pt x="6147401" y="2582269"/>
                  <a:pt x="6168167" y="2590579"/>
                  <a:pt x="6197240" y="2590579"/>
                </a:cubicBezTo>
                <a:cubicBezTo>
                  <a:pt x="6197240" y="2590579"/>
                  <a:pt x="6197240" y="2590579"/>
                  <a:pt x="6193086" y="2590579"/>
                </a:cubicBezTo>
                <a:cubicBezTo>
                  <a:pt x="6188934" y="2590579"/>
                  <a:pt x="6188934" y="2590579"/>
                  <a:pt x="6188934" y="2590579"/>
                </a:cubicBezTo>
                <a:cubicBezTo>
                  <a:pt x="6188934" y="2594734"/>
                  <a:pt x="6184484" y="2594965"/>
                  <a:pt x="6184484" y="2594965"/>
                </a:cubicBezTo>
                <a:cubicBezTo>
                  <a:pt x="6184484" y="2594965"/>
                  <a:pt x="6180331" y="2599119"/>
                  <a:pt x="6176178" y="2599119"/>
                </a:cubicBezTo>
                <a:cubicBezTo>
                  <a:pt x="6155708" y="2607198"/>
                  <a:pt x="6130788" y="2615507"/>
                  <a:pt x="6110022" y="2623817"/>
                </a:cubicBezTo>
                <a:lnTo>
                  <a:pt x="6166684" y="2606044"/>
                </a:lnTo>
                <a:lnTo>
                  <a:pt x="6263098" y="2590579"/>
                </a:lnTo>
                <a:cubicBezTo>
                  <a:pt x="6139094" y="2632126"/>
                  <a:pt x="6006784" y="2685675"/>
                  <a:pt x="5870320" y="2743611"/>
                </a:cubicBezTo>
                <a:cubicBezTo>
                  <a:pt x="5899392" y="2739455"/>
                  <a:pt x="5916006" y="2735532"/>
                  <a:pt x="5936772" y="2731377"/>
                </a:cubicBezTo>
                <a:cubicBezTo>
                  <a:pt x="5808614" y="2768538"/>
                  <a:pt x="5667998" y="2822319"/>
                  <a:pt x="5523227" y="2884178"/>
                </a:cubicBezTo>
                <a:cubicBezTo>
                  <a:pt x="5692620" y="2838707"/>
                  <a:pt x="5857860" y="2772694"/>
                  <a:pt x="6010937" y="2718913"/>
                </a:cubicBezTo>
                <a:cubicBezTo>
                  <a:pt x="5990171" y="2723067"/>
                  <a:pt x="5969404" y="2727223"/>
                  <a:pt x="5948936" y="2727223"/>
                </a:cubicBezTo>
                <a:cubicBezTo>
                  <a:pt x="6010937" y="2710603"/>
                  <a:pt x="6077093" y="2689830"/>
                  <a:pt x="6139094" y="2677365"/>
                </a:cubicBezTo>
                <a:cubicBezTo>
                  <a:pt x="6134941" y="2685675"/>
                  <a:pt x="6122482" y="2690061"/>
                  <a:pt x="6118328" y="2694215"/>
                </a:cubicBezTo>
                <a:cubicBezTo>
                  <a:pt x="6122482" y="2694215"/>
                  <a:pt x="6126932" y="2694215"/>
                  <a:pt x="6131085" y="2694215"/>
                </a:cubicBezTo>
                <a:cubicBezTo>
                  <a:pt x="6126932" y="2698140"/>
                  <a:pt x="6114175" y="2702525"/>
                  <a:pt x="6105868" y="2706680"/>
                </a:cubicBezTo>
                <a:cubicBezTo>
                  <a:pt x="6105868" y="2706680"/>
                  <a:pt x="6110022" y="2714759"/>
                  <a:pt x="6105868" y="2714759"/>
                </a:cubicBezTo>
                <a:cubicBezTo>
                  <a:pt x="6077093" y="2735301"/>
                  <a:pt x="6043867" y="2752151"/>
                  <a:pt x="6015090" y="2768538"/>
                </a:cubicBezTo>
                <a:cubicBezTo>
                  <a:pt x="6068786" y="2772694"/>
                  <a:pt x="6130788" y="2756075"/>
                  <a:pt x="6184484" y="2751920"/>
                </a:cubicBezTo>
                <a:cubicBezTo>
                  <a:pt x="6143248" y="2768538"/>
                  <a:pt x="6097562" y="2789082"/>
                  <a:pt x="6043867" y="2809855"/>
                </a:cubicBezTo>
                <a:cubicBezTo>
                  <a:pt x="6048020" y="2817934"/>
                  <a:pt x="6048020" y="2818165"/>
                  <a:pt x="6052174" y="2818165"/>
                </a:cubicBezTo>
                <a:cubicBezTo>
                  <a:pt x="6019244" y="2830398"/>
                  <a:pt x="5986018" y="2838707"/>
                  <a:pt x="5953089" y="2851171"/>
                </a:cubicBezTo>
                <a:cubicBezTo>
                  <a:pt x="5932322" y="2855326"/>
                  <a:pt x="5911556" y="2863866"/>
                  <a:pt x="5886933" y="2867790"/>
                </a:cubicBezTo>
                <a:cubicBezTo>
                  <a:pt x="5886933" y="2867790"/>
                  <a:pt x="5886933" y="2867790"/>
                  <a:pt x="5882780" y="2867790"/>
                </a:cubicBezTo>
                <a:cubicBezTo>
                  <a:pt x="5878626" y="2867790"/>
                  <a:pt x="5874770" y="2867790"/>
                  <a:pt x="5874770" y="2867790"/>
                </a:cubicBezTo>
                <a:lnTo>
                  <a:pt x="5872693" y="2868944"/>
                </a:lnTo>
                <a:lnTo>
                  <a:pt x="5837391" y="2872176"/>
                </a:lnTo>
                <a:cubicBezTo>
                  <a:pt x="5862310" y="2851402"/>
                  <a:pt x="5899392" y="2838707"/>
                  <a:pt x="5924016" y="2822319"/>
                </a:cubicBezTo>
                <a:cubicBezTo>
                  <a:pt x="5857860" y="2838707"/>
                  <a:pt x="5787848" y="2859480"/>
                  <a:pt x="5717540" y="2884178"/>
                </a:cubicBezTo>
                <a:cubicBezTo>
                  <a:pt x="5742460" y="2884178"/>
                  <a:pt x="5762928" y="2884178"/>
                  <a:pt x="5783695" y="2884178"/>
                </a:cubicBezTo>
                <a:cubicBezTo>
                  <a:pt x="5742460" y="2896642"/>
                  <a:pt x="5663844" y="2892718"/>
                  <a:pt x="5622609" y="2925726"/>
                </a:cubicBezTo>
                <a:cubicBezTo>
                  <a:pt x="5634772" y="2925726"/>
                  <a:pt x="5646935" y="2921570"/>
                  <a:pt x="5659394" y="2921570"/>
                </a:cubicBezTo>
                <a:cubicBezTo>
                  <a:pt x="5560310" y="2942113"/>
                  <a:pt x="5448766" y="2996124"/>
                  <a:pt x="5337222" y="3037441"/>
                </a:cubicBezTo>
                <a:cubicBezTo>
                  <a:pt x="5241992" y="3070678"/>
                  <a:pt x="5068446" y="3136691"/>
                  <a:pt x="4981524" y="3124228"/>
                </a:cubicBezTo>
                <a:cubicBezTo>
                  <a:pt x="5035220" y="3099299"/>
                  <a:pt x="5084762" y="3078757"/>
                  <a:pt x="5134602" y="3057983"/>
                </a:cubicBezTo>
                <a:cubicBezTo>
                  <a:pt x="5093069" y="3057983"/>
                  <a:pt x="5047680" y="3070216"/>
                  <a:pt x="4998138" y="3074372"/>
                </a:cubicBezTo>
                <a:cubicBezTo>
                  <a:pt x="5039374" y="3057983"/>
                  <a:pt x="5080906" y="3041595"/>
                  <a:pt x="5117988" y="3024976"/>
                </a:cubicBezTo>
                <a:cubicBezTo>
                  <a:pt x="5114132" y="3020822"/>
                  <a:pt x="5121846" y="3016667"/>
                  <a:pt x="5121846" y="3016667"/>
                </a:cubicBezTo>
                <a:cubicBezTo>
                  <a:pt x="5113835" y="3012512"/>
                  <a:pt x="5105528" y="3012512"/>
                  <a:pt x="5097222" y="3012512"/>
                </a:cubicBezTo>
                <a:cubicBezTo>
                  <a:pt x="5175838" y="2946268"/>
                  <a:pt x="5291832" y="2925726"/>
                  <a:pt x="5370448" y="2892718"/>
                </a:cubicBezTo>
                <a:cubicBezTo>
                  <a:pt x="5366294" y="2888563"/>
                  <a:pt x="5357690" y="2888563"/>
                  <a:pt x="5349384" y="2888563"/>
                </a:cubicBezTo>
                <a:cubicBezTo>
                  <a:pt x="5361844" y="2884409"/>
                  <a:pt x="5386763" y="2871945"/>
                  <a:pt x="5395070" y="2867790"/>
                </a:cubicBezTo>
                <a:cubicBezTo>
                  <a:pt x="5328915" y="2876099"/>
                  <a:pt x="5250299" y="2896642"/>
                  <a:pt x="5179991" y="2913261"/>
                </a:cubicBezTo>
                <a:cubicBezTo>
                  <a:pt x="5171980" y="2913261"/>
                  <a:pt x="5167532" y="2917416"/>
                  <a:pt x="5159225" y="2917416"/>
                </a:cubicBezTo>
                <a:cubicBezTo>
                  <a:pt x="5117988" y="2933803"/>
                  <a:pt x="5080906" y="2946499"/>
                  <a:pt x="5039374" y="2958732"/>
                </a:cubicBezTo>
                <a:cubicBezTo>
                  <a:pt x="5026914" y="2958732"/>
                  <a:pt x="5023057" y="2962886"/>
                  <a:pt x="5014750" y="2962886"/>
                </a:cubicBezTo>
                <a:cubicBezTo>
                  <a:pt x="4915370" y="3000279"/>
                  <a:pt x="4803826" y="3037210"/>
                  <a:pt x="4696434" y="3070216"/>
                </a:cubicBezTo>
                <a:cubicBezTo>
                  <a:pt x="4683974" y="3074372"/>
                  <a:pt x="4675668" y="3074372"/>
                  <a:pt x="4671515" y="3074372"/>
                </a:cubicBezTo>
                <a:cubicBezTo>
                  <a:pt x="4651044" y="3078526"/>
                  <a:pt x="4630278" y="3082912"/>
                  <a:pt x="4609512" y="3087066"/>
                </a:cubicBezTo>
                <a:cubicBezTo>
                  <a:pt x="4605359" y="3090990"/>
                  <a:pt x="4597052" y="3091220"/>
                  <a:pt x="4592899" y="3095376"/>
                </a:cubicBezTo>
                <a:cubicBezTo>
                  <a:pt x="4381974" y="3173853"/>
                  <a:pt x="4154732" y="3256485"/>
                  <a:pt x="3923040" y="3347427"/>
                </a:cubicBezTo>
                <a:cubicBezTo>
                  <a:pt x="3915030" y="3347427"/>
                  <a:pt x="3906724" y="3355968"/>
                  <a:pt x="3902570" y="3359892"/>
                </a:cubicBezTo>
                <a:cubicBezTo>
                  <a:pt x="3902570" y="3364046"/>
                  <a:pt x="3894264" y="3372125"/>
                  <a:pt x="3885957" y="3372125"/>
                </a:cubicBezTo>
                <a:cubicBezTo>
                  <a:pt x="3832262" y="3392898"/>
                  <a:pt x="3774413" y="3413441"/>
                  <a:pt x="3720718" y="3434215"/>
                </a:cubicBezTo>
                <a:cubicBezTo>
                  <a:pt x="3712412" y="3438369"/>
                  <a:pt x="3704105" y="3442525"/>
                  <a:pt x="3695798" y="3442525"/>
                </a:cubicBezTo>
                <a:cubicBezTo>
                  <a:pt x="3679186" y="3442525"/>
                  <a:pt x="3662868" y="3442525"/>
                  <a:pt x="3642102" y="3446679"/>
                </a:cubicBezTo>
                <a:cubicBezTo>
                  <a:pt x="3637949" y="3450833"/>
                  <a:pt x="3629642" y="3454988"/>
                  <a:pt x="3629642" y="3454988"/>
                </a:cubicBezTo>
                <a:cubicBezTo>
                  <a:pt x="3629642" y="3459143"/>
                  <a:pt x="3629642" y="3459373"/>
                  <a:pt x="3637949" y="3459373"/>
                </a:cubicBezTo>
                <a:cubicBezTo>
                  <a:pt x="3642102" y="3463298"/>
                  <a:pt x="3642102" y="3467221"/>
                  <a:pt x="3633796" y="3467221"/>
                </a:cubicBezTo>
                <a:cubicBezTo>
                  <a:pt x="3625489" y="3467221"/>
                  <a:pt x="3617183" y="3467221"/>
                  <a:pt x="3613327" y="3467221"/>
                </a:cubicBezTo>
                <a:cubicBezTo>
                  <a:pt x="3609174" y="3463067"/>
                  <a:pt x="3596714" y="3463067"/>
                  <a:pt x="3592560" y="3467221"/>
                </a:cubicBezTo>
                <a:cubicBezTo>
                  <a:pt x="3423167" y="3541775"/>
                  <a:pt x="3253477" y="3620253"/>
                  <a:pt x="3075778" y="3703117"/>
                </a:cubicBezTo>
                <a:cubicBezTo>
                  <a:pt x="3067471" y="3703117"/>
                  <a:pt x="3055012" y="3707271"/>
                  <a:pt x="3047001" y="3711426"/>
                </a:cubicBezTo>
                <a:cubicBezTo>
                  <a:pt x="3022082" y="3719736"/>
                  <a:pt x="3001315" y="3731969"/>
                  <a:pt x="2980549" y="3740278"/>
                </a:cubicBezTo>
                <a:cubicBezTo>
                  <a:pt x="2972540" y="3744433"/>
                  <a:pt x="2972540" y="3748588"/>
                  <a:pt x="2980549" y="3744433"/>
                </a:cubicBezTo>
                <a:cubicBezTo>
                  <a:pt x="2993009" y="3744433"/>
                  <a:pt x="3005468" y="3744663"/>
                  <a:pt x="3017928" y="3748588"/>
                </a:cubicBezTo>
                <a:cubicBezTo>
                  <a:pt x="3026235" y="3740509"/>
                  <a:pt x="3042848" y="3736123"/>
                  <a:pt x="3051154" y="3731969"/>
                </a:cubicBezTo>
                <a:cubicBezTo>
                  <a:pt x="3137779" y="3694807"/>
                  <a:pt x="3216395" y="3661800"/>
                  <a:pt x="3299162" y="3620484"/>
                </a:cubicBezTo>
                <a:cubicBezTo>
                  <a:pt x="3311326" y="3620484"/>
                  <a:pt x="3311326" y="3620484"/>
                  <a:pt x="3303316" y="3624639"/>
                </a:cubicBezTo>
                <a:cubicBezTo>
                  <a:pt x="3286703" y="3641258"/>
                  <a:pt x="3274243" y="3649567"/>
                  <a:pt x="3261783" y="3662031"/>
                </a:cubicBezTo>
                <a:cubicBezTo>
                  <a:pt x="3253477" y="3662031"/>
                  <a:pt x="3241017" y="3669879"/>
                  <a:pt x="3232710" y="3669879"/>
                </a:cubicBezTo>
                <a:cubicBezTo>
                  <a:pt x="3146086" y="3707271"/>
                  <a:pt x="3059165" y="3748819"/>
                  <a:pt x="2968089" y="3785980"/>
                </a:cubicBezTo>
                <a:cubicBezTo>
                  <a:pt x="2955630" y="3790134"/>
                  <a:pt x="2943467" y="3794059"/>
                  <a:pt x="2935160" y="3802368"/>
                </a:cubicBezTo>
                <a:cubicBezTo>
                  <a:pt x="2860698" y="3839530"/>
                  <a:pt x="2778227" y="3881076"/>
                  <a:pt x="2699612" y="3922393"/>
                </a:cubicBezTo>
                <a:cubicBezTo>
                  <a:pt x="2691306" y="3926547"/>
                  <a:pt x="2691306" y="3930472"/>
                  <a:pt x="2695459" y="3930472"/>
                </a:cubicBezTo>
                <a:cubicBezTo>
                  <a:pt x="2703765" y="3930472"/>
                  <a:pt x="2703765" y="3934626"/>
                  <a:pt x="2695459" y="3938780"/>
                </a:cubicBezTo>
                <a:cubicBezTo>
                  <a:pt x="2108367" y="4220147"/>
                  <a:pt x="1442958" y="4538675"/>
                  <a:pt x="678166" y="4906597"/>
                </a:cubicBezTo>
                <a:cubicBezTo>
                  <a:pt x="665707" y="4910751"/>
                  <a:pt x="644940" y="4918830"/>
                  <a:pt x="632481" y="4922985"/>
                </a:cubicBezTo>
                <a:cubicBezTo>
                  <a:pt x="574631" y="4943758"/>
                  <a:pt x="504323" y="4968455"/>
                  <a:pt x="442321" y="4985074"/>
                </a:cubicBezTo>
                <a:cubicBezTo>
                  <a:pt x="525090" y="4931294"/>
                  <a:pt x="632481" y="4869205"/>
                  <a:pt x="727708" y="4819578"/>
                </a:cubicBezTo>
                <a:cubicBezTo>
                  <a:pt x="649094" y="4852816"/>
                  <a:pt x="570478" y="4881668"/>
                  <a:pt x="488006" y="4914676"/>
                </a:cubicBezTo>
                <a:cubicBezTo>
                  <a:pt x="578785" y="4860895"/>
                  <a:pt x="678166" y="4807115"/>
                  <a:pt x="773098" y="4749411"/>
                </a:cubicBezTo>
                <a:cubicBezTo>
                  <a:pt x="690626" y="4769953"/>
                  <a:pt x="632481" y="4803191"/>
                  <a:pt x="570478" y="4799036"/>
                </a:cubicBezTo>
                <a:cubicBezTo>
                  <a:pt x="607857" y="4778493"/>
                  <a:pt x="644643" y="4753565"/>
                  <a:pt x="682022" y="4737177"/>
                </a:cubicBezTo>
                <a:cubicBezTo>
                  <a:pt x="2869004" y="3698963"/>
                  <a:pt x="2869004" y="3698963"/>
                  <a:pt x="2869004" y="3698963"/>
                </a:cubicBezTo>
                <a:cubicBezTo>
                  <a:pt x="2873158" y="3694807"/>
                  <a:pt x="2889771" y="3686729"/>
                  <a:pt x="2893924" y="3682574"/>
                </a:cubicBezTo>
                <a:cubicBezTo>
                  <a:pt x="2976693" y="3624639"/>
                  <a:pt x="3050858" y="3575013"/>
                  <a:pt x="3125320" y="3525388"/>
                </a:cubicBezTo>
                <a:cubicBezTo>
                  <a:pt x="3137779" y="3521233"/>
                  <a:pt x="3141932" y="3508769"/>
                  <a:pt x="3137779" y="3508769"/>
                </a:cubicBezTo>
                <a:cubicBezTo>
                  <a:pt x="3125320" y="3508769"/>
                  <a:pt x="3117013" y="3508769"/>
                  <a:pt x="3108706" y="3512923"/>
                </a:cubicBezTo>
                <a:cubicBezTo>
                  <a:pt x="2984702" y="3575013"/>
                  <a:pt x="2856545" y="3632717"/>
                  <a:pt x="2720081" y="3698963"/>
                </a:cubicBezTo>
                <a:cubicBezTo>
                  <a:pt x="2711775" y="3703117"/>
                  <a:pt x="2699612" y="3707271"/>
                  <a:pt x="2691306" y="3707271"/>
                </a:cubicBezTo>
                <a:cubicBezTo>
                  <a:pt x="2682999" y="3707271"/>
                  <a:pt x="2670539" y="3711426"/>
                  <a:pt x="2662233" y="3715581"/>
                </a:cubicBezTo>
                <a:cubicBezTo>
                  <a:pt x="2434991" y="3827296"/>
                  <a:pt x="2199145" y="3938780"/>
                  <a:pt x="1955290" y="4062730"/>
                </a:cubicBezTo>
                <a:cubicBezTo>
                  <a:pt x="1946983" y="4066884"/>
                  <a:pt x="1930370" y="4075424"/>
                  <a:pt x="1917911" y="4079579"/>
                </a:cubicBezTo>
                <a:cubicBezTo>
                  <a:pt x="1591584" y="4215992"/>
                  <a:pt x="1232031" y="4364638"/>
                  <a:pt x="851712" y="4521825"/>
                </a:cubicBezTo>
                <a:cubicBezTo>
                  <a:pt x="843406" y="4530134"/>
                  <a:pt x="818486" y="4538675"/>
                  <a:pt x="810180" y="4542829"/>
                </a:cubicBezTo>
                <a:cubicBezTo>
                  <a:pt x="760638" y="4559217"/>
                  <a:pt x="711095" y="4575605"/>
                  <a:pt x="665707" y="4592224"/>
                </a:cubicBezTo>
                <a:cubicBezTo>
                  <a:pt x="649094" y="4596379"/>
                  <a:pt x="636634" y="4600534"/>
                  <a:pt x="636634" y="4596379"/>
                </a:cubicBezTo>
                <a:cubicBezTo>
                  <a:pt x="632481" y="4596379"/>
                  <a:pt x="665707" y="4575836"/>
                  <a:pt x="669860" y="4567527"/>
                </a:cubicBezTo>
                <a:cubicBezTo>
                  <a:pt x="678166" y="4563371"/>
                  <a:pt x="673716" y="4559217"/>
                  <a:pt x="657103" y="4563371"/>
                </a:cubicBezTo>
                <a:cubicBezTo>
                  <a:pt x="632481" y="4571681"/>
                  <a:pt x="603704" y="4579760"/>
                  <a:pt x="578785" y="4588069"/>
                </a:cubicBezTo>
                <a:cubicBezTo>
                  <a:pt x="562172" y="4592224"/>
                  <a:pt x="570775" y="4571681"/>
                  <a:pt x="582938" y="4563371"/>
                </a:cubicBezTo>
                <a:cubicBezTo>
                  <a:pt x="595398" y="4555063"/>
                  <a:pt x="607857" y="4551138"/>
                  <a:pt x="612011" y="4551138"/>
                </a:cubicBezTo>
                <a:cubicBezTo>
                  <a:pt x="612011" y="4551138"/>
                  <a:pt x="612011" y="4546753"/>
                  <a:pt x="607857" y="4538675"/>
                </a:cubicBezTo>
                <a:cubicBezTo>
                  <a:pt x="599551" y="4534519"/>
                  <a:pt x="632481" y="4517900"/>
                  <a:pt x="632481" y="4517900"/>
                </a:cubicBezTo>
                <a:cubicBezTo>
                  <a:pt x="620021" y="4513977"/>
                  <a:pt x="570478" y="4513746"/>
                  <a:pt x="574631" y="4509592"/>
                </a:cubicBezTo>
                <a:cubicBezTo>
                  <a:pt x="574631" y="4501282"/>
                  <a:pt x="587091" y="4489048"/>
                  <a:pt x="595101" y="4480740"/>
                </a:cubicBezTo>
                <a:cubicBezTo>
                  <a:pt x="595101" y="4480740"/>
                  <a:pt x="595101" y="4480740"/>
                  <a:pt x="595101" y="4476585"/>
                </a:cubicBezTo>
                <a:cubicBezTo>
                  <a:pt x="607561" y="4468275"/>
                  <a:pt x="603408" y="4464121"/>
                  <a:pt x="590948" y="4468275"/>
                </a:cubicBezTo>
                <a:cubicBezTo>
                  <a:pt x="541405" y="4480740"/>
                  <a:pt x="491864" y="4492973"/>
                  <a:pt x="446474" y="4505437"/>
                </a:cubicBezTo>
                <a:cubicBezTo>
                  <a:pt x="463087" y="4472430"/>
                  <a:pt x="516783" y="4402262"/>
                  <a:pt x="570478" y="4385642"/>
                </a:cubicBezTo>
                <a:cubicBezTo>
                  <a:pt x="541703" y="4393952"/>
                  <a:pt x="504323" y="4406416"/>
                  <a:pt x="475547" y="4418650"/>
                </a:cubicBezTo>
                <a:cubicBezTo>
                  <a:pt x="516783" y="4389798"/>
                  <a:pt x="570478" y="4364869"/>
                  <a:pt x="612011" y="4335786"/>
                </a:cubicBezTo>
                <a:cubicBezTo>
                  <a:pt x="574631" y="4335786"/>
                  <a:pt x="533396" y="4348250"/>
                  <a:pt x="488006" y="4360714"/>
                </a:cubicBezTo>
                <a:cubicBezTo>
                  <a:pt x="475547" y="4368793"/>
                  <a:pt x="475547" y="4364638"/>
                  <a:pt x="488006" y="4356329"/>
                </a:cubicBezTo>
                <a:cubicBezTo>
                  <a:pt x="516783" y="4335786"/>
                  <a:pt x="545856" y="4319398"/>
                  <a:pt x="578785" y="4298625"/>
                </a:cubicBezTo>
                <a:cubicBezTo>
                  <a:pt x="591244" y="4286160"/>
                  <a:pt x="615868" y="4278081"/>
                  <a:pt x="624174" y="4269773"/>
                </a:cubicBezTo>
                <a:cubicBezTo>
                  <a:pt x="1070648" y="4067115"/>
                  <a:pt x="1480040" y="3876691"/>
                  <a:pt x="1860359" y="3703117"/>
                </a:cubicBezTo>
                <a:cubicBezTo>
                  <a:pt x="1421894" y="3868382"/>
                  <a:pt x="938337" y="4046341"/>
                  <a:pt x="413545" y="4240689"/>
                </a:cubicBezTo>
                <a:cubicBezTo>
                  <a:pt x="438167" y="4228456"/>
                  <a:pt x="463087" y="4215992"/>
                  <a:pt x="488006" y="4199373"/>
                </a:cubicBezTo>
                <a:cubicBezTo>
                  <a:pt x="504619" y="4195218"/>
                  <a:pt x="500466" y="4191064"/>
                  <a:pt x="488006" y="4195218"/>
                </a:cubicBezTo>
                <a:cubicBezTo>
                  <a:pt x="450627" y="4207683"/>
                  <a:pt x="169690" y="4253154"/>
                  <a:pt x="173843" y="4245075"/>
                </a:cubicBezTo>
                <a:cubicBezTo>
                  <a:pt x="173843" y="4236766"/>
                  <a:pt x="219233" y="4211837"/>
                  <a:pt x="227540" y="4203528"/>
                </a:cubicBezTo>
                <a:cubicBezTo>
                  <a:pt x="210927" y="4203528"/>
                  <a:pt x="152781" y="4211837"/>
                  <a:pt x="144475" y="4207683"/>
                </a:cubicBezTo>
                <a:cubicBezTo>
                  <a:pt x="186007" y="4145593"/>
                  <a:pt x="231692" y="4096198"/>
                  <a:pt x="322470" y="4050727"/>
                </a:cubicBezTo>
                <a:cubicBezTo>
                  <a:pt x="285388" y="4046572"/>
                  <a:pt x="243855" y="4054651"/>
                  <a:pt x="186007" y="4062730"/>
                </a:cubicBezTo>
                <a:cubicBezTo>
                  <a:pt x="181853" y="4058806"/>
                  <a:pt x="235549" y="4038032"/>
                  <a:pt x="214783" y="4038032"/>
                </a:cubicBezTo>
                <a:cubicBezTo>
                  <a:pt x="124004" y="4071270"/>
                  <a:pt x="53696" y="4079579"/>
                  <a:pt x="0" y="4050727"/>
                </a:cubicBezTo>
                <a:cubicBezTo>
                  <a:pt x="20766" y="4029953"/>
                  <a:pt x="74461" y="4005256"/>
                  <a:pt x="86625" y="3988637"/>
                </a:cubicBezTo>
                <a:cubicBezTo>
                  <a:pt x="86625" y="3984482"/>
                  <a:pt x="99085" y="3980328"/>
                  <a:pt x="111545" y="3976174"/>
                </a:cubicBezTo>
                <a:cubicBezTo>
                  <a:pt x="119851" y="3976174"/>
                  <a:pt x="128158" y="3967864"/>
                  <a:pt x="124004" y="3967864"/>
                </a:cubicBezTo>
                <a:cubicBezTo>
                  <a:pt x="124004" y="3959555"/>
                  <a:pt x="132311" y="3951245"/>
                  <a:pt x="148627" y="3942936"/>
                </a:cubicBezTo>
                <a:cubicBezTo>
                  <a:pt x="173546" y="3930703"/>
                  <a:pt x="198466" y="3922393"/>
                  <a:pt x="231692" y="3909928"/>
                </a:cubicBezTo>
                <a:cubicBezTo>
                  <a:pt x="235846" y="3909928"/>
                  <a:pt x="235846" y="3909928"/>
                  <a:pt x="235846" y="3909928"/>
                </a:cubicBezTo>
                <a:cubicBezTo>
                  <a:pt x="231692" y="3909928"/>
                  <a:pt x="215079" y="3922162"/>
                  <a:pt x="218936" y="3926317"/>
                </a:cubicBezTo>
                <a:cubicBezTo>
                  <a:pt x="231396" y="3930472"/>
                  <a:pt x="248009" y="3926547"/>
                  <a:pt x="256315" y="3922393"/>
                </a:cubicBezTo>
                <a:cubicBezTo>
                  <a:pt x="260468" y="3922393"/>
                  <a:pt x="268478" y="3914084"/>
                  <a:pt x="272631" y="3909928"/>
                </a:cubicBezTo>
                <a:cubicBezTo>
                  <a:pt x="276784" y="3905774"/>
                  <a:pt x="293397" y="3901619"/>
                  <a:pt x="301704" y="3901619"/>
                </a:cubicBezTo>
                <a:cubicBezTo>
                  <a:pt x="305857" y="3901619"/>
                  <a:pt x="343236" y="3885232"/>
                  <a:pt x="359849" y="3881076"/>
                </a:cubicBezTo>
                <a:cubicBezTo>
                  <a:pt x="372309" y="3876922"/>
                  <a:pt x="359553" y="3872767"/>
                  <a:pt x="342940" y="3876922"/>
                </a:cubicBezTo>
                <a:cubicBezTo>
                  <a:pt x="334930" y="3885232"/>
                  <a:pt x="330776" y="3876691"/>
                  <a:pt x="342940" y="3868613"/>
                </a:cubicBezTo>
                <a:cubicBezTo>
                  <a:pt x="380319" y="3839530"/>
                  <a:pt x="413545" y="3810678"/>
                  <a:pt x="446474" y="3777671"/>
                </a:cubicBezTo>
                <a:cubicBezTo>
                  <a:pt x="458934" y="3769361"/>
                  <a:pt x="479404" y="3756897"/>
                  <a:pt x="491864" y="3752973"/>
                </a:cubicBezTo>
                <a:cubicBezTo>
                  <a:pt x="541405" y="3736355"/>
                  <a:pt x="587091" y="3715350"/>
                  <a:pt x="632481" y="3698963"/>
                </a:cubicBezTo>
                <a:cubicBezTo>
                  <a:pt x="649094" y="3694807"/>
                  <a:pt x="665707" y="3682343"/>
                  <a:pt x="678166" y="3674265"/>
                </a:cubicBezTo>
                <a:cubicBezTo>
                  <a:pt x="740168" y="3632717"/>
                  <a:pt x="793567" y="3595787"/>
                  <a:pt x="851712" y="3554240"/>
                </a:cubicBezTo>
                <a:cubicBezTo>
                  <a:pt x="863876" y="3550316"/>
                  <a:pt x="884938" y="3541775"/>
                  <a:pt x="901255" y="3537621"/>
                </a:cubicBezTo>
                <a:cubicBezTo>
                  <a:pt x="901255" y="3537621"/>
                  <a:pt x="900958" y="3537621"/>
                  <a:pt x="905111" y="3533467"/>
                </a:cubicBezTo>
                <a:cubicBezTo>
                  <a:pt x="917571" y="3533467"/>
                  <a:pt x="938337" y="3525388"/>
                  <a:pt x="946644" y="3517078"/>
                </a:cubicBezTo>
                <a:cubicBezTo>
                  <a:pt x="1058188" y="3450833"/>
                  <a:pt x="1173886" y="3388975"/>
                  <a:pt x="1294034" y="3331039"/>
                </a:cubicBezTo>
                <a:cubicBezTo>
                  <a:pt x="963257" y="3438600"/>
                  <a:pt x="615868" y="3533696"/>
                  <a:pt x="239702" y="3645182"/>
                </a:cubicBezTo>
                <a:cubicBezTo>
                  <a:pt x="227242" y="3649336"/>
                  <a:pt x="227242" y="3649336"/>
                  <a:pt x="239702" y="3641027"/>
                </a:cubicBezTo>
                <a:cubicBezTo>
                  <a:pt x="748178" y="3475762"/>
                  <a:pt x="1203256" y="3281414"/>
                  <a:pt x="1628963" y="3132537"/>
                </a:cubicBezTo>
                <a:cubicBezTo>
                  <a:pt x="1612350" y="3153310"/>
                  <a:pt x="1587728" y="3182162"/>
                  <a:pt x="1566962" y="3198781"/>
                </a:cubicBezTo>
                <a:cubicBezTo>
                  <a:pt x="1728048" y="3169699"/>
                  <a:pt x="1930668" y="3049674"/>
                  <a:pt x="2071284" y="2975120"/>
                </a:cubicBezTo>
                <a:cubicBezTo>
                  <a:pt x="2042211" y="2983430"/>
                  <a:pt x="2005129" y="2975351"/>
                  <a:pt x="1963596" y="2991970"/>
                </a:cubicBezTo>
                <a:cubicBezTo>
                  <a:pt x="1992669" y="2971196"/>
                  <a:pt x="2021445" y="2954578"/>
                  <a:pt x="2054671" y="2942113"/>
                </a:cubicBezTo>
                <a:cubicBezTo>
                  <a:pt x="1963596" y="2983430"/>
                  <a:pt x="1884982" y="3004434"/>
                  <a:pt x="1864512" y="2929880"/>
                </a:cubicBezTo>
                <a:cubicBezTo>
                  <a:pt x="1880829" y="2917416"/>
                  <a:pt x="1897738" y="2904951"/>
                  <a:pt x="1914055" y="2892718"/>
                </a:cubicBezTo>
                <a:cubicBezTo>
                  <a:pt x="1819123" y="2838938"/>
                  <a:pt x="1558358" y="2892488"/>
                  <a:pt x="1418038" y="2942113"/>
                </a:cubicBezTo>
                <a:cubicBezTo>
                  <a:pt x="1450967" y="2925494"/>
                  <a:pt x="1488050" y="2900797"/>
                  <a:pt x="1512970" y="2884178"/>
                </a:cubicBezTo>
                <a:cubicBezTo>
                  <a:pt x="1459273" y="2904951"/>
                  <a:pt x="1393119" y="2917647"/>
                  <a:pt x="1339422" y="2938189"/>
                </a:cubicBezTo>
                <a:cubicBezTo>
                  <a:pt x="1413885" y="2888563"/>
                  <a:pt x="1500806" y="2830628"/>
                  <a:pt x="1562809" y="2772924"/>
                </a:cubicBezTo>
                <a:cubicBezTo>
                  <a:pt x="1459571" y="2822550"/>
                  <a:pt x="1347729" y="2867790"/>
                  <a:pt x="1232031" y="2859480"/>
                </a:cubicBezTo>
                <a:cubicBezTo>
                  <a:pt x="1372352" y="2764384"/>
                  <a:pt x="1616504" y="2723067"/>
                  <a:pt x="1781744" y="2673442"/>
                </a:cubicBezTo>
                <a:cubicBezTo>
                  <a:pt x="1674353" y="2698371"/>
                  <a:pt x="1554205" y="2722836"/>
                  <a:pt x="1446814" y="2743611"/>
                </a:cubicBezTo>
                <a:cubicBezTo>
                  <a:pt x="1579124" y="2702294"/>
                  <a:pt x="1715588" y="2660978"/>
                  <a:pt x="1843746" y="2615507"/>
                </a:cubicBezTo>
                <a:cubicBezTo>
                  <a:pt x="1852052" y="2615507"/>
                  <a:pt x="1880829" y="2607429"/>
                  <a:pt x="1889135" y="2603273"/>
                </a:cubicBezTo>
                <a:cubicBezTo>
                  <a:pt x="1897442" y="2599119"/>
                  <a:pt x="1905748" y="2594734"/>
                  <a:pt x="1909901" y="2590579"/>
                </a:cubicBezTo>
                <a:cubicBezTo>
                  <a:pt x="1914055" y="2586655"/>
                  <a:pt x="1905748" y="2586655"/>
                  <a:pt x="1893288" y="2590579"/>
                </a:cubicBezTo>
                <a:cubicBezTo>
                  <a:pt x="1839592" y="2598888"/>
                  <a:pt x="1785897" y="2603042"/>
                  <a:pt x="1727752" y="2611121"/>
                </a:cubicBezTo>
                <a:cubicBezTo>
                  <a:pt x="1715588" y="2615276"/>
                  <a:pt x="1703426" y="2627971"/>
                  <a:pt x="1695119" y="2627971"/>
                </a:cubicBezTo>
                <a:cubicBezTo>
                  <a:pt x="1686813" y="2632126"/>
                  <a:pt x="1674056" y="2636280"/>
                  <a:pt x="1665749" y="2632126"/>
                </a:cubicBezTo>
                <a:cubicBezTo>
                  <a:pt x="1657740" y="2632126"/>
                  <a:pt x="1661893" y="2627971"/>
                  <a:pt x="1670200" y="2623817"/>
                </a:cubicBezTo>
                <a:cubicBezTo>
                  <a:pt x="1674056" y="2619661"/>
                  <a:pt x="1682659" y="2615276"/>
                  <a:pt x="1686813" y="2611121"/>
                </a:cubicBezTo>
                <a:cubicBezTo>
                  <a:pt x="1695119" y="2603042"/>
                  <a:pt x="1695119" y="2599119"/>
                  <a:pt x="1682659" y="2603273"/>
                </a:cubicBezTo>
                <a:cubicBezTo>
                  <a:pt x="1678506" y="2603273"/>
                  <a:pt x="1674056" y="2603273"/>
                  <a:pt x="1670200" y="2603273"/>
                </a:cubicBezTo>
                <a:cubicBezTo>
                  <a:pt x="1657740" y="2603273"/>
                  <a:pt x="1657740" y="2598888"/>
                  <a:pt x="1665749" y="2590579"/>
                </a:cubicBezTo>
                <a:cubicBezTo>
                  <a:pt x="1719741" y="2565881"/>
                  <a:pt x="1773438" y="2540953"/>
                  <a:pt x="1822979" y="2516256"/>
                </a:cubicBezTo>
                <a:cubicBezTo>
                  <a:pt x="1831286" y="2507946"/>
                  <a:pt x="1843746" y="2499867"/>
                  <a:pt x="1856205" y="2499867"/>
                </a:cubicBezTo>
                <a:cubicBezTo>
                  <a:pt x="1864216" y="2495713"/>
                  <a:pt x="1860359" y="2479094"/>
                  <a:pt x="1860359" y="2474940"/>
                </a:cubicBezTo>
                <a:cubicBezTo>
                  <a:pt x="1752671" y="2495713"/>
                  <a:pt x="1752967" y="2495482"/>
                  <a:pt x="1752967" y="2495482"/>
                </a:cubicBezTo>
                <a:cubicBezTo>
                  <a:pt x="1740508" y="2499637"/>
                  <a:pt x="1728048" y="2507946"/>
                  <a:pt x="1715588" y="2516256"/>
                </a:cubicBezTo>
                <a:cubicBezTo>
                  <a:pt x="1690966" y="2528489"/>
                  <a:pt x="1666046" y="2536798"/>
                  <a:pt x="1641127" y="2549263"/>
                </a:cubicBezTo>
                <a:cubicBezTo>
                  <a:pt x="1628667" y="2553417"/>
                  <a:pt x="1624810" y="2545338"/>
                  <a:pt x="1628963" y="2537029"/>
                </a:cubicBezTo>
                <a:cubicBezTo>
                  <a:pt x="1645576" y="2520410"/>
                  <a:pt x="1661893" y="2507946"/>
                  <a:pt x="1678506" y="2491327"/>
                </a:cubicBezTo>
                <a:cubicBezTo>
                  <a:pt x="1682659" y="2479094"/>
                  <a:pt x="1674353" y="2471015"/>
                  <a:pt x="1661893" y="2474940"/>
                </a:cubicBezTo>
                <a:cubicBezTo>
                  <a:pt x="1612350" y="2499867"/>
                  <a:pt x="1554502" y="2516256"/>
                  <a:pt x="1504959" y="2537029"/>
                </a:cubicBezTo>
                <a:cubicBezTo>
                  <a:pt x="1529879" y="2508177"/>
                  <a:pt x="1558655" y="2478863"/>
                  <a:pt x="1587431" y="2450011"/>
                </a:cubicBezTo>
                <a:cubicBezTo>
                  <a:pt x="1599891" y="2445856"/>
                  <a:pt x="1595737" y="2441702"/>
                  <a:pt x="1587431" y="2445856"/>
                </a:cubicBezTo>
                <a:cubicBezTo>
                  <a:pt x="1161723" y="2598888"/>
                  <a:pt x="706942" y="2764153"/>
                  <a:pt x="214783" y="2942113"/>
                </a:cubicBezTo>
                <a:cubicBezTo>
                  <a:pt x="198466" y="2946268"/>
                  <a:pt x="177997" y="2946499"/>
                  <a:pt x="173843" y="2938189"/>
                </a:cubicBezTo>
                <a:cubicBezTo>
                  <a:pt x="165537" y="2934034"/>
                  <a:pt x="169394" y="2925726"/>
                  <a:pt x="181853" y="2921570"/>
                </a:cubicBezTo>
                <a:cubicBezTo>
                  <a:pt x="210629" y="2900797"/>
                  <a:pt x="235549" y="2880255"/>
                  <a:pt x="256315" y="2859480"/>
                </a:cubicBezTo>
                <a:cubicBezTo>
                  <a:pt x="272928" y="2851171"/>
                  <a:pt x="268775" y="2851171"/>
                  <a:pt x="256315" y="2855326"/>
                </a:cubicBezTo>
                <a:cubicBezTo>
                  <a:pt x="190159" y="2876099"/>
                  <a:pt x="128158" y="2896642"/>
                  <a:pt x="66155" y="2913261"/>
                </a:cubicBezTo>
                <a:cubicBezTo>
                  <a:pt x="53696" y="2921340"/>
                  <a:pt x="41235" y="2921340"/>
                  <a:pt x="33226" y="2913261"/>
                </a:cubicBezTo>
                <a:cubicBezTo>
                  <a:pt x="24920" y="2909107"/>
                  <a:pt x="24623" y="2905182"/>
                  <a:pt x="24623" y="2905182"/>
                </a:cubicBezTo>
                <a:cubicBezTo>
                  <a:pt x="37083" y="2896873"/>
                  <a:pt x="49542" y="2884178"/>
                  <a:pt x="66155" y="2875869"/>
                </a:cubicBezTo>
                <a:cubicBezTo>
                  <a:pt x="529243" y="2689830"/>
                  <a:pt x="1045728" y="2582500"/>
                  <a:pt x="1413588" y="2375688"/>
                </a:cubicBezTo>
                <a:cubicBezTo>
                  <a:pt x="1413588" y="2367610"/>
                  <a:pt x="1405578" y="2359069"/>
                  <a:pt x="1401425" y="2354914"/>
                </a:cubicBezTo>
                <a:cubicBezTo>
                  <a:pt x="1103874" y="2400385"/>
                  <a:pt x="711095" y="2574190"/>
                  <a:pt x="384472" y="2694215"/>
                </a:cubicBezTo>
                <a:cubicBezTo>
                  <a:pt x="380319" y="2698140"/>
                  <a:pt x="326623" y="2681521"/>
                  <a:pt x="330776" y="2677365"/>
                </a:cubicBezTo>
                <a:cubicBezTo>
                  <a:pt x="347389" y="2660747"/>
                  <a:pt x="372309" y="2636050"/>
                  <a:pt x="392779" y="2619661"/>
                </a:cubicBezTo>
                <a:cubicBezTo>
                  <a:pt x="260468" y="2656823"/>
                  <a:pt x="136464" y="2702294"/>
                  <a:pt x="12460" y="2751920"/>
                </a:cubicBezTo>
                <a:cubicBezTo>
                  <a:pt x="132311" y="2698140"/>
                  <a:pt x="256315" y="2644359"/>
                  <a:pt x="380319" y="2590579"/>
                </a:cubicBezTo>
                <a:cubicBezTo>
                  <a:pt x="343236" y="2598888"/>
                  <a:pt x="314163" y="2607429"/>
                  <a:pt x="280937" y="2607429"/>
                </a:cubicBezTo>
                <a:cubicBezTo>
                  <a:pt x="330776" y="2586655"/>
                  <a:pt x="392779" y="2553648"/>
                  <a:pt x="434014" y="2537029"/>
                </a:cubicBezTo>
                <a:cubicBezTo>
                  <a:pt x="421554" y="2532875"/>
                  <a:pt x="380319" y="2524565"/>
                  <a:pt x="359849" y="2520410"/>
                </a:cubicBezTo>
                <a:cubicBezTo>
                  <a:pt x="649094" y="2417004"/>
                  <a:pt x="930328" y="2317753"/>
                  <a:pt x="1186643" y="2230966"/>
                </a:cubicBezTo>
                <a:cubicBezTo>
                  <a:pt x="1190796" y="2230966"/>
                  <a:pt x="1190499" y="2230966"/>
                  <a:pt x="1190499" y="2230966"/>
                </a:cubicBezTo>
                <a:cubicBezTo>
                  <a:pt x="1202959" y="2226812"/>
                  <a:pt x="1207112" y="2214347"/>
                  <a:pt x="1202959" y="2206268"/>
                </a:cubicBezTo>
                <a:cubicBezTo>
                  <a:pt x="1198805" y="2193804"/>
                  <a:pt x="1190796" y="2176955"/>
                  <a:pt x="1186643" y="2156412"/>
                </a:cubicBezTo>
                <a:cubicBezTo>
                  <a:pt x="1182490" y="2148103"/>
                  <a:pt x="1169733" y="2144179"/>
                  <a:pt x="1157273" y="2148333"/>
                </a:cubicBezTo>
                <a:cubicBezTo>
                  <a:pt x="1029115" y="2181341"/>
                  <a:pt x="905409" y="2210193"/>
                  <a:pt x="764791" y="2239275"/>
                </a:cubicBezTo>
                <a:cubicBezTo>
                  <a:pt x="773098" y="2230966"/>
                  <a:pt x="785558" y="2222656"/>
                  <a:pt x="793864" y="2210423"/>
                </a:cubicBezTo>
                <a:cubicBezTo>
                  <a:pt x="806027" y="2206268"/>
                  <a:pt x="801873" y="2197728"/>
                  <a:pt x="789711" y="2197728"/>
                </a:cubicBezTo>
                <a:cubicBezTo>
                  <a:pt x="777251" y="2197728"/>
                  <a:pt x="768945" y="2193574"/>
                  <a:pt x="768945" y="2193574"/>
                </a:cubicBezTo>
                <a:cubicBezTo>
                  <a:pt x="768945" y="2189418"/>
                  <a:pt x="760934" y="2193574"/>
                  <a:pt x="744321" y="2197728"/>
                </a:cubicBezTo>
                <a:cubicBezTo>
                  <a:pt x="727708" y="2189650"/>
                  <a:pt x="702789" y="2181341"/>
                  <a:pt x="686176" y="2173031"/>
                </a:cubicBezTo>
                <a:cubicBezTo>
                  <a:pt x="669563" y="2173031"/>
                  <a:pt x="665707" y="2168876"/>
                  <a:pt x="678166" y="2156412"/>
                </a:cubicBezTo>
                <a:cubicBezTo>
                  <a:pt x="694779" y="2139793"/>
                  <a:pt x="715248" y="2123405"/>
                  <a:pt x="736015" y="2102632"/>
                </a:cubicBezTo>
                <a:cubicBezTo>
                  <a:pt x="744321" y="2094553"/>
                  <a:pt x="735719" y="2090168"/>
                  <a:pt x="723555" y="2090168"/>
                </a:cubicBezTo>
                <a:cubicBezTo>
                  <a:pt x="587091" y="2119251"/>
                  <a:pt x="450331" y="2144179"/>
                  <a:pt x="301704" y="2173031"/>
                </a:cubicBezTo>
                <a:cubicBezTo>
                  <a:pt x="289244" y="2177185"/>
                  <a:pt x="285091" y="2177185"/>
                  <a:pt x="301704" y="2168876"/>
                </a:cubicBezTo>
                <a:cubicBezTo>
                  <a:pt x="404941" y="2119251"/>
                  <a:pt x="504323" y="2073780"/>
                  <a:pt x="599551" y="2028309"/>
                </a:cubicBezTo>
                <a:cubicBezTo>
                  <a:pt x="611714" y="2024154"/>
                  <a:pt x="611714" y="2023924"/>
                  <a:pt x="599551" y="2023924"/>
                </a:cubicBezTo>
                <a:cubicBezTo>
                  <a:pt x="582938" y="2015845"/>
                  <a:pt x="566325" y="2007535"/>
                  <a:pt x="545856" y="1990916"/>
                </a:cubicBezTo>
                <a:cubicBezTo>
                  <a:pt x="533396" y="1990916"/>
                  <a:pt x="533396" y="1986993"/>
                  <a:pt x="545856" y="1982838"/>
                </a:cubicBezTo>
                <a:cubicBezTo>
                  <a:pt x="785558" y="1904360"/>
                  <a:pt x="1016953" y="1821497"/>
                  <a:pt x="1232031" y="1747174"/>
                </a:cubicBezTo>
                <a:cubicBezTo>
                  <a:pt x="1248348" y="1743019"/>
                  <a:pt x="1248348" y="1738865"/>
                  <a:pt x="1232031" y="1738865"/>
                </a:cubicBezTo>
                <a:cubicBezTo>
                  <a:pt x="1227878" y="1738865"/>
                  <a:pt x="1223429" y="1738865"/>
                  <a:pt x="1223429" y="1738865"/>
                </a:cubicBezTo>
                <a:cubicBezTo>
                  <a:pt x="1207112" y="1738865"/>
                  <a:pt x="1207409" y="1738865"/>
                  <a:pt x="1219572" y="1734709"/>
                </a:cubicBezTo>
                <a:cubicBezTo>
                  <a:pt x="1273564" y="1709782"/>
                  <a:pt x="1323107" y="1684853"/>
                  <a:pt x="1372648" y="1656001"/>
                </a:cubicBezTo>
                <a:cubicBezTo>
                  <a:pt x="1385108" y="1651846"/>
                  <a:pt x="1397568" y="1639382"/>
                  <a:pt x="1405578" y="1631073"/>
                </a:cubicBezTo>
                <a:cubicBezTo>
                  <a:pt x="1418038" y="1627148"/>
                  <a:pt x="1413885" y="1618609"/>
                  <a:pt x="1397272" y="1622763"/>
                </a:cubicBezTo>
                <a:cubicBezTo>
                  <a:pt x="1215418" y="1643536"/>
                  <a:pt x="1033269" y="1672388"/>
                  <a:pt x="843110" y="1693163"/>
                </a:cubicBezTo>
                <a:cubicBezTo>
                  <a:pt x="1045728" y="1622763"/>
                  <a:pt x="1248644" y="1556750"/>
                  <a:pt x="1438804" y="1490505"/>
                </a:cubicBezTo>
                <a:cubicBezTo>
                  <a:pt x="1211265" y="1527667"/>
                  <a:pt x="979870" y="1560904"/>
                  <a:pt x="731861" y="1593911"/>
                </a:cubicBezTo>
                <a:cubicBezTo>
                  <a:pt x="814333" y="1560904"/>
                  <a:pt x="901255" y="1531821"/>
                  <a:pt x="984023" y="1494660"/>
                </a:cubicBezTo>
                <a:cubicBezTo>
                  <a:pt x="996187" y="1490505"/>
                  <a:pt x="1004493" y="1482427"/>
                  <a:pt x="1000340" y="1469962"/>
                </a:cubicBezTo>
                <a:cubicBezTo>
                  <a:pt x="979574" y="1469962"/>
                  <a:pt x="955248" y="1465808"/>
                  <a:pt x="934481" y="1461652"/>
                </a:cubicBezTo>
                <a:cubicBezTo>
                  <a:pt x="938635" y="1453344"/>
                  <a:pt x="938337" y="1424491"/>
                  <a:pt x="946644" y="1416182"/>
                </a:cubicBezTo>
                <a:cubicBezTo>
                  <a:pt x="954950" y="1412258"/>
                  <a:pt x="942491" y="1407873"/>
                  <a:pt x="938337" y="1407873"/>
                </a:cubicBezTo>
                <a:cubicBezTo>
                  <a:pt x="930031" y="1412027"/>
                  <a:pt x="930328" y="1399794"/>
                  <a:pt x="930328" y="1391485"/>
                </a:cubicBezTo>
                <a:cubicBezTo>
                  <a:pt x="926175" y="1387329"/>
                  <a:pt x="913715" y="1383175"/>
                  <a:pt x="897102" y="1383175"/>
                </a:cubicBezTo>
                <a:cubicBezTo>
                  <a:pt x="880785" y="1383175"/>
                  <a:pt x="872479" y="1387329"/>
                  <a:pt x="864172" y="1387329"/>
                </a:cubicBezTo>
                <a:cubicBezTo>
                  <a:pt x="847559" y="1387329"/>
                  <a:pt x="847559" y="1383175"/>
                  <a:pt x="860019" y="1379021"/>
                </a:cubicBezTo>
                <a:cubicBezTo>
                  <a:pt x="996483" y="1316931"/>
                  <a:pt x="1124344" y="1258995"/>
                  <a:pt x="1252501" y="1201060"/>
                </a:cubicBezTo>
                <a:cubicBezTo>
                  <a:pt x="1264961" y="1196906"/>
                  <a:pt x="1261104" y="1192982"/>
                  <a:pt x="1248644" y="1192982"/>
                </a:cubicBezTo>
                <a:cubicBezTo>
                  <a:pt x="1227878" y="1192982"/>
                  <a:pt x="1207112" y="1192982"/>
                  <a:pt x="1190499" y="1192982"/>
                </a:cubicBezTo>
                <a:cubicBezTo>
                  <a:pt x="1173886" y="1192982"/>
                  <a:pt x="1170030" y="1188827"/>
                  <a:pt x="1178336" y="1180518"/>
                </a:cubicBezTo>
                <a:cubicBezTo>
                  <a:pt x="1186643" y="1155589"/>
                  <a:pt x="1194652" y="1139201"/>
                  <a:pt x="1202959" y="1118428"/>
                </a:cubicBezTo>
                <a:cubicBezTo>
                  <a:pt x="1211265" y="1110349"/>
                  <a:pt x="1207112" y="1105964"/>
                  <a:pt x="1194652" y="1110118"/>
                </a:cubicBezTo>
                <a:cubicBezTo>
                  <a:pt x="1169733" y="1114274"/>
                  <a:pt x="1145110" y="1122814"/>
                  <a:pt x="1120487" y="1126968"/>
                </a:cubicBezTo>
                <a:cubicBezTo>
                  <a:pt x="1108027" y="1126968"/>
                  <a:pt x="1099721" y="1122583"/>
                  <a:pt x="1103874" y="1114274"/>
                </a:cubicBezTo>
                <a:cubicBezTo>
                  <a:pt x="1091414" y="1105964"/>
                  <a:pt x="1078954" y="1097885"/>
                  <a:pt x="1062341" y="1085422"/>
                </a:cubicBezTo>
                <a:cubicBezTo>
                  <a:pt x="1058188" y="1077112"/>
                  <a:pt x="1041872" y="1072957"/>
                  <a:pt x="1029413" y="1081266"/>
                </a:cubicBezTo>
                <a:cubicBezTo>
                  <a:pt x="632777" y="1221835"/>
                  <a:pt x="248009" y="1395408"/>
                  <a:pt x="496017" y="940468"/>
                </a:cubicBezTo>
                <a:cubicBezTo>
                  <a:pt x="500170" y="936313"/>
                  <a:pt x="516783" y="911616"/>
                  <a:pt x="516783" y="911616"/>
                </a:cubicBezTo>
                <a:cubicBezTo>
                  <a:pt x="492160" y="911616"/>
                  <a:pt x="471393" y="907461"/>
                  <a:pt x="446474" y="907461"/>
                </a:cubicBezTo>
                <a:cubicBezTo>
                  <a:pt x="442321" y="915771"/>
                  <a:pt x="434014" y="915771"/>
                  <a:pt x="434014" y="903307"/>
                </a:cubicBezTo>
                <a:cubicBezTo>
                  <a:pt x="446474" y="894997"/>
                  <a:pt x="458934" y="882764"/>
                  <a:pt x="471097" y="874455"/>
                </a:cubicBezTo>
                <a:cubicBezTo>
                  <a:pt x="479404" y="866145"/>
                  <a:pt x="496017" y="845372"/>
                  <a:pt x="500170" y="837062"/>
                </a:cubicBezTo>
                <a:cubicBezTo>
                  <a:pt x="471097" y="795746"/>
                  <a:pt x="442321" y="758584"/>
                  <a:pt x="409392" y="717268"/>
                </a:cubicBezTo>
                <a:cubicBezTo>
                  <a:pt x="401085" y="704804"/>
                  <a:pt x="409392" y="700649"/>
                  <a:pt x="426005" y="704804"/>
                </a:cubicBezTo>
                <a:cubicBezTo>
                  <a:pt x="463087" y="696494"/>
                  <a:pt x="496017" y="692571"/>
                  <a:pt x="533099" y="688415"/>
                </a:cubicBezTo>
                <a:cubicBezTo>
                  <a:pt x="545559" y="688415"/>
                  <a:pt x="562172" y="672028"/>
                  <a:pt x="562172" y="663719"/>
                </a:cubicBezTo>
                <a:cubicBezTo>
                  <a:pt x="562172" y="659563"/>
                  <a:pt x="570478" y="655178"/>
                  <a:pt x="586795" y="651023"/>
                </a:cubicBezTo>
                <a:cubicBezTo>
                  <a:pt x="586795" y="647100"/>
                  <a:pt x="595101" y="642715"/>
                  <a:pt x="595101" y="638559"/>
                </a:cubicBezTo>
                <a:cubicBezTo>
                  <a:pt x="595101" y="638559"/>
                  <a:pt x="2343915" y="163076"/>
                  <a:pt x="3294713" y="63825"/>
                </a:cubicBezTo>
                <a:cubicBezTo>
                  <a:pt x="3708258" y="18354"/>
                  <a:pt x="4220886" y="1966"/>
                  <a:pt x="4588746" y="1966"/>
                </a:cubicBezTo>
                <a:cubicBezTo>
                  <a:pt x="4673591" y="812"/>
                  <a:pt x="4752206" y="120"/>
                  <a:pt x="4822218" y="120"/>
                </a:cubicBezTo>
                <a:cubicBezTo>
                  <a:pt x="4874876" y="-53"/>
                  <a:pt x="4922787" y="-25"/>
                  <a:pt x="4965032" y="116"/>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9" name="TextBox 8"/>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10" name="TextBox 9"/>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Tree>
    <p:extLst>
      <p:ext uri="{BB962C8B-B14F-4D97-AF65-F5344CB8AC3E}">
        <p14:creationId xmlns:p14="http://schemas.microsoft.com/office/powerpoint/2010/main" val="3175285164"/>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4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9" name="Picture Placeholder 8"/>
          <p:cNvSpPr>
            <a:spLocks noGrp="1"/>
          </p:cNvSpPr>
          <p:nvPr>
            <p:ph type="pic" sz="quarter" idx="10"/>
          </p:nvPr>
        </p:nvSpPr>
        <p:spPr>
          <a:xfrm>
            <a:off x="6496959" y="-706068"/>
            <a:ext cx="4338596" cy="8241403"/>
          </a:xfrm>
          <a:custGeom>
            <a:avLst/>
            <a:gdLst>
              <a:gd name="connsiteX0" fmla="*/ 2564643 w 4338596"/>
              <a:gd name="connsiteY0" fmla="*/ 8239818 h 8241402"/>
              <a:gd name="connsiteX1" fmla="*/ 2568315 w 4338596"/>
              <a:gd name="connsiteY1" fmla="*/ 8240996 h 8241402"/>
              <a:gd name="connsiteX2" fmla="*/ 2569171 w 4338596"/>
              <a:gd name="connsiteY2" fmla="*/ 8241271 h 8241402"/>
              <a:gd name="connsiteX3" fmla="*/ 2561465 w 4338596"/>
              <a:gd name="connsiteY3" fmla="*/ 8238800 h 8241402"/>
              <a:gd name="connsiteX4" fmla="*/ 2564643 w 4338596"/>
              <a:gd name="connsiteY4" fmla="*/ 8239818 h 8241402"/>
              <a:gd name="connsiteX5" fmla="*/ 2564033 w 4338596"/>
              <a:gd name="connsiteY5" fmla="*/ 8239623 h 8241402"/>
              <a:gd name="connsiteX6" fmla="*/ 2561465 w 4338596"/>
              <a:gd name="connsiteY6" fmla="*/ 8238800 h 8241402"/>
              <a:gd name="connsiteX7" fmla="*/ 2553333 w 4338596"/>
              <a:gd name="connsiteY7" fmla="*/ 8236329 h 8241402"/>
              <a:gd name="connsiteX8" fmla="*/ 2561465 w 4338596"/>
              <a:gd name="connsiteY8" fmla="*/ 8238800 h 8241402"/>
              <a:gd name="connsiteX9" fmla="*/ 2553333 w 4338596"/>
              <a:gd name="connsiteY9" fmla="*/ 8236329 h 8241402"/>
              <a:gd name="connsiteX10" fmla="*/ 2585842 w 4338596"/>
              <a:gd name="connsiteY10" fmla="*/ 8115100 h 8241402"/>
              <a:gd name="connsiteX11" fmla="*/ 2586717 w 4338596"/>
              <a:gd name="connsiteY11" fmla="*/ 8117349 h 8241402"/>
              <a:gd name="connsiteX12" fmla="*/ 2586832 w 4338596"/>
              <a:gd name="connsiteY12" fmla="*/ 8117758 h 8241402"/>
              <a:gd name="connsiteX13" fmla="*/ 2583843 w 4338596"/>
              <a:gd name="connsiteY13" fmla="*/ 8109725 h 8241402"/>
              <a:gd name="connsiteX14" fmla="*/ 2585842 w 4338596"/>
              <a:gd name="connsiteY14" fmla="*/ 8115100 h 8241402"/>
              <a:gd name="connsiteX15" fmla="*/ 2584231 w 4338596"/>
              <a:gd name="connsiteY15" fmla="*/ 8110956 h 8241402"/>
              <a:gd name="connsiteX16" fmla="*/ 2583843 w 4338596"/>
              <a:gd name="connsiteY16" fmla="*/ 8109725 h 8241402"/>
              <a:gd name="connsiteX17" fmla="*/ 3133711 w 4338596"/>
              <a:gd name="connsiteY17" fmla="*/ 7972315 h 8241402"/>
              <a:gd name="connsiteX18" fmla="*/ 3133711 w 4338596"/>
              <a:gd name="connsiteY18" fmla="*/ 7972315 h 8241402"/>
              <a:gd name="connsiteX19" fmla="*/ 2354674 w 4338596"/>
              <a:gd name="connsiteY19" fmla="*/ 7691844 h 8241402"/>
              <a:gd name="connsiteX20" fmla="*/ 2347381 w 4338596"/>
              <a:gd name="connsiteY20" fmla="*/ 7694117 h 8241402"/>
              <a:gd name="connsiteX21" fmla="*/ 2366659 w 4338596"/>
              <a:gd name="connsiteY21" fmla="*/ 7724377 h 8241402"/>
              <a:gd name="connsiteX22" fmla="*/ 2354674 w 4338596"/>
              <a:gd name="connsiteY22" fmla="*/ 7691844 h 8241402"/>
              <a:gd name="connsiteX23" fmla="*/ 2023149 w 4338596"/>
              <a:gd name="connsiteY23" fmla="*/ 7682329 h 8241402"/>
              <a:gd name="connsiteX24" fmla="*/ 2026762 w 4338596"/>
              <a:gd name="connsiteY24" fmla="*/ 7688260 h 8241402"/>
              <a:gd name="connsiteX25" fmla="*/ 2022197 w 4338596"/>
              <a:gd name="connsiteY25" fmla="*/ 7684111 h 8241402"/>
              <a:gd name="connsiteX26" fmla="*/ 2146487 w 4338596"/>
              <a:gd name="connsiteY26" fmla="*/ 7609192 h 8241402"/>
              <a:gd name="connsiteX27" fmla="*/ 2152575 w 4338596"/>
              <a:gd name="connsiteY27" fmla="*/ 7627739 h 8241402"/>
              <a:gd name="connsiteX28" fmla="*/ 2146487 w 4338596"/>
              <a:gd name="connsiteY28" fmla="*/ 7609192 h 8241402"/>
              <a:gd name="connsiteX29" fmla="*/ 2146487 w 4338596"/>
              <a:gd name="connsiteY29" fmla="*/ 7597479 h 8241402"/>
              <a:gd name="connsiteX30" fmla="*/ 2146487 w 4338596"/>
              <a:gd name="connsiteY30" fmla="*/ 7609192 h 8241402"/>
              <a:gd name="connsiteX31" fmla="*/ 2146487 w 4338596"/>
              <a:gd name="connsiteY31" fmla="*/ 7597479 h 8241402"/>
              <a:gd name="connsiteX32" fmla="*/ 2576486 w 4338596"/>
              <a:gd name="connsiteY32" fmla="*/ 7559940 h 8241402"/>
              <a:gd name="connsiteX33" fmla="*/ 2579729 w 4338596"/>
              <a:gd name="connsiteY33" fmla="*/ 7560386 h 8241402"/>
              <a:gd name="connsiteX34" fmla="*/ 2581720 w 4338596"/>
              <a:gd name="connsiteY34" fmla="*/ 7569890 h 8241402"/>
              <a:gd name="connsiteX35" fmla="*/ 2573641 w 4338596"/>
              <a:gd name="connsiteY35" fmla="*/ 7554529 h 8241402"/>
              <a:gd name="connsiteX36" fmla="*/ 2576486 w 4338596"/>
              <a:gd name="connsiteY36" fmla="*/ 7559940 h 8241402"/>
              <a:gd name="connsiteX37" fmla="*/ 2574403 w 4338596"/>
              <a:gd name="connsiteY37" fmla="*/ 7559654 h 8241402"/>
              <a:gd name="connsiteX38" fmla="*/ 2573641 w 4338596"/>
              <a:gd name="connsiteY38" fmla="*/ 7554529 h 8241402"/>
              <a:gd name="connsiteX39" fmla="*/ 2617976 w 4338596"/>
              <a:gd name="connsiteY39" fmla="*/ 7423628 h 8241402"/>
              <a:gd name="connsiteX40" fmla="*/ 2619047 w 4338596"/>
              <a:gd name="connsiteY40" fmla="*/ 7423971 h 8241402"/>
              <a:gd name="connsiteX41" fmla="*/ 2619901 w 4338596"/>
              <a:gd name="connsiteY41" fmla="*/ 7424246 h 8241402"/>
              <a:gd name="connsiteX42" fmla="*/ 2612197 w 4338596"/>
              <a:gd name="connsiteY42" fmla="*/ 7421775 h 8241402"/>
              <a:gd name="connsiteX43" fmla="*/ 2614765 w 4338596"/>
              <a:gd name="connsiteY43" fmla="*/ 7422598 h 8241402"/>
              <a:gd name="connsiteX44" fmla="*/ 2617976 w 4338596"/>
              <a:gd name="connsiteY44" fmla="*/ 7423628 h 8241402"/>
              <a:gd name="connsiteX45" fmla="*/ 2599007 w 4338596"/>
              <a:gd name="connsiteY45" fmla="*/ 7391515 h 8241402"/>
              <a:gd name="connsiteX46" fmla="*/ 2599007 w 4338596"/>
              <a:gd name="connsiteY46" fmla="*/ 7391515 h 8241402"/>
              <a:gd name="connsiteX47" fmla="*/ 3747079 w 4338596"/>
              <a:gd name="connsiteY47" fmla="*/ 7373929 h 8241402"/>
              <a:gd name="connsiteX48" fmla="*/ 3752216 w 4338596"/>
              <a:gd name="connsiteY48" fmla="*/ 7375850 h 8241402"/>
              <a:gd name="connsiteX49" fmla="*/ 3747079 w 4338596"/>
              <a:gd name="connsiteY49" fmla="*/ 7373929 h 8241402"/>
              <a:gd name="connsiteX50" fmla="*/ 2579729 w 4338596"/>
              <a:gd name="connsiteY50" fmla="*/ 7342708 h 8241402"/>
              <a:gd name="connsiteX51" fmla="*/ 2599007 w 4338596"/>
              <a:gd name="connsiteY51" fmla="*/ 7391515 h 8241402"/>
              <a:gd name="connsiteX52" fmla="*/ 2579729 w 4338596"/>
              <a:gd name="connsiteY52" fmla="*/ 7342708 h 8241402"/>
              <a:gd name="connsiteX53" fmla="*/ 3762465 w 4338596"/>
              <a:gd name="connsiteY53" fmla="*/ 7326991 h 8241402"/>
              <a:gd name="connsiteX54" fmla="*/ 3763536 w 4338596"/>
              <a:gd name="connsiteY54" fmla="*/ 7327334 h 8241402"/>
              <a:gd name="connsiteX55" fmla="*/ 3764391 w 4338596"/>
              <a:gd name="connsiteY55" fmla="*/ 7327608 h 8241402"/>
              <a:gd name="connsiteX56" fmla="*/ 3756687 w 4338596"/>
              <a:gd name="connsiteY56" fmla="*/ 7325137 h 8241402"/>
              <a:gd name="connsiteX57" fmla="*/ 3759255 w 4338596"/>
              <a:gd name="connsiteY57" fmla="*/ 7325961 h 8241402"/>
              <a:gd name="connsiteX58" fmla="*/ 3762465 w 4338596"/>
              <a:gd name="connsiteY58" fmla="*/ 7326991 h 8241402"/>
              <a:gd name="connsiteX59" fmla="*/ 3705956 w 4338596"/>
              <a:gd name="connsiteY59" fmla="*/ 7114292 h 8241402"/>
              <a:gd name="connsiteX60" fmla="*/ 3712044 w 4338596"/>
              <a:gd name="connsiteY60" fmla="*/ 7132839 h 8241402"/>
              <a:gd name="connsiteX61" fmla="*/ 3705956 w 4338596"/>
              <a:gd name="connsiteY61" fmla="*/ 7114292 h 8241402"/>
              <a:gd name="connsiteX62" fmla="*/ 3699867 w 4338596"/>
              <a:gd name="connsiteY62" fmla="*/ 7095746 h 8241402"/>
              <a:gd name="connsiteX63" fmla="*/ 3705956 w 4338596"/>
              <a:gd name="connsiteY63" fmla="*/ 7114292 h 8241402"/>
              <a:gd name="connsiteX64" fmla="*/ 3699867 w 4338596"/>
              <a:gd name="connsiteY64" fmla="*/ 7095746 h 8241402"/>
              <a:gd name="connsiteX65" fmla="*/ 2457691 w 4338596"/>
              <a:gd name="connsiteY65" fmla="*/ 7072673 h 8241402"/>
              <a:gd name="connsiteX66" fmla="*/ 2454931 w 4338596"/>
              <a:gd name="connsiteY66" fmla="*/ 7078176 h 8241402"/>
              <a:gd name="connsiteX67" fmla="*/ 2461019 w 4338596"/>
              <a:gd name="connsiteY67" fmla="*/ 7089889 h 8241402"/>
              <a:gd name="connsiteX68" fmla="*/ 2461019 w 4338596"/>
              <a:gd name="connsiteY68" fmla="*/ 7073142 h 8241402"/>
              <a:gd name="connsiteX69" fmla="*/ 2457691 w 4338596"/>
              <a:gd name="connsiteY69" fmla="*/ 7072673 h 8241402"/>
              <a:gd name="connsiteX70" fmla="*/ 3680590 w 4338596"/>
              <a:gd name="connsiteY70" fmla="*/ 7047915 h 8241402"/>
              <a:gd name="connsiteX71" fmla="*/ 3699867 w 4338596"/>
              <a:gd name="connsiteY71" fmla="*/ 7095746 h 8241402"/>
              <a:gd name="connsiteX72" fmla="*/ 3680590 w 4338596"/>
              <a:gd name="connsiteY72" fmla="*/ 7047915 h 8241402"/>
              <a:gd name="connsiteX73" fmla="*/ 3463336 w 4338596"/>
              <a:gd name="connsiteY73" fmla="*/ 6964014 h 8241402"/>
              <a:gd name="connsiteX74" fmla="*/ 3473607 w 4338596"/>
              <a:gd name="connsiteY74" fmla="*/ 6993252 h 8241402"/>
              <a:gd name="connsiteX75" fmla="*/ 3460419 w 4338596"/>
              <a:gd name="connsiteY75" fmla="*/ 6968848 h 8241402"/>
              <a:gd name="connsiteX76" fmla="*/ 3463336 w 4338596"/>
              <a:gd name="connsiteY76" fmla="*/ 6964014 h 8241402"/>
              <a:gd name="connsiteX77" fmla="*/ 3505061 w 4338596"/>
              <a:gd name="connsiteY77" fmla="*/ 6950302 h 8241402"/>
              <a:gd name="connsiteX78" fmla="*/ 3511149 w 4338596"/>
              <a:gd name="connsiteY78" fmla="*/ 6968848 h 8241402"/>
              <a:gd name="connsiteX79" fmla="*/ 3505061 w 4338596"/>
              <a:gd name="connsiteY79" fmla="*/ 6950302 h 8241402"/>
              <a:gd name="connsiteX80" fmla="*/ 3485784 w 4338596"/>
              <a:gd name="connsiteY80" fmla="*/ 6902471 h 8241402"/>
              <a:gd name="connsiteX81" fmla="*/ 3505061 w 4338596"/>
              <a:gd name="connsiteY81" fmla="*/ 6950302 h 8241402"/>
              <a:gd name="connsiteX82" fmla="*/ 3485784 w 4338596"/>
              <a:gd name="connsiteY82" fmla="*/ 6902471 h 8241402"/>
              <a:gd name="connsiteX83" fmla="*/ 2416884 w 4338596"/>
              <a:gd name="connsiteY83" fmla="*/ 6892222 h 8241402"/>
              <a:gd name="connsiteX84" fmla="*/ 2410287 w 4338596"/>
              <a:gd name="connsiteY84" fmla="*/ 6896614 h 8241402"/>
              <a:gd name="connsiteX85" fmla="*/ 2423478 w 4338596"/>
              <a:gd name="connsiteY85" fmla="*/ 6896614 h 8241402"/>
              <a:gd name="connsiteX86" fmla="*/ 2416884 w 4338596"/>
              <a:gd name="connsiteY86" fmla="*/ 6892222 h 8241402"/>
              <a:gd name="connsiteX87" fmla="*/ 3417469 w 4338596"/>
              <a:gd name="connsiteY87" fmla="*/ 6862235 h 8241402"/>
              <a:gd name="connsiteX88" fmla="*/ 3422876 w 4338596"/>
              <a:gd name="connsiteY88" fmla="*/ 6866354 h 8241402"/>
              <a:gd name="connsiteX89" fmla="*/ 3419451 w 4338596"/>
              <a:gd name="connsiteY89" fmla="*/ 6863746 h 8241402"/>
              <a:gd name="connsiteX90" fmla="*/ 3415814 w 4338596"/>
              <a:gd name="connsiteY90" fmla="*/ 6860975 h 8241402"/>
              <a:gd name="connsiteX91" fmla="*/ 3415885 w 4338596"/>
              <a:gd name="connsiteY91" fmla="*/ 6861029 h 8241402"/>
              <a:gd name="connsiteX92" fmla="*/ 3417469 w 4338596"/>
              <a:gd name="connsiteY92" fmla="*/ 6862235 h 8241402"/>
              <a:gd name="connsiteX93" fmla="*/ 3412603 w 4338596"/>
              <a:gd name="connsiteY93" fmla="*/ 6858530 h 8241402"/>
              <a:gd name="connsiteX94" fmla="*/ 3413745 w 4338596"/>
              <a:gd name="connsiteY94" fmla="*/ 6859399 h 8241402"/>
              <a:gd name="connsiteX95" fmla="*/ 3415814 w 4338596"/>
              <a:gd name="connsiteY95" fmla="*/ 6860975 h 8241402"/>
              <a:gd name="connsiteX96" fmla="*/ 3467520 w 4338596"/>
              <a:gd name="connsiteY96" fmla="*/ 6853664 h 8241402"/>
              <a:gd name="connsiteX97" fmla="*/ 3473607 w 4338596"/>
              <a:gd name="connsiteY97" fmla="*/ 6872211 h 8241402"/>
              <a:gd name="connsiteX98" fmla="*/ 3467520 w 4338596"/>
              <a:gd name="connsiteY98" fmla="*/ 6853664 h 8241402"/>
              <a:gd name="connsiteX99" fmla="*/ 3448241 w 4338596"/>
              <a:gd name="connsiteY99" fmla="*/ 6805834 h 8241402"/>
              <a:gd name="connsiteX100" fmla="*/ 3467520 w 4338596"/>
              <a:gd name="connsiteY100" fmla="*/ 6853664 h 8241402"/>
              <a:gd name="connsiteX101" fmla="*/ 3448241 w 4338596"/>
              <a:gd name="connsiteY101" fmla="*/ 6805834 h 8241402"/>
              <a:gd name="connsiteX102" fmla="*/ 1626020 w 4338596"/>
              <a:gd name="connsiteY102" fmla="*/ 6778959 h 8241402"/>
              <a:gd name="connsiteX103" fmla="*/ 1623959 w 4338596"/>
              <a:gd name="connsiteY103" fmla="*/ 6781431 h 8241402"/>
              <a:gd name="connsiteX104" fmla="*/ 1637148 w 4338596"/>
              <a:gd name="connsiteY104" fmla="*/ 6781431 h 8241402"/>
              <a:gd name="connsiteX105" fmla="*/ 1626020 w 4338596"/>
              <a:gd name="connsiteY105" fmla="*/ 6778959 h 8241402"/>
              <a:gd name="connsiteX106" fmla="*/ 3436068 w 4338596"/>
              <a:gd name="connsiteY106" fmla="*/ 6775573 h 8241402"/>
              <a:gd name="connsiteX107" fmla="*/ 3448241 w 4338596"/>
              <a:gd name="connsiteY107" fmla="*/ 6805834 h 8241402"/>
              <a:gd name="connsiteX108" fmla="*/ 3436068 w 4338596"/>
              <a:gd name="connsiteY108" fmla="*/ 6775573 h 8241402"/>
              <a:gd name="connsiteX109" fmla="*/ 3537300 w 4338596"/>
              <a:gd name="connsiteY109" fmla="*/ 6704224 h 8241402"/>
              <a:gd name="connsiteX110" fmla="*/ 3536515 w 4338596"/>
              <a:gd name="connsiteY110" fmla="*/ 6708220 h 8241402"/>
              <a:gd name="connsiteX111" fmla="*/ 3554777 w 4338596"/>
              <a:gd name="connsiteY111" fmla="*/ 6732624 h 8241402"/>
              <a:gd name="connsiteX112" fmla="*/ 3539368 w 4338596"/>
              <a:gd name="connsiteY112" fmla="*/ 6704621 h 8241402"/>
              <a:gd name="connsiteX113" fmla="*/ 3537300 w 4338596"/>
              <a:gd name="connsiteY113" fmla="*/ 6704224 h 8241402"/>
              <a:gd name="connsiteX114" fmla="*/ 1561053 w 4338596"/>
              <a:gd name="connsiteY114" fmla="*/ 6666247 h 8241402"/>
              <a:gd name="connsiteX115" fmla="*/ 1611783 w 4338596"/>
              <a:gd name="connsiteY115" fmla="*/ 6751171 h 8241402"/>
              <a:gd name="connsiteX116" fmla="*/ 1617871 w 4338596"/>
              <a:gd name="connsiteY116" fmla="*/ 6762884 h 8241402"/>
              <a:gd name="connsiteX117" fmla="*/ 1617871 w 4338596"/>
              <a:gd name="connsiteY117" fmla="*/ 6762884 h 8241402"/>
              <a:gd name="connsiteX118" fmla="*/ 1611783 w 4338596"/>
              <a:gd name="connsiteY118" fmla="*/ 6751171 h 8241402"/>
              <a:gd name="connsiteX119" fmla="*/ 1561053 w 4338596"/>
              <a:gd name="connsiteY119" fmla="*/ 6666247 h 8241402"/>
              <a:gd name="connsiteX120" fmla="*/ 2270825 w 4338596"/>
              <a:gd name="connsiteY120" fmla="*/ 6651538 h 8241402"/>
              <a:gd name="connsiteX121" fmla="*/ 2266212 w 4338596"/>
              <a:gd name="connsiteY121" fmla="*/ 6654533 h 8241402"/>
              <a:gd name="connsiteX122" fmla="*/ 2284475 w 4338596"/>
              <a:gd name="connsiteY122" fmla="*/ 6678936 h 8241402"/>
              <a:gd name="connsiteX123" fmla="*/ 2270825 w 4338596"/>
              <a:gd name="connsiteY123" fmla="*/ 6651538 h 8241402"/>
              <a:gd name="connsiteX124" fmla="*/ 2297665 w 4338596"/>
              <a:gd name="connsiteY124" fmla="*/ 6635986 h 8241402"/>
              <a:gd name="connsiteX125" fmla="*/ 2347381 w 4338596"/>
              <a:gd name="connsiteY125" fmla="*/ 6738481 h 8241402"/>
              <a:gd name="connsiteX126" fmla="*/ 2398113 w 4338596"/>
              <a:gd name="connsiteY126" fmla="*/ 6841951 h 8241402"/>
              <a:gd name="connsiteX127" fmla="*/ 2315928 w 4338596"/>
              <a:gd name="connsiteY127" fmla="*/ 6654533 h 8241402"/>
              <a:gd name="connsiteX128" fmla="*/ 2297665 w 4338596"/>
              <a:gd name="connsiteY128" fmla="*/ 6635986 h 8241402"/>
              <a:gd name="connsiteX129" fmla="*/ 1724406 w 4338596"/>
              <a:gd name="connsiteY129" fmla="*/ 6635986 h 8241402"/>
              <a:gd name="connsiteX130" fmla="*/ 1749771 w 4338596"/>
              <a:gd name="connsiteY130" fmla="*/ 6678936 h 8241402"/>
              <a:gd name="connsiteX131" fmla="*/ 1769049 w 4338596"/>
              <a:gd name="connsiteY131" fmla="*/ 6708220 h 8241402"/>
              <a:gd name="connsiteX132" fmla="*/ 1850219 w 4338596"/>
              <a:gd name="connsiteY132" fmla="*/ 6883924 h 8241402"/>
              <a:gd name="connsiteX133" fmla="*/ 1875584 w 4338596"/>
              <a:gd name="connsiteY133" fmla="*/ 6902471 h 8241402"/>
              <a:gd name="connsiteX134" fmla="*/ 1769049 w 4338596"/>
              <a:gd name="connsiteY134" fmla="*/ 6708220 h 8241402"/>
              <a:gd name="connsiteX135" fmla="*/ 1749771 w 4338596"/>
              <a:gd name="connsiteY135" fmla="*/ 6678936 h 8241402"/>
              <a:gd name="connsiteX136" fmla="*/ 1724406 w 4338596"/>
              <a:gd name="connsiteY136" fmla="*/ 6635986 h 8241402"/>
              <a:gd name="connsiteX137" fmla="*/ 2262106 w 4338596"/>
              <a:gd name="connsiteY137" fmla="*/ 6613978 h 8241402"/>
              <a:gd name="connsiteX138" fmla="*/ 2259109 w 4338596"/>
              <a:gd name="connsiteY138" fmla="*/ 6624273 h 8241402"/>
              <a:gd name="connsiteX139" fmla="*/ 2262106 w 4338596"/>
              <a:gd name="connsiteY139" fmla="*/ 6613978 h 8241402"/>
              <a:gd name="connsiteX140" fmla="*/ 2256937 w 4338596"/>
              <a:gd name="connsiteY140" fmla="*/ 6560748 h 8241402"/>
              <a:gd name="connsiteX141" fmla="*/ 2253021 w 4338596"/>
              <a:gd name="connsiteY141" fmla="*/ 6563752 h 8241402"/>
              <a:gd name="connsiteX142" fmla="*/ 2297665 w 4338596"/>
              <a:gd name="connsiteY142" fmla="*/ 6624273 h 8241402"/>
              <a:gd name="connsiteX143" fmla="*/ 2256937 w 4338596"/>
              <a:gd name="connsiteY143" fmla="*/ 6560748 h 8241402"/>
              <a:gd name="connsiteX144" fmla="*/ 2161963 w 4338596"/>
              <a:gd name="connsiteY144" fmla="*/ 6390552 h 8241402"/>
              <a:gd name="connsiteX145" fmla="*/ 2158662 w 4338596"/>
              <a:gd name="connsiteY145" fmla="*/ 6393905 h 8241402"/>
              <a:gd name="connsiteX146" fmla="*/ 2203306 w 4338596"/>
              <a:gd name="connsiteY146" fmla="*/ 6472972 h 8241402"/>
              <a:gd name="connsiteX147" fmla="*/ 2253021 w 4338596"/>
              <a:gd name="connsiteY147" fmla="*/ 6539349 h 8241402"/>
              <a:gd name="connsiteX148" fmla="*/ 2166754 w 4338596"/>
              <a:gd name="connsiteY148" fmla="*/ 6391466 h 8241402"/>
              <a:gd name="connsiteX149" fmla="*/ 2161963 w 4338596"/>
              <a:gd name="connsiteY149" fmla="*/ 6390552 h 8241402"/>
              <a:gd name="connsiteX150" fmla="*/ 2126131 w 4338596"/>
              <a:gd name="connsiteY150" fmla="*/ 6380803 h 8241402"/>
              <a:gd name="connsiteX151" fmla="*/ 2158662 w 4338596"/>
              <a:gd name="connsiteY151" fmla="*/ 6460282 h 8241402"/>
              <a:gd name="connsiteX152" fmla="*/ 2209393 w 4338596"/>
              <a:gd name="connsiteY152" fmla="*/ 6526660 h 8241402"/>
              <a:gd name="connsiteX153" fmla="*/ 2215481 w 4338596"/>
              <a:gd name="connsiteY153" fmla="*/ 6539349 h 8241402"/>
              <a:gd name="connsiteX154" fmla="*/ 2209393 w 4338596"/>
              <a:gd name="connsiteY154" fmla="*/ 6526660 h 8241402"/>
              <a:gd name="connsiteX155" fmla="*/ 2140399 w 4338596"/>
              <a:gd name="connsiteY155" fmla="*/ 6393905 h 8241402"/>
              <a:gd name="connsiteX156" fmla="*/ 2126131 w 4338596"/>
              <a:gd name="connsiteY156" fmla="*/ 6380803 h 8241402"/>
              <a:gd name="connsiteX157" fmla="*/ 1806590 w 4338596"/>
              <a:gd name="connsiteY157" fmla="*/ 6200630 h 8241402"/>
              <a:gd name="connsiteX158" fmla="*/ 1806590 w 4338596"/>
              <a:gd name="connsiteY158" fmla="*/ 6206487 h 8241402"/>
              <a:gd name="connsiteX159" fmla="*/ 1857321 w 4338596"/>
              <a:gd name="connsiteY159" fmla="*/ 6297268 h 8241402"/>
              <a:gd name="connsiteX160" fmla="*/ 2184028 w 4338596"/>
              <a:gd name="connsiteY160" fmla="*/ 6890758 h 8241402"/>
              <a:gd name="connsiteX161" fmla="*/ 2203306 w 4338596"/>
              <a:gd name="connsiteY161" fmla="*/ 6914185 h 8241402"/>
              <a:gd name="connsiteX162" fmla="*/ 1920227 w 4338596"/>
              <a:gd name="connsiteY162" fmla="*/ 6375358 h 8241402"/>
              <a:gd name="connsiteX163" fmla="*/ 1806590 w 4338596"/>
              <a:gd name="connsiteY163" fmla="*/ 6200630 h 8241402"/>
              <a:gd name="connsiteX164" fmla="*/ 3561881 w 4338596"/>
              <a:gd name="connsiteY164" fmla="*/ 5703778 h 8241402"/>
              <a:gd name="connsiteX165" fmla="*/ 3586231 w 4338596"/>
              <a:gd name="connsiteY165" fmla="*/ 5703778 h 8241402"/>
              <a:gd name="connsiteX166" fmla="*/ 3561881 w 4338596"/>
              <a:gd name="connsiteY166" fmla="*/ 5703778 h 8241402"/>
              <a:gd name="connsiteX167" fmla="*/ 4102671 w 4338596"/>
              <a:gd name="connsiteY167" fmla="*/ 5589570 h 8241402"/>
              <a:gd name="connsiteX168" fmla="*/ 4102671 w 4338596"/>
              <a:gd name="connsiteY168" fmla="*/ 5589570 h 8241402"/>
              <a:gd name="connsiteX169" fmla="*/ 4105239 w 4338596"/>
              <a:gd name="connsiteY169" fmla="*/ 5581746 h 8241402"/>
              <a:gd name="connsiteX170" fmla="*/ 4102671 w 4338596"/>
              <a:gd name="connsiteY170" fmla="*/ 5589570 h 8241402"/>
              <a:gd name="connsiteX171" fmla="*/ 4105239 w 4338596"/>
              <a:gd name="connsiteY171" fmla="*/ 5581746 h 8241402"/>
              <a:gd name="connsiteX172" fmla="*/ 1129428 w 4338596"/>
              <a:gd name="connsiteY172" fmla="*/ 5550113 h 8241402"/>
              <a:gd name="connsiteX173" fmla="*/ 1123752 w 4338596"/>
              <a:gd name="connsiteY173" fmla="*/ 5551134 h 8241402"/>
              <a:gd name="connsiteX174" fmla="*/ 1121723 w 4338596"/>
              <a:gd name="connsiteY174" fmla="*/ 5559309 h 8241402"/>
              <a:gd name="connsiteX175" fmla="*/ 1134913 w 4338596"/>
              <a:gd name="connsiteY175" fmla="*/ 5552477 h 8241402"/>
              <a:gd name="connsiteX176" fmla="*/ 1129428 w 4338596"/>
              <a:gd name="connsiteY176" fmla="*/ 5550113 h 8241402"/>
              <a:gd name="connsiteX177" fmla="*/ 4207303 w 4338596"/>
              <a:gd name="connsiteY177" fmla="*/ 5532527 h 8241402"/>
              <a:gd name="connsiteX178" fmla="*/ 4209206 w 4338596"/>
              <a:gd name="connsiteY178" fmla="*/ 5534906 h 8241402"/>
              <a:gd name="connsiteX179" fmla="*/ 4197031 w 4338596"/>
              <a:gd name="connsiteY179" fmla="*/ 5540763 h 8241402"/>
              <a:gd name="connsiteX180" fmla="*/ 4207303 w 4338596"/>
              <a:gd name="connsiteY180" fmla="*/ 5532527 h 8241402"/>
              <a:gd name="connsiteX181" fmla="*/ 4297477 w 4338596"/>
              <a:gd name="connsiteY181" fmla="*/ 5275743 h 8241402"/>
              <a:gd name="connsiteX182" fmla="*/ 4291391 w 4338596"/>
              <a:gd name="connsiteY182" fmla="*/ 5280135 h 8241402"/>
              <a:gd name="connsiteX183" fmla="*/ 4303565 w 4338596"/>
              <a:gd name="connsiteY183" fmla="*/ 5280135 h 8241402"/>
              <a:gd name="connsiteX184" fmla="*/ 4297477 w 4338596"/>
              <a:gd name="connsiteY184" fmla="*/ 5275743 h 8241402"/>
              <a:gd name="connsiteX185" fmla="*/ 487427 w 4338596"/>
              <a:gd name="connsiteY185" fmla="*/ 4955525 h 8241402"/>
              <a:gd name="connsiteX186" fmla="*/ 486572 w 4338596"/>
              <a:gd name="connsiteY186" fmla="*/ 4965820 h 8241402"/>
              <a:gd name="connsiteX187" fmla="*/ 499762 w 4338596"/>
              <a:gd name="connsiteY187" fmla="*/ 4984366 h 8241402"/>
              <a:gd name="connsiteX188" fmla="*/ 486572 w 4338596"/>
              <a:gd name="connsiteY188" fmla="*/ 4965820 h 8241402"/>
              <a:gd name="connsiteX189" fmla="*/ 487427 w 4338596"/>
              <a:gd name="connsiteY189" fmla="*/ 4955525 h 8241402"/>
              <a:gd name="connsiteX190" fmla="*/ 389644 w 4338596"/>
              <a:gd name="connsiteY190" fmla="*/ 4809578 h 8241402"/>
              <a:gd name="connsiteX191" fmla="*/ 392212 w 4338596"/>
              <a:gd name="connsiteY191" fmla="*/ 4814519 h 8241402"/>
              <a:gd name="connsiteX192" fmla="*/ 389644 w 4338596"/>
              <a:gd name="connsiteY192" fmla="*/ 4809578 h 8241402"/>
              <a:gd name="connsiteX193" fmla="*/ 4247857 w 4338596"/>
              <a:gd name="connsiteY193" fmla="*/ 4447477 h 8241402"/>
              <a:gd name="connsiteX194" fmla="*/ 4253849 w 4338596"/>
              <a:gd name="connsiteY194" fmla="*/ 4464087 h 8241402"/>
              <a:gd name="connsiteX195" fmla="*/ 4246747 w 4338596"/>
              <a:gd name="connsiteY195" fmla="*/ 4451397 h 8241402"/>
              <a:gd name="connsiteX196" fmla="*/ 4247857 w 4338596"/>
              <a:gd name="connsiteY196" fmla="*/ 4447477 h 8241402"/>
              <a:gd name="connsiteX197" fmla="*/ 4114228 w 4338596"/>
              <a:gd name="connsiteY197" fmla="*/ 4074060 h 8241402"/>
              <a:gd name="connsiteX198" fmla="*/ 4108759 w 4338596"/>
              <a:gd name="connsiteY198" fmla="*/ 4082418 h 8241402"/>
              <a:gd name="connsiteX199" fmla="*/ 4120934 w 4338596"/>
              <a:gd name="connsiteY199" fmla="*/ 4100965 h 8241402"/>
              <a:gd name="connsiteX200" fmla="*/ 4114228 w 4338596"/>
              <a:gd name="connsiteY200" fmla="*/ 4074060 h 8241402"/>
              <a:gd name="connsiteX201" fmla="*/ 4079868 w 4338596"/>
              <a:gd name="connsiteY201" fmla="*/ 3799031 h 8241402"/>
              <a:gd name="connsiteX202" fmla="*/ 4077305 w 4338596"/>
              <a:gd name="connsiteY202" fmla="*/ 3804220 h 8241402"/>
              <a:gd name="connsiteX203" fmla="*/ 4089482 w 4338596"/>
              <a:gd name="connsiteY203" fmla="*/ 3853026 h 8241402"/>
              <a:gd name="connsiteX204" fmla="*/ 4079868 w 4338596"/>
              <a:gd name="connsiteY204" fmla="*/ 3799031 h 8241402"/>
              <a:gd name="connsiteX205" fmla="*/ 3998239 w 4338596"/>
              <a:gd name="connsiteY205" fmla="*/ 3766820 h 8241402"/>
              <a:gd name="connsiteX206" fmla="*/ 3995121 w 4338596"/>
              <a:gd name="connsiteY206" fmla="*/ 3768103 h 8241402"/>
              <a:gd name="connsiteX207" fmla="*/ 4014400 w 4338596"/>
              <a:gd name="connsiteY207" fmla="*/ 3828624 h 8241402"/>
              <a:gd name="connsiteX208" fmla="*/ 3998239 w 4338596"/>
              <a:gd name="connsiteY208" fmla="*/ 3766820 h 8241402"/>
              <a:gd name="connsiteX209" fmla="*/ 3898486 w 4338596"/>
              <a:gd name="connsiteY209" fmla="*/ 3328541 h 8241402"/>
              <a:gd name="connsiteX210" fmla="*/ 3894674 w 4338596"/>
              <a:gd name="connsiteY210" fmla="*/ 3331772 h 8241402"/>
              <a:gd name="connsiteX211" fmla="*/ 3913953 w 4338596"/>
              <a:gd name="connsiteY211" fmla="*/ 3459645 h 8241402"/>
              <a:gd name="connsiteX212" fmla="*/ 3939318 w 4338596"/>
              <a:gd name="connsiteY212" fmla="*/ 3586542 h 8241402"/>
              <a:gd name="connsiteX213" fmla="*/ 3898486 w 4338596"/>
              <a:gd name="connsiteY213" fmla="*/ 3328541 h 8241402"/>
              <a:gd name="connsiteX214" fmla="*/ 3373161 w 4338596"/>
              <a:gd name="connsiteY214" fmla="*/ 3320057 h 8241402"/>
              <a:gd name="connsiteX215" fmla="*/ 3398526 w 4338596"/>
              <a:gd name="connsiteY215" fmla="*/ 3477215 h 8241402"/>
              <a:gd name="connsiteX216" fmla="*/ 3410703 w 4338596"/>
              <a:gd name="connsiteY216" fmla="*/ 3507475 h 8241402"/>
              <a:gd name="connsiteX217" fmla="*/ 3373161 w 4338596"/>
              <a:gd name="connsiteY217" fmla="*/ 3320057 h 8241402"/>
              <a:gd name="connsiteX218" fmla="*/ 1170773 w 4338596"/>
              <a:gd name="connsiteY218" fmla="*/ 3287327 h 8241402"/>
              <a:gd name="connsiteX219" fmla="*/ 1172822 w 4338596"/>
              <a:gd name="connsiteY219" fmla="*/ 3287420 h 8241402"/>
              <a:gd name="connsiteX220" fmla="*/ 1165351 w 4338596"/>
              <a:gd name="connsiteY220" fmla="*/ 3289797 h 8241402"/>
              <a:gd name="connsiteX221" fmla="*/ 1170773 w 4338596"/>
              <a:gd name="connsiteY221" fmla="*/ 3287327 h 8241402"/>
              <a:gd name="connsiteX222" fmla="*/ 2073772 w 4338596"/>
              <a:gd name="connsiteY222" fmla="*/ 3152341 h 8241402"/>
              <a:gd name="connsiteX223" fmla="*/ 2070311 w 4338596"/>
              <a:gd name="connsiteY223" fmla="*/ 3153093 h 8241402"/>
              <a:gd name="connsiteX224" fmla="*/ 2071786 w 4338596"/>
              <a:gd name="connsiteY224" fmla="*/ 3152772 h 8241402"/>
              <a:gd name="connsiteX225" fmla="*/ 2075468 w 4338596"/>
              <a:gd name="connsiteY225" fmla="*/ 3151972 h 8241402"/>
              <a:gd name="connsiteX226" fmla="*/ 2073772 w 4338596"/>
              <a:gd name="connsiteY226" fmla="*/ 3152341 h 8241402"/>
              <a:gd name="connsiteX227" fmla="*/ 2074550 w 4338596"/>
              <a:gd name="connsiteY227" fmla="*/ 3152172 h 8241402"/>
              <a:gd name="connsiteX228" fmla="*/ 2083581 w 4338596"/>
              <a:gd name="connsiteY228" fmla="*/ 3150211 h 8241402"/>
              <a:gd name="connsiteX229" fmla="*/ 2075468 w 4338596"/>
              <a:gd name="connsiteY229" fmla="*/ 3151972 h 8241402"/>
              <a:gd name="connsiteX230" fmla="*/ 2079158 w 4338596"/>
              <a:gd name="connsiteY230" fmla="*/ 3151170 h 8241402"/>
              <a:gd name="connsiteX231" fmla="*/ 2083581 w 4338596"/>
              <a:gd name="connsiteY231" fmla="*/ 3150211 h 8241402"/>
              <a:gd name="connsiteX232" fmla="*/ 2083581 w 4338596"/>
              <a:gd name="connsiteY232" fmla="*/ 3150211 h 8241402"/>
              <a:gd name="connsiteX233" fmla="*/ 2101843 w 4338596"/>
              <a:gd name="connsiteY233" fmla="*/ 3162900 h 8241402"/>
              <a:gd name="connsiteX234" fmla="*/ 2083581 w 4338596"/>
              <a:gd name="connsiteY234" fmla="*/ 3150211 h 8241402"/>
              <a:gd name="connsiteX235" fmla="*/ 1913125 w 4338596"/>
              <a:gd name="connsiteY235" fmla="*/ 3083833 h 8241402"/>
              <a:gd name="connsiteX236" fmla="*/ 1926315 w 4338596"/>
              <a:gd name="connsiteY236" fmla="*/ 3090666 h 8241402"/>
              <a:gd name="connsiteX237" fmla="*/ 1913125 w 4338596"/>
              <a:gd name="connsiteY237" fmla="*/ 3083833 h 8241402"/>
              <a:gd name="connsiteX238" fmla="*/ 1900950 w 4338596"/>
              <a:gd name="connsiteY238" fmla="*/ 3077976 h 8241402"/>
              <a:gd name="connsiteX239" fmla="*/ 1913125 w 4338596"/>
              <a:gd name="connsiteY239" fmla="*/ 3083833 h 8241402"/>
              <a:gd name="connsiteX240" fmla="*/ 1900950 w 4338596"/>
              <a:gd name="connsiteY240" fmla="*/ 3077976 h 8241402"/>
              <a:gd name="connsiteX241" fmla="*/ 1888774 w 4338596"/>
              <a:gd name="connsiteY241" fmla="*/ 3072119 h 8241402"/>
              <a:gd name="connsiteX242" fmla="*/ 1900950 w 4338596"/>
              <a:gd name="connsiteY242" fmla="*/ 3077976 h 8241402"/>
              <a:gd name="connsiteX243" fmla="*/ 1888774 w 4338596"/>
              <a:gd name="connsiteY243" fmla="*/ 3072119 h 8241402"/>
              <a:gd name="connsiteX244" fmla="*/ 1875584 w 4338596"/>
              <a:gd name="connsiteY244" fmla="*/ 3066263 h 8241402"/>
              <a:gd name="connsiteX245" fmla="*/ 1888774 w 4338596"/>
              <a:gd name="connsiteY245" fmla="*/ 3072119 h 8241402"/>
              <a:gd name="connsiteX246" fmla="*/ 1875584 w 4338596"/>
              <a:gd name="connsiteY246" fmla="*/ 3066263 h 8241402"/>
              <a:gd name="connsiteX247" fmla="*/ 1850219 w 4338596"/>
              <a:gd name="connsiteY247" fmla="*/ 3053573 h 8241402"/>
              <a:gd name="connsiteX248" fmla="*/ 1875584 w 4338596"/>
              <a:gd name="connsiteY248" fmla="*/ 3066263 h 8241402"/>
              <a:gd name="connsiteX249" fmla="*/ 1850219 w 4338596"/>
              <a:gd name="connsiteY249" fmla="*/ 3053573 h 8241402"/>
              <a:gd name="connsiteX250" fmla="*/ 1838043 w 4338596"/>
              <a:gd name="connsiteY250" fmla="*/ 3047715 h 8241402"/>
              <a:gd name="connsiteX251" fmla="*/ 1850219 w 4338596"/>
              <a:gd name="connsiteY251" fmla="*/ 3053573 h 8241402"/>
              <a:gd name="connsiteX252" fmla="*/ 1838043 w 4338596"/>
              <a:gd name="connsiteY252" fmla="*/ 3047715 h 8241402"/>
              <a:gd name="connsiteX253" fmla="*/ 1825868 w 4338596"/>
              <a:gd name="connsiteY253" fmla="*/ 3041858 h 8241402"/>
              <a:gd name="connsiteX254" fmla="*/ 1838043 w 4338596"/>
              <a:gd name="connsiteY254" fmla="*/ 3047715 h 8241402"/>
              <a:gd name="connsiteX255" fmla="*/ 1825868 w 4338596"/>
              <a:gd name="connsiteY255" fmla="*/ 3041858 h 8241402"/>
              <a:gd name="connsiteX256" fmla="*/ 1807005 w 4338596"/>
              <a:gd name="connsiteY256" fmla="*/ 3037312 h 8241402"/>
              <a:gd name="connsiteX257" fmla="*/ 1805395 w 4338596"/>
              <a:gd name="connsiteY257" fmla="*/ 3037684 h 8241402"/>
              <a:gd name="connsiteX258" fmla="*/ 1803166 w 4338596"/>
              <a:gd name="connsiteY258" fmla="*/ 3038198 h 8241402"/>
              <a:gd name="connsiteX259" fmla="*/ 1812678 w 4338596"/>
              <a:gd name="connsiteY259" fmla="*/ 3036002 h 8241402"/>
              <a:gd name="connsiteX260" fmla="*/ 1807005 w 4338596"/>
              <a:gd name="connsiteY260" fmla="*/ 3037312 h 8241402"/>
              <a:gd name="connsiteX261" fmla="*/ 1809111 w 4338596"/>
              <a:gd name="connsiteY261" fmla="*/ 3036826 h 8241402"/>
              <a:gd name="connsiteX262" fmla="*/ 1812678 w 4338596"/>
              <a:gd name="connsiteY262" fmla="*/ 3036002 h 8241402"/>
              <a:gd name="connsiteX263" fmla="*/ 1812678 w 4338596"/>
              <a:gd name="connsiteY263" fmla="*/ 3036002 h 8241402"/>
              <a:gd name="connsiteX264" fmla="*/ 1825868 w 4338596"/>
              <a:gd name="connsiteY264" fmla="*/ 3041858 h 8241402"/>
              <a:gd name="connsiteX265" fmla="*/ 1812678 w 4338596"/>
              <a:gd name="connsiteY265" fmla="*/ 3036002 h 8241402"/>
              <a:gd name="connsiteX266" fmla="*/ 1781224 w 4338596"/>
              <a:gd name="connsiteY266" fmla="*/ 3017456 h 8241402"/>
              <a:gd name="connsiteX267" fmla="*/ 1769049 w 4338596"/>
              <a:gd name="connsiteY267" fmla="*/ 3023313 h 8241402"/>
              <a:gd name="connsiteX268" fmla="*/ 1781224 w 4338596"/>
              <a:gd name="connsiteY268" fmla="*/ 3017456 h 8241402"/>
              <a:gd name="connsiteX269" fmla="*/ 1762961 w 4338596"/>
              <a:gd name="connsiteY269" fmla="*/ 3011599 h 8241402"/>
              <a:gd name="connsiteX270" fmla="*/ 1749771 w 4338596"/>
              <a:gd name="connsiteY270" fmla="*/ 3017456 h 8241402"/>
              <a:gd name="connsiteX271" fmla="*/ 1762961 w 4338596"/>
              <a:gd name="connsiteY271" fmla="*/ 3011599 h 8241402"/>
              <a:gd name="connsiteX272" fmla="*/ 3906676 w 4338596"/>
              <a:gd name="connsiteY272" fmla="*/ 2585592 h 8241402"/>
              <a:gd name="connsiteX273" fmla="*/ 3913953 w 4338596"/>
              <a:gd name="connsiteY273" fmla="*/ 2612359 h 8241402"/>
              <a:gd name="connsiteX274" fmla="*/ 3900763 w 4338596"/>
              <a:gd name="connsiteY274" fmla="*/ 2587957 h 8241402"/>
              <a:gd name="connsiteX275" fmla="*/ 3906676 w 4338596"/>
              <a:gd name="connsiteY275" fmla="*/ 2585592 h 8241402"/>
              <a:gd name="connsiteX276" fmla="*/ 3899193 w 4338596"/>
              <a:gd name="connsiteY276" fmla="*/ 2556231 h 8241402"/>
              <a:gd name="connsiteX277" fmla="*/ 3900763 w 4338596"/>
              <a:gd name="connsiteY277" fmla="*/ 2569410 h 8241402"/>
              <a:gd name="connsiteX278" fmla="*/ 3894674 w 4338596"/>
              <a:gd name="connsiteY278" fmla="*/ 2557696 h 8241402"/>
              <a:gd name="connsiteX279" fmla="*/ 3899193 w 4338596"/>
              <a:gd name="connsiteY279" fmla="*/ 2556231 h 8241402"/>
              <a:gd name="connsiteX280" fmla="*/ 3749193 w 4338596"/>
              <a:gd name="connsiteY280" fmla="*/ 2479753 h 8241402"/>
              <a:gd name="connsiteX281" fmla="*/ 3748315 w 4338596"/>
              <a:gd name="connsiteY281" fmla="*/ 2484120 h 8241402"/>
              <a:gd name="connsiteX282" fmla="*/ 3748029 w 4338596"/>
              <a:gd name="connsiteY282" fmla="*/ 2485538 h 8241402"/>
              <a:gd name="connsiteX283" fmla="*/ 3750599 w 4338596"/>
              <a:gd name="connsiteY283" fmla="*/ 2472772 h 8241402"/>
              <a:gd name="connsiteX284" fmla="*/ 3749742 w 4338596"/>
              <a:gd name="connsiteY284" fmla="*/ 2477028 h 8241402"/>
              <a:gd name="connsiteX285" fmla="*/ 3749193 w 4338596"/>
              <a:gd name="connsiteY285" fmla="*/ 2479753 h 8241402"/>
              <a:gd name="connsiteX286" fmla="*/ 3744511 w 4338596"/>
              <a:gd name="connsiteY286" fmla="*/ 2430799 h 8241402"/>
              <a:gd name="connsiteX287" fmla="*/ 3744511 w 4338596"/>
              <a:gd name="connsiteY287" fmla="*/ 2436655 h 8241402"/>
              <a:gd name="connsiteX288" fmla="*/ 3744511 w 4338596"/>
              <a:gd name="connsiteY288" fmla="*/ 2430799 h 8241402"/>
              <a:gd name="connsiteX289" fmla="*/ 3742191 w 4338596"/>
              <a:gd name="connsiteY289" fmla="*/ 2399039 h 8241402"/>
              <a:gd name="connsiteX290" fmla="*/ 3744639 w 4338596"/>
              <a:gd name="connsiteY290" fmla="*/ 2401270 h 8241402"/>
              <a:gd name="connsiteX291" fmla="*/ 3745542 w 4338596"/>
              <a:gd name="connsiteY291" fmla="*/ 2402094 h 8241402"/>
              <a:gd name="connsiteX292" fmla="*/ 3737409 w 4338596"/>
              <a:gd name="connsiteY292" fmla="*/ 2394681 h 8241402"/>
              <a:gd name="connsiteX293" fmla="*/ 3740120 w 4338596"/>
              <a:gd name="connsiteY293" fmla="*/ 2397152 h 8241402"/>
              <a:gd name="connsiteX294" fmla="*/ 3742191 w 4338596"/>
              <a:gd name="connsiteY294" fmla="*/ 2399039 h 8241402"/>
              <a:gd name="connsiteX295" fmla="*/ 3828034 w 4338596"/>
              <a:gd name="connsiteY295" fmla="*/ 2367794 h 8241402"/>
              <a:gd name="connsiteX296" fmla="*/ 3830477 w 4338596"/>
              <a:gd name="connsiteY296" fmla="*/ 2369075 h 8241402"/>
              <a:gd name="connsiteX297" fmla="*/ 3831769 w 4338596"/>
              <a:gd name="connsiteY297" fmla="*/ 2430799 h 8241402"/>
              <a:gd name="connsiteX298" fmla="*/ 3825680 w 4338596"/>
              <a:gd name="connsiteY298" fmla="*/ 2370277 h 8241402"/>
              <a:gd name="connsiteX299" fmla="*/ 3828034 w 4338596"/>
              <a:gd name="connsiteY299" fmla="*/ 2367794 h 8241402"/>
              <a:gd name="connsiteX300" fmla="*/ 3731321 w 4338596"/>
              <a:gd name="connsiteY300" fmla="*/ 2357588 h 8241402"/>
              <a:gd name="connsiteX301" fmla="*/ 3737409 w 4338596"/>
              <a:gd name="connsiteY301" fmla="*/ 2394681 h 8241402"/>
              <a:gd name="connsiteX302" fmla="*/ 3731321 w 4338596"/>
              <a:gd name="connsiteY302" fmla="*/ 2357588 h 8241402"/>
              <a:gd name="connsiteX303" fmla="*/ 3719145 w 4338596"/>
              <a:gd name="connsiteY303" fmla="*/ 2285354 h 8241402"/>
              <a:gd name="connsiteX304" fmla="*/ 3731321 w 4338596"/>
              <a:gd name="connsiteY304" fmla="*/ 2357588 h 8241402"/>
              <a:gd name="connsiteX305" fmla="*/ 3719145 w 4338596"/>
              <a:gd name="connsiteY305" fmla="*/ 2285354 h 8241402"/>
              <a:gd name="connsiteX306" fmla="*/ 3712183 w 4338596"/>
              <a:gd name="connsiteY306" fmla="*/ 2276540 h 8241402"/>
              <a:gd name="connsiteX307" fmla="*/ 3714063 w 4338596"/>
              <a:gd name="connsiteY307" fmla="*/ 2278920 h 8241402"/>
              <a:gd name="connsiteX308" fmla="*/ 3719145 w 4338596"/>
              <a:gd name="connsiteY308" fmla="*/ 2285354 h 8241402"/>
              <a:gd name="connsiteX309" fmla="*/ 3713610 w 4338596"/>
              <a:gd name="connsiteY309" fmla="*/ 2278348 h 8241402"/>
              <a:gd name="connsiteX310" fmla="*/ 3711013 w 4338596"/>
              <a:gd name="connsiteY310" fmla="*/ 2275059 h 8241402"/>
              <a:gd name="connsiteX311" fmla="*/ 3711140 w 4338596"/>
              <a:gd name="connsiteY311" fmla="*/ 2275220 h 8241402"/>
              <a:gd name="connsiteX312" fmla="*/ 3712183 w 4338596"/>
              <a:gd name="connsiteY312" fmla="*/ 2276540 h 8241402"/>
              <a:gd name="connsiteX313" fmla="*/ 3561881 w 4338596"/>
              <a:gd name="connsiteY313" fmla="*/ 2260951 h 8241402"/>
              <a:gd name="connsiteX314" fmla="*/ 3574054 w 4338596"/>
              <a:gd name="connsiteY314" fmla="*/ 2364421 h 8241402"/>
              <a:gd name="connsiteX315" fmla="*/ 3593333 w 4338596"/>
              <a:gd name="connsiteY315" fmla="*/ 2461058 h 8241402"/>
              <a:gd name="connsiteX316" fmla="*/ 3800315 w 4338596"/>
              <a:gd name="connsiteY316" fmla="*/ 3768103 h 8241402"/>
              <a:gd name="connsiteX317" fmla="*/ 3813505 w 4338596"/>
              <a:gd name="connsiteY317" fmla="*/ 3870597 h 8241402"/>
              <a:gd name="connsiteX318" fmla="*/ 3794227 w 4338596"/>
              <a:gd name="connsiteY318" fmla="*/ 3658776 h 8241402"/>
              <a:gd name="connsiteX319" fmla="*/ 3605509 w 4338596"/>
              <a:gd name="connsiteY319" fmla="*/ 2448369 h 8241402"/>
              <a:gd name="connsiteX320" fmla="*/ 3561881 w 4338596"/>
              <a:gd name="connsiteY320" fmla="*/ 2260951 h 8241402"/>
              <a:gd name="connsiteX321" fmla="*/ 3553920 w 4338596"/>
              <a:gd name="connsiteY321" fmla="*/ 2241764 h 8241402"/>
              <a:gd name="connsiteX322" fmla="*/ 3552281 w 4338596"/>
              <a:gd name="connsiteY322" fmla="*/ 2251761 h 8241402"/>
              <a:gd name="connsiteX323" fmla="*/ 3552209 w 4338596"/>
              <a:gd name="connsiteY323" fmla="*/ 2252196 h 8241402"/>
              <a:gd name="connsiteX324" fmla="*/ 3552102 w 4338596"/>
              <a:gd name="connsiteY324" fmla="*/ 2252848 h 8241402"/>
              <a:gd name="connsiteX325" fmla="*/ 3552281 w 4338596"/>
              <a:gd name="connsiteY325" fmla="*/ 2251761 h 8241402"/>
              <a:gd name="connsiteX326" fmla="*/ 3552495 w 4338596"/>
              <a:gd name="connsiteY326" fmla="*/ 2250458 h 8241402"/>
              <a:gd name="connsiteX327" fmla="*/ 3553920 w 4338596"/>
              <a:gd name="connsiteY327" fmla="*/ 2241764 h 8241402"/>
              <a:gd name="connsiteX328" fmla="*/ 3706906 w 4338596"/>
              <a:gd name="connsiteY328" fmla="*/ 2213075 h 8241402"/>
              <a:gd name="connsiteX329" fmla="*/ 3712044 w 4338596"/>
              <a:gd name="connsiteY329" fmla="*/ 2236547 h 8241402"/>
              <a:gd name="connsiteX330" fmla="*/ 3705956 w 4338596"/>
              <a:gd name="connsiteY330" fmla="*/ 2218978 h 8241402"/>
              <a:gd name="connsiteX331" fmla="*/ 3706906 w 4338596"/>
              <a:gd name="connsiteY331" fmla="*/ 2213075 h 8241402"/>
              <a:gd name="connsiteX332" fmla="*/ 3539315 w 4338596"/>
              <a:gd name="connsiteY332" fmla="*/ 2124187 h 8241402"/>
              <a:gd name="connsiteX333" fmla="*/ 3536515 w 4338596"/>
              <a:gd name="connsiteY333" fmla="*/ 2128197 h 8241402"/>
              <a:gd name="connsiteX334" fmla="*/ 3542602 w 4338596"/>
              <a:gd name="connsiteY334" fmla="*/ 2145767 h 8241402"/>
              <a:gd name="connsiteX335" fmla="*/ 3539315 w 4338596"/>
              <a:gd name="connsiteY335" fmla="*/ 2124187 h 8241402"/>
              <a:gd name="connsiteX336" fmla="*/ 3507819 w 4338596"/>
              <a:gd name="connsiteY336" fmla="*/ 1933961 h 8241402"/>
              <a:gd name="connsiteX337" fmla="*/ 3505061 w 4338596"/>
              <a:gd name="connsiteY337" fmla="*/ 1940779 h 8241402"/>
              <a:gd name="connsiteX338" fmla="*/ 3517237 w 4338596"/>
              <a:gd name="connsiteY338" fmla="*/ 1952492 h 8241402"/>
              <a:gd name="connsiteX339" fmla="*/ 3507819 w 4338596"/>
              <a:gd name="connsiteY339" fmla="*/ 1933961 h 8241402"/>
              <a:gd name="connsiteX340" fmla="*/ 3370593 w 4338596"/>
              <a:gd name="connsiteY340" fmla="*/ 1383924 h 8241402"/>
              <a:gd name="connsiteX341" fmla="*/ 3373161 w 4338596"/>
              <a:gd name="connsiteY341" fmla="*/ 1407809 h 8241402"/>
              <a:gd name="connsiteX342" fmla="*/ 3367073 w 4338596"/>
              <a:gd name="connsiteY342" fmla="*/ 1389262 h 8241402"/>
              <a:gd name="connsiteX343" fmla="*/ 3370593 w 4338596"/>
              <a:gd name="connsiteY343" fmla="*/ 1383924 h 8241402"/>
              <a:gd name="connsiteX344" fmla="*/ 3365275 w 4338596"/>
              <a:gd name="connsiteY344" fmla="*/ 1348147 h 8241402"/>
              <a:gd name="connsiteX345" fmla="*/ 3368105 w 4338596"/>
              <a:gd name="connsiteY345" fmla="*/ 1351727 h 8241402"/>
              <a:gd name="connsiteX346" fmla="*/ 3367200 w 4338596"/>
              <a:gd name="connsiteY346" fmla="*/ 1350583 h 8241402"/>
              <a:gd name="connsiteX347" fmla="*/ 3359971 w 4338596"/>
              <a:gd name="connsiteY347" fmla="*/ 1341432 h 8241402"/>
              <a:gd name="connsiteX348" fmla="*/ 3362683 w 4338596"/>
              <a:gd name="connsiteY348" fmla="*/ 1344863 h 8241402"/>
              <a:gd name="connsiteX349" fmla="*/ 3365275 w 4338596"/>
              <a:gd name="connsiteY349" fmla="*/ 1348147 h 8241402"/>
              <a:gd name="connsiteX350" fmla="*/ 3347794 w 4338596"/>
              <a:gd name="connsiteY350" fmla="*/ 1262365 h 8241402"/>
              <a:gd name="connsiteX351" fmla="*/ 3359971 w 4338596"/>
              <a:gd name="connsiteY351" fmla="*/ 1341432 h 8241402"/>
              <a:gd name="connsiteX352" fmla="*/ 3347794 w 4338596"/>
              <a:gd name="connsiteY352" fmla="*/ 1262365 h 8241402"/>
              <a:gd name="connsiteX353" fmla="*/ 3341707 w 4338596"/>
              <a:gd name="connsiteY353" fmla="*/ 1226248 h 8241402"/>
              <a:gd name="connsiteX354" fmla="*/ 3347794 w 4338596"/>
              <a:gd name="connsiteY354" fmla="*/ 1262365 h 8241402"/>
              <a:gd name="connsiteX355" fmla="*/ 3341707 w 4338596"/>
              <a:gd name="connsiteY355" fmla="*/ 1226248 h 8241402"/>
              <a:gd name="connsiteX356" fmla="*/ 3334606 w 4338596"/>
              <a:gd name="connsiteY356" fmla="*/ 1195988 h 8241402"/>
              <a:gd name="connsiteX357" fmla="*/ 3341707 w 4338596"/>
              <a:gd name="connsiteY357" fmla="*/ 1226248 h 8241402"/>
              <a:gd name="connsiteX358" fmla="*/ 3334606 w 4338596"/>
              <a:gd name="connsiteY358" fmla="*/ 1195988 h 8241402"/>
              <a:gd name="connsiteX359" fmla="*/ 3322429 w 4338596"/>
              <a:gd name="connsiteY359" fmla="*/ 1117898 h 8241402"/>
              <a:gd name="connsiteX360" fmla="*/ 3334606 w 4338596"/>
              <a:gd name="connsiteY360" fmla="*/ 1195988 h 8241402"/>
              <a:gd name="connsiteX361" fmla="*/ 3322429 w 4338596"/>
              <a:gd name="connsiteY361" fmla="*/ 1117898 h 8241402"/>
              <a:gd name="connsiteX362" fmla="*/ 1883146 w 4338596"/>
              <a:gd name="connsiteY362" fmla="*/ 919587 h 8241402"/>
              <a:gd name="connsiteX363" fmla="*/ 1887189 w 4338596"/>
              <a:gd name="connsiteY363" fmla="*/ 920275 h 8241402"/>
              <a:gd name="connsiteX364" fmla="*/ 1869497 w 4338596"/>
              <a:gd name="connsiteY364" fmla="*/ 936336 h 8241402"/>
              <a:gd name="connsiteX365" fmla="*/ 1875584 w 4338596"/>
              <a:gd name="connsiteY365" fmla="*/ 923646 h 8241402"/>
              <a:gd name="connsiteX366" fmla="*/ 1883146 w 4338596"/>
              <a:gd name="connsiteY366" fmla="*/ 919587 h 8241402"/>
              <a:gd name="connsiteX367" fmla="*/ 2961794 w 4338596"/>
              <a:gd name="connsiteY367" fmla="*/ 584781 h 8241402"/>
              <a:gd name="connsiteX368" fmla="*/ 2957167 w 4338596"/>
              <a:gd name="connsiteY368" fmla="*/ 590784 h 8241402"/>
              <a:gd name="connsiteX369" fmla="*/ 2976445 w 4338596"/>
              <a:gd name="connsiteY369" fmla="*/ 700111 h 8241402"/>
              <a:gd name="connsiteX370" fmla="*/ 3013986 w 4338596"/>
              <a:gd name="connsiteY370" fmla="*/ 990024 h 8241402"/>
              <a:gd name="connsiteX371" fmla="*/ 3021087 w 4338596"/>
              <a:gd name="connsiteY371" fmla="*/ 905100 h 8241402"/>
              <a:gd name="connsiteX372" fmla="*/ 2982533 w 4338596"/>
              <a:gd name="connsiteY372" fmla="*/ 694255 h 8241402"/>
              <a:gd name="connsiteX373" fmla="*/ 2961794 w 4338596"/>
              <a:gd name="connsiteY373" fmla="*/ 584781 h 8241402"/>
              <a:gd name="connsiteX374" fmla="*/ 3057520 w 4338596"/>
              <a:gd name="connsiteY374" fmla="*/ 456474 h 8241402"/>
              <a:gd name="connsiteX375" fmla="*/ 3051526 w 4338596"/>
              <a:gd name="connsiteY375" fmla="*/ 463887 h 8241402"/>
              <a:gd name="connsiteX376" fmla="*/ 3064717 w 4338596"/>
              <a:gd name="connsiteY376" fmla="*/ 530264 h 8241402"/>
              <a:gd name="connsiteX377" fmla="*/ 3051526 w 4338596"/>
              <a:gd name="connsiteY377" fmla="*/ 524407 h 8241402"/>
              <a:gd name="connsiteX378" fmla="*/ 3045438 w 4338596"/>
              <a:gd name="connsiteY378" fmla="*/ 542954 h 8241402"/>
              <a:gd name="connsiteX379" fmla="*/ 3058630 w 4338596"/>
              <a:gd name="connsiteY379" fmla="*/ 663994 h 8241402"/>
              <a:gd name="connsiteX380" fmla="*/ 3070805 w 4338596"/>
              <a:gd name="connsiteY380" fmla="*/ 802605 h 8241402"/>
              <a:gd name="connsiteX381" fmla="*/ 3139799 w 4338596"/>
              <a:gd name="connsiteY381" fmla="*/ 1080804 h 8241402"/>
              <a:gd name="connsiteX382" fmla="*/ 3196616 w 4338596"/>
              <a:gd name="connsiteY382" fmla="*/ 1383406 h 8241402"/>
              <a:gd name="connsiteX383" fmla="*/ 3322429 w 4338596"/>
              <a:gd name="connsiteY383" fmla="*/ 1922232 h 8241402"/>
              <a:gd name="connsiteX384" fmla="*/ 3322429 w 4338596"/>
              <a:gd name="connsiteY384" fmla="*/ 1867569 h 8241402"/>
              <a:gd name="connsiteX385" fmla="*/ 3278801 w 4338596"/>
              <a:gd name="connsiteY385" fmla="*/ 1601084 h 8241402"/>
              <a:gd name="connsiteX386" fmla="*/ 3221981 w 4338596"/>
              <a:gd name="connsiteY386" fmla="*/ 1237962 h 8241402"/>
              <a:gd name="connsiteX387" fmla="*/ 3215895 w 4338596"/>
              <a:gd name="connsiteY387" fmla="*/ 1165728 h 8241402"/>
              <a:gd name="connsiteX388" fmla="*/ 3228070 w 4338596"/>
              <a:gd name="connsiteY388" fmla="*/ 1147181 h 8241402"/>
              <a:gd name="connsiteX389" fmla="*/ 3190529 w 4338596"/>
              <a:gd name="connsiteY389" fmla="*/ 893386 h 8241402"/>
              <a:gd name="connsiteX390" fmla="*/ 3165164 w 4338596"/>
              <a:gd name="connsiteY390" fmla="*/ 711825 h 8241402"/>
              <a:gd name="connsiteX391" fmla="*/ 3127623 w 4338596"/>
              <a:gd name="connsiteY391" fmla="*/ 542954 h 8241402"/>
              <a:gd name="connsiteX392" fmla="*/ 3108345 w 4338596"/>
              <a:gd name="connsiteY392" fmla="*/ 524407 h 8241402"/>
              <a:gd name="connsiteX393" fmla="*/ 3102257 w 4338596"/>
              <a:gd name="connsiteY393" fmla="*/ 494147 h 8241402"/>
              <a:gd name="connsiteX394" fmla="*/ 3058630 w 4338596"/>
              <a:gd name="connsiteY394" fmla="*/ 458030 h 8241402"/>
              <a:gd name="connsiteX395" fmla="*/ 3057520 w 4338596"/>
              <a:gd name="connsiteY395" fmla="*/ 456474 h 8241402"/>
              <a:gd name="connsiteX396" fmla="*/ 3232766 w 4338596"/>
              <a:gd name="connsiteY396" fmla="*/ 454764 h 8241402"/>
              <a:gd name="connsiteX397" fmla="*/ 3234086 w 4338596"/>
              <a:gd name="connsiteY397" fmla="*/ 457540 h 8241402"/>
              <a:gd name="connsiteX398" fmla="*/ 3234158 w 4338596"/>
              <a:gd name="connsiteY398" fmla="*/ 458030 h 8241402"/>
              <a:gd name="connsiteX399" fmla="*/ 3230321 w 4338596"/>
              <a:gd name="connsiteY399" fmla="*/ 449611 h 8241402"/>
              <a:gd name="connsiteX400" fmla="*/ 3230991 w 4338596"/>
              <a:gd name="connsiteY400" fmla="*/ 450595 h 8241402"/>
              <a:gd name="connsiteX401" fmla="*/ 3232766 w 4338596"/>
              <a:gd name="connsiteY401" fmla="*/ 454764 h 8241402"/>
              <a:gd name="connsiteX402" fmla="*/ 2825267 w 4338596"/>
              <a:gd name="connsiteY402" fmla="*/ 373106 h 8241402"/>
              <a:gd name="connsiteX403" fmla="*/ 2863823 w 4338596"/>
              <a:gd name="connsiteY403" fmla="*/ 433626 h 8241402"/>
              <a:gd name="connsiteX404" fmla="*/ 2825267 w 4338596"/>
              <a:gd name="connsiteY404" fmla="*/ 373106 h 8241402"/>
              <a:gd name="connsiteX405" fmla="*/ 2823046 w 4338596"/>
              <a:gd name="connsiteY405" fmla="*/ 331102 h 8241402"/>
              <a:gd name="connsiteX406" fmla="*/ 2838457 w 4338596"/>
              <a:gd name="connsiteY406" fmla="*/ 355536 h 8241402"/>
              <a:gd name="connsiteX407" fmla="*/ 2819179 w 4338596"/>
              <a:gd name="connsiteY407" fmla="*/ 336989 h 8241402"/>
              <a:gd name="connsiteX408" fmla="*/ 2823046 w 4338596"/>
              <a:gd name="connsiteY408" fmla="*/ 331102 h 8241402"/>
              <a:gd name="connsiteX409" fmla="*/ 3359971 w 4338596"/>
              <a:gd name="connsiteY409" fmla="*/ 263779 h 8241402"/>
              <a:gd name="connsiteX410" fmla="*/ 3359313 w 4338596"/>
              <a:gd name="connsiteY410" fmla="*/ 263938 h 8241402"/>
              <a:gd name="connsiteX411" fmla="*/ 3359326 w 4338596"/>
              <a:gd name="connsiteY411" fmla="*/ 263912 h 8241402"/>
              <a:gd name="connsiteX412" fmla="*/ 3241260 w 4338596"/>
              <a:gd name="connsiteY412" fmla="*/ 76362 h 8241402"/>
              <a:gd name="connsiteX413" fmla="*/ 3265611 w 4338596"/>
              <a:gd name="connsiteY413" fmla="*/ 89051 h 8241402"/>
              <a:gd name="connsiteX414" fmla="*/ 3303151 w 4338596"/>
              <a:gd name="connsiteY414" fmla="*/ 76362 h 8241402"/>
              <a:gd name="connsiteX415" fmla="*/ 3334606 w 4338596"/>
              <a:gd name="connsiteY415" fmla="*/ 94908 h 8241402"/>
              <a:gd name="connsiteX416" fmla="*/ 3347794 w 4338596"/>
              <a:gd name="connsiteY416" fmla="*/ 136881 h 8241402"/>
              <a:gd name="connsiteX417" fmla="*/ 3385336 w 4338596"/>
              <a:gd name="connsiteY417" fmla="*/ 221805 h 8241402"/>
              <a:gd name="connsiteX418" fmla="*/ 3361367 w 4338596"/>
              <a:gd name="connsiteY418" fmla="*/ 260104 h 8241402"/>
              <a:gd name="connsiteX419" fmla="*/ 3359326 w 4338596"/>
              <a:gd name="connsiteY419" fmla="*/ 263912 h 8241402"/>
              <a:gd name="connsiteX420" fmla="*/ 3354438 w 4338596"/>
              <a:gd name="connsiteY420" fmla="*/ 264923 h 8241402"/>
              <a:gd name="connsiteX421" fmla="*/ 3334606 w 4338596"/>
              <a:gd name="connsiteY421" fmla="*/ 257922 h 8241402"/>
              <a:gd name="connsiteX422" fmla="*/ 3328518 w 4338596"/>
              <a:gd name="connsiteY422" fmla="*/ 282326 h 8241402"/>
              <a:gd name="connsiteX423" fmla="*/ 3297063 w 4338596"/>
              <a:gd name="connsiteY423" fmla="*/ 276469 h 8241402"/>
              <a:gd name="connsiteX424" fmla="*/ 3322429 w 4338596"/>
              <a:gd name="connsiteY424" fmla="*/ 384820 h 8241402"/>
              <a:gd name="connsiteX425" fmla="*/ 3253435 w 4338596"/>
              <a:gd name="connsiteY425" fmla="*/ 312586 h 8241402"/>
              <a:gd name="connsiteX426" fmla="*/ 3253435 w 4338596"/>
              <a:gd name="connsiteY426" fmla="*/ 312586 h 8241402"/>
              <a:gd name="connsiteX427" fmla="*/ 3265611 w 4338596"/>
              <a:gd name="connsiteY427" fmla="*/ 373106 h 8241402"/>
              <a:gd name="connsiteX428" fmla="*/ 3265611 w 4338596"/>
              <a:gd name="connsiteY428" fmla="*/ 409223 h 8241402"/>
              <a:gd name="connsiteX429" fmla="*/ 3253435 w 4338596"/>
              <a:gd name="connsiteY429" fmla="*/ 463887 h 8241402"/>
              <a:gd name="connsiteX430" fmla="*/ 3234665 w 4338596"/>
              <a:gd name="connsiteY430" fmla="*/ 458762 h 8241402"/>
              <a:gd name="connsiteX431" fmla="*/ 3234086 w 4338596"/>
              <a:gd name="connsiteY431" fmla="*/ 457540 h 8241402"/>
              <a:gd name="connsiteX432" fmla="*/ 3230337 w 4338596"/>
              <a:gd name="connsiteY432" fmla="*/ 432544 h 8241402"/>
              <a:gd name="connsiteX433" fmla="*/ 3208793 w 4338596"/>
              <a:gd name="connsiteY433" fmla="*/ 355536 h 8241402"/>
              <a:gd name="connsiteX434" fmla="*/ 3215895 w 4338596"/>
              <a:gd name="connsiteY434" fmla="*/ 409223 h 8241402"/>
              <a:gd name="connsiteX435" fmla="*/ 3184443 w 4338596"/>
              <a:gd name="connsiteY435" fmla="*/ 391653 h 8241402"/>
              <a:gd name="connsiteX436" fmla="*/ 3171251 w 4338596"/>
              <a:gd name="connsiteY436" fmla="*/ 439484 h 8241402"/>
              <a:gd name="connsiteX437" fmla="*/ 3177339 w 4338596"/>
              <a:gd name="connsiteY437" fmla="*/ 469744 h 8241402"/>
              <a:gd name="connsiteX438" fmla="*/ 3165164 w 4338596"/>
              <a:gd name="connsiteY438" fmla="*/ 488290 h 8241402"/>
              <a:gd name="connsiteX439" fmla="*/ 3165164 w 4338596"/>
              <a:gd name="connsiteY439" fmla="*/ 579071 h 8241402"/>
              <a:gd name="connsiteX440" fmla="*/ 3221981 w 4338596"/>
              <a:gd name="connsiteY440" fmla="*/ 948050 h 8241402"/>
              <a:gd name="connsiteX441" fmla="*/ 3253435 w 4338596"/>
              <a:gd name="connsiteY441" fmla="*/ 1026141 h 8241402"/>
              <a:gd name="connsiteX442" fmla="*/ 3265611 w 4338596"/>
              <a:gd name="connsiteY442" fmla="*/ 1032973 h 8241402"/>
              <a:gd name="connsiteX443" fmla="*/ 3341707 w 4338596"/>
              <a:gd name="connsiteY443" fmla="*/ 1492733 h 8241402"/>
              <a:gd name="connsiteX444" fmla="*/ 3359971 w 4338596"/>
              <a:gd name="connsiteY444" fmla="*/ 1541540 h 8241402"/>
              <a:gd name="connsiteX445" fmla="*/ 3373161 w 4338596"/>
              <a:gd name="connsiteY445" fmla="*/ 1528850 h 8241402"/>
              <a:gd name="connsiteX446" fmla="*/ 3404614 w 4338596"/>
              <a:gd name="connsiteY446" fmla="*/ 1698698 h 8241402"/>
              <a:gd name="connsiteX447" fmla="*/ 3428964 w 4338596"/>
              <a:gd name="connsiteY447" fmla="*/ 1746528 h 8241402"/>
              <a:gd name="connsiteX448" fmla="*/ 3385336 w 4338596"/>
              <a:gd name="connsiteY448" fmla="*/ 1517136 h 8241402"/>
              <a:gd name="connsiteX449" fmla="*/ 3373161 w 4338596"/>
              <a:gd name="connsiteY449" fmla="*/ 1426356 h 8241402"/>
              <a:gd name="connsiteX450" fmla="*/ 3391424 w 4338596"/>
              <a:gd name="connsiteY450" fmla="*/ 1492733 h 8241402"/>
              <a:gd name="connsiteX451" fmla="*/ 3410703 w 4338596"/>
              <a:gd name="connsiteY451" fmla="*/ 1564967 h 8241402"/>
              <a:gd name="connsiteX452" fmla="*/ 3410703 w 4338596"/>
              <a:gd name="connsiteY452" fmla="*/ 1564967 h 8241402"/>
              <a:gd name="connsiteX453" fmla="*/ 3367073 w 4338596"/>
              <a:gd name="connsiteY453" fmla="*/ 1220391 h 8241402"/>
              <a:gd name="connsiteX454" fmla="*/ 3410703 w 4338596"/>
              <a:gd name="connsiteY454" fmla="*/ 1426356 h 8241402"/>
              <a:gd name="connsiteX455" fmla="*/ 3492885 w 4338596"/>
              <a:gd name="connsiteY455" fmla="*/ 1861712 h 8241402"/>
              <a:gd name="connsiteX456" fmla="*/ 3511149 w 4338596"/>
              <a:gd name="connsiteY456" fmla="*/ 1903686 h 8241402"/>
              <a:gd name="connsiteX457" fmla="*/ 3473607 w 4338596"/>
              <a:gd name="connsiteY457" fmla="*/ 1691864 h 8241402"/>
              <a:gd name="connsiteX458" fmla="*/ 3485784 w 4338596"/>
              <a:gd name="connsiteY458" fmla="*/ 1680151 h 8241402"/>
              <a:gd name="connsiteX459" fmla="*/ 3460419 w 4338596"/>
              <a:gd name="connsiteY459" fmla="*/ 1522993 h 8241402"/>
              <a:gd name="connsiteX460" fmla="*/ 3473607 w 4338596"/>
              <a:gd name="connsiteY460" fmla="*/ 1534707 h 8241402"/>
              <a:gd name="connsiteX461" fmla="*/ 3479696 w 4338596"/>
              <a:gd name="connsiteY461" fmla="*/ 1498590 h 8241402"/>
              <a:gd name="connsiteX462" fmla="*/ 3530427 w 4338596"/>
              <a:gd name="connsiteY462" fmla="*/ 1631344 h 8241402"/>
              <a:gd name="connsiteX463" fmla="*/ 3593333 w 4338596"/>
              <a:gd name="connsiteY463" fmla="*/ 1933946 h 8241402"/>
              <a:gd name="connsiteX464" fmla="*/ 3624786 w 4338596"/>
              <a:gd name="connsiteY464" fmla="*/ 2092079 h 8241402"/>
              <a:gd name="connsiteX465" fmla="*/ 3649138 w 4338596"/>
              <a:gd name="connsiteY465" fmla="*/ 2103794 h 8241402"/>
              <a:gd name="connsiteX466" fmla="*/ 3674502 w 4338596"/>
              <a:gd name="connsiteY466" fmla="*/ 2255094 h 8241402"/>
              <a:gd name="connsiteX467" fmla="*/ 3844958 w 4338596"/>
              <a:gd name="connsiteY467" fmla="*/ 3289797 h 8241402"/>
              <a:gd name="connsiteX468" fmla="*/ 3851045 w 4338596"/>
              <a:gd name="connsiteY468" fmla="*/ 3271250 h 8241402"/>
              <a:gd name="connsiteX469" fmla="*/ 3687693 w 4338596"/>
              <a:gd name="connsiteY469" fmla="*/ 2266808 h 8241402"/>
              <a:gd name="connsiteX470" fmla="*/ 3693780 w 4338596"/>
              <a:gd name="connsiteY470" fmla="*/ 2218978 h 8241402"/>
              <a:gd name="connsiteX471" fmla="*/ 3756687 w 4338596"/>
              <a:gd name="connsiteY471" fmla="*/ 2575266 h 8241402"/>
              <a:gd name="connsiteX472" fmla="*/ 3782052 w 4338596"/>
              <a:gd name="connsiteY472" fmla="*/ 2606503 h 8241402"/>
              <a:gd name="connsiteX473" fmla="*/ 3794227 w 4338596"/>
              <a:gd name="connsiteY473" fmla="*/ 2703140 h 8241402"/>
              <a:gd name="connsiteX474" fmla="*/ 3882499 w 4338596"/>
              <a:gd name="connsiteY474" fmla="*/ 3259537 h 8241402"/>
              <a:gd name="connsiteX475" fmla="*/ 3900763 w 4338596"/>
              <a:gd name="connsiteY475" fmla="*/ 3289797 h 8241402"/>
              <a:gd name="connsiteX476" fmla="*/ 3794227 w 4338596"/>
              <a:gd name="connsiteY476" fmla="*/ 2557696 h 8241402"/>
              <a:gd name="connsiteX477" fmla="*/ 3744511 w 4338596"/>
              <a:gd name="connsiteY477" fmla="*/ 2315614 h 8241402"/>
              <a:gd name="connsiteX478" fmla="*/ 3756687 w 4338596"/>
              <a:gd name="connsiteY478" fmla="*/ 2285354 h 8241402"/>
              <a:gd name="connsiteX479" fmla="*/ 3951493 w 4338596"/>
              <a:gd name="connsiteY479" fmla="*/ 3520165 h 8241402"/>
              <a:gd name="connsiteX480" fmla="*/ 3989035 w 4338596"/>
              <a:gd name="connsiteY480" fmla="*/ 3701726 h 8241402"/>
              <a:gd name="connsiteX481" fmla="*/ 3989035 w 4338596"/>
              <a:gd name="connsiteY481" fmla="*/ 3677323 h 8241402"/>
              <a:gd name="connsiteX482" fmla="*/ 3939318 w 4338596"/>
              <a:gd name="connsiteY482" fmla="*/ 3289797 h 8241402"/>
              <a:gd name="connsiteX483" fmla="*/ 3926127 w 4338596"/>
              <a:gd name="connsiteY483" fmla="*/ 3168757 h 8241402"/>
              <a:gd name="connsiteX484" fmla="*/ 3982946 w 4338596"/>
              <a:gd name="connsiteY484" fmla="*/ 3543592 h 8241402"/>
              <a:gd name="connsiteX485" fmla="*/ 4002224 w 4338596"/>
              <a:gd name="connsiteY485" fmla="*/ 3580685 h 8241402"/>
              <a:gd name="connsiteX486" fmla="*/ 3939318 w 4338596"/>
              <a:gd name="connsiteY486" fmla="*/ 3017456 h 8241402"/>
              <a:gd name="connsiteX487" fmla="*/ 3869309 w 4338596"/>
              <a:gd name="connsiteY487" fmla="*/ 2636763 h 8241402"/>
              <a:gd name="connsiteX488" fmla="*/ 3857133 w 4338596"/>
              <a:gd name="connsiteY488" fmla="*/ 2521579 h 8241402"/>
              <a:gd name="connsiteX489" fmla="*/ 3900763 w 4338596"/>
              <a:gd name="connsiteY489" fmla="*/ 2654334 h 8241402"/>
              <a:gd name="connsiteX490" fmla="*/ 3963669 w 4338596"/>
              <a:gd name="connsiteY490" fmla="*/ 3066263 h 8241402"/>
              <a:gd name="connsiteX491" fmla="*/ 3989035 w 4338596"/>
              <a:gd name="connsiteY491" fmla="*/ 3144353 h 8241402"/>
              <a:gd name="connsiteX492" fmla="*/ 4026576 w 4338596"/>
              <a:gd name="connsiteY492" fmla="*/ 3410837 h 8241402"/>
              <a:gd name="connsiteX493" fmla="*/ 4033677 w 4338596"/>
              <a:gd name="connsiteY493" fmla="*/ 3531879 h 8241402"/>
              <a:gd name="connsiteX494" fmla="*/ 4051940 w 4338596"/>
              <a:gd name="connsiteY494" fmla="*/ 3586542 h 8241402"/>
              <a:gd name="connsiteX495" fmla="*/ 4071219 w 4338596"/>
              <a:gd name="connsiteY495" fmla="*/ 3652920 h 8241402"/>
              <a:gd name="connsiteX496" fmla="*/ 3995121 w 4338596"/>
              <a:gd name="connsiteY496" fmla="*/ 3066263 h 8241402"/>
              <a:gd name="connsiteX497" fmla="*/ 3920039 w 4338596"/>
              <a:gd name="connsiteY497" fmla="*/ 2582099 h 8241402"/>
              <a:gd name="connsiteX498" fmla="*/ 3863222 w 4338596"/>
              <a:gd name="connsiteY498" fmla="*/ 2260951 h 8241402"/>
              <a:gd name="connsiteX499" fmla="*/ 3863222 w 4338596"/>
              <a:gd name="connsiteY499" fmla="*/ 2182860 h 8241402"/>
              <a:gd name="connsiteX500" fmla="*/ 3926127 w 4338596"/>
              <a:gd name="connsiteY500" fmla="*/ 2545006 h 8241402"/>
              <a:gd name="connsiteX501" fmla="*/ 3995121 w 4338596"/>
              <a:gd name="connsiteY501" fmla="*/ 2932532 h 8241402"/>
              <a:gd name="connsiteX502" fmla="*/ 4002224 w 4338596"/>
              <a:gd name="connsiteY502" fmla="*/ 2866155 h 8241402"/>
              <a:gd name="connsiteX503" fmla="*/ 3888587 w 4338596"/>
              <a:gd name="connsiteY503" fmla="*/ 2243381 h 8241402"/>
              <a:gd name="connsiteX504" fmla="*/ 3900763 w 4338596"/>
              <a:gd name="connsiteY504" fmla="*/ 2249237 h 8241402"/>
              <a:gd name="connsiteX505" fmla="*/ 3913953 w 4338596"/>
              <a:gd name="connsiteY505" fmla="*/ 2315614 h 8241402"/>
              <a:gd name="connsiteX506" fmla="*/ 4246747 w 4338596"/>
              <a:gd name="connsiteY506" fmla="*/ 4585128 h 8241402"/>
              <a:gd name="connsiteX507" fmla="*/ 4266025 w 4338596"/>
              <a:gd name="connsiteY507" fmla="*/ 4869183 h 8241402"/>
              <a:gd name="connsiteX508" fmla="*/ 4272113 w 4338596"/>
              <a:gd name="connsiteY508" fmla="*/ 5062458 h 8241402"/>
              <a:gd name="connsiteX509" fmla="*/ 4285303 w 4338596"/>
              <a:gd name="connsiteY509" fmla="*/ 5001937 h 8241402"/>
              <a:gd name="connsiteX510" fmla="*/ 4278201 w 4338596"/>
              <a:gd name="connsiteY510" fmla="*/ 4971677 h 8241402"/>
              <a:gd name="connsiteX511" fmla="*/ 4253849 w 4338596"/>
              <a:gd name="connsiteY511" fmla="*/ 4500204 h 8241402"/>
              <a:gd name="connsiteX512" fmla="*/ 4272113 w 4338596"/>
              <a:gd name="connsiteY512" fmla="*/ 4585128 h 8241402"/>
              <a:gd name="connsiteX513" fmla="*/ 4291391 w 4338596"/>
              <a:gd name="connsiteY513" fmla="*/ 4965820 h 8241402"/>
              <a:gd name="connsiteX514" fmla="*/ 4303565 w 4338596"/>
              <a:gd name="connsiteY514" fmla="*/ 5226448 h 8241402"/>
              <a:gd name="connsiteX515" fmla="*/ 4322844 w 4338596"/>
              <a:gd name="connsiteY515" fmla="*/ 5189355 h 8241402"/>
              <a:gd name="connsiteX516" fmla="*/ 4328931 w 4338596"/>
              <a:gd name="connsiteY516" fmla="*/ 5334799 h 8241402"/>
              <a:gd name="connsiteX517" fmla="*/ 4278201 w 4338596"/>
              <a:gd name="connsiteY517" fmla="*/ 5534906 h 8241402"/>
              <a:gd name="connsiteX518" fmla="*/ 4215295 w 4338596"/>
              <a:gd name="connsiteY518" fmla="*/ 5522217 h 8241402"/>
              <a:gd name="connsiteX519" fmla="*/ 4228483 w 4338596"/>
              <a:gd name="connsiteY519" fmla="*/ 5504646 h 8241402"/>
              <a:gd name="connsiteX520" fmla="*/ 4203118 w 4338596"/>
              <a:gd name="connsiteY520" fmla="*/ 5522217 h 8241402"/>
              <a:gd name="connsiteX521" fmla="*/ 4165578 w 4338596"/>
              <a:gd name="connsiteY521" fmla="*/ 5546620 h 8241402"/>
              <a:gd name="connsiteX522" fmla="*/ 4120934 w 4338596"/>
              <a:gd name="connsiteY522" fmla="*/ 5534906 h 8241402"/>
              <a:gd name="connsiteX523" fmla="*/ 4096584 w 4338596"/>
              <a:gd name="connsiteY523" fmla="*/ 5552477 h 8241402"/>
              <a:gd name="connsiteX524" fmla="*/ 4065131 w 4338596"/>
              <a:gd name="connsiteY524" fmla="*/ 5546620 h 8241402"/>
              <a:gd name="connsiteX525" fmla="*/ 4020487 w 4338596"/>
              <a:gd name="connsiteY525" fmla="*/ 5583713 h 8241402"/>
              <a:gd name="connsiteX526" fmla="*/ 3963669 w 4338596"/>
              <a:gd name="connsiteY526" fmla="*/ 5583713 h 8241402"/>
              <a:gd name="connsiteX527" fmla="*/ 4002224 w 4338596"/>
              <a:gd name="connsiteY527" fmla="*/ 5601283 h 8241402"/>
              <a:gd name="connsiteX528" fmla="*/ 3876411 w 4338596"/>
              <a:gd name="connsiteY528" fmla="*/ 5612997 h 8241402"/>
              <a:gd name="connsiteX529" fmla="*/ 3800315 w 4338596"/>
              <a:gd name="connsiteY529" fmla="*/ 5625687 h 8241402"/>
              <a:gd name="connsiteX530" fmla="*/ 3788140 w 4338596"/>
              <a:gd name="connsiteY530" fmla="*/ 5661804 h 8241402"/>
              <a:gd name="connsiteX531" fmla="*/ 3599419 w 4338596"/>
              <a:gd name="connsiteY531" fmla="*/ 5673517 h 8241402"/>
              <a:gd name="connsiteX532" fmla="*/ 3561881 w 4338596"/>
              <a:gd name="connsiteY532" fmla="*/ 5703778 h 8241402"/>
              <a:gd name="connsiteX533" fmla="*/ 3523325 w 4338596"/>
              <a:gd name="connsiteY533" fmla="*/ 5710611 h 8241402"/>
              <a:gd name="connsiteX534" fmla="*/ 3442155 w 4338596"/>
              <a:gd name="connsiteY534" fmla="*/ 5722324 h 8241402"/>
              <a:gd name="connsiteX535" fmla="*/ 3404614 w 4338596"/>
              <a:gd name="connsiteY535" fmla="*/ 5758441 h 8241402"/>
              <a:gd name="connsiteX536" fmla="*/ 3353883 w 4338596"/>
              <a:gd name="connsiteY536" fmla="*/ 5758441 h 8241402"/>
              <a:gd name="connsiteX537" fmla="*/ 3297063 w 4338596"/>
              <a:gd name="connsiteY537" fmla="*/ 5782845 h 8241402"/>
              <a:gd name="connsiteX538" fmla="*/ 3208793 w 4338596"/>
              <a:gd name="connsiteY538" fmla="*/ 5794558 h 8241402"/>
              <a:gd name="connsiteX539" fmla="*/ 3259523 w 4338596"/>
              <a:gd name="connsiteY539" fmla="*/ 5928288 h 8241402"/>
              <a:gd name="connsiteX540" fmla="*/ 3303151 w 4338596"/>
              <a:gd name="connsiteY540" fmla="*/ 6042496 h 8241402"/>
              <a:gd name="connsiteX541" fmla="*/ 3208793 w 4338596"/>
              <a:gd name="connsiteY541" fmla="*/ 5885339 h 8241402"/>
              <a:gd name="connsiteX542" fmla="*/ 3215895 w 4338596"/>
              <a:gd name="connsiteY542" fmla="*/ 5915599 h 8241402"/>
              <a:gd name="connsiteX543" fmla="*/ 3379248 w 4338596"/>
              <a:gd name="connsiteY543" fmla="*/ 6278721 h 8241402"/>
              <a:gd name="connsiteX544" fmla="*/ 3536515 w 4338596"/>
              <a:gd name="connsiteY544" fmla="*/ 6654533 h 8241402"/>
              <a:gd name="connsiteX545" fmla="*/ 3680590 w 4338596"/>
              <a:gd name="connsiteY545" fmla="*/ 7047915 h 8241402"/>
              <a:gd name="connsiteX546" fmla="*/ 3593333 w 4338596"/>
              <a:gd name="connsiteY546" fmla="*/ 6829261 h 8241402"/>
              <a:gd name="connsiteX547" fmla="*/ 3561881 w 4338596"/>
              <a:gd name="connsiteY547" fmla="*/ 6757027 h 8241402"/>
              <a:gd name="connsiteX548" fmla="*/ 3574054 w 4338596"/>
              <a:gd name="connsiteY548" fmla="*/ 6829261 h 8241402"/>
              <a:gd name="connsiteX549" fmla="*/ 3756687 w 4338596"/>
              <a:gd name="connsiteY549" fmla="*/ 7325137 h 8241402"/>
              <a:gd name="connsiteX550" fmla="*/ 3574054 w 4338596"/>
              <a:gd name="connsiteY550" fmla="*/ 6872211 h 8241402"/>
              <a:gd name="connsiteX551" fmla="*/ 3554777 w 4338596"/>
              <a:gd name="connsiteY551" fmla="*/ 6841951 h 8241402"/>
              <a:gd name="connsiteX552" fmla="*/ 3567967 w 4338596"/>
              <a:gd name="connsiteY552" fmla="*/ 6872211 h 8241402"/>
              <a:gd name="connsiteX553" fmla="*/ 3744511 w 4338596"/>
              <a:gd name="connsiteY553" fmla="*/ 7372968 h 8241402"/>
              <a:gd name="connsiteX554" fmla="*/ 3699867 w 4338596"/>
              <a:gd name="connsiteY554" fmla="*/ 7264617 h 8241402"/>
              <a:gd name="connsiteX555" fmla="*/ 3656239 w 4338596"/>
              <a:gd name="connsiteY555" fmla="*/ 7150409 h 8241402"/>
              <a:gd name="connsiteX556" fmla="*/ 3674502 w 4338596"/>
              <a:gd name="connsiteY556" fmla="*/ 7234357 h 8241402"/>
              <a:gd name="connsiteX557" fmla="*/ 3705956 w 4338596"/>
              <a:gd name="connsiteY557" fmla="*/ 7319281 h 8241402"/>
              <a:gd name="connsiteX558" fmla="*/ 3668415 w 4338596"/>
              <a:gd name="connsiteY558" fmla="*/ 7251928 h 8241402"/>
              <a:gd name="connsiteX559" fmla="*/ 3505061 w 4338596"/>
              <a:gd name="connsiteY559" fmla="*/ 6817547 h 8241402"/>
              <a:gd name="connsiteX560" fmla="*/ 3428964 w 4338596"/>
              <a:gd name="connsiteY560" fmla="*/ 6654533 h 8241402"/>
              <a:gd name="connsiteX561" fmla="*/ 3436068 w 4338596"/>
              <a:gd name="connsiteY561" fmla="*/ 6678936 h 8241402"/>
              <a:gd name="connsiteX562" fmla="*/ 3567967 w 4338596"/>
              <a:gd name="connsiteY562" fmla="*/ 7035226 h 8241402"/>
              <a:gd name="connsiteX563" fmla="*/ 3618698 w 4338596"/>
              <a:gd name="connsiteY563" fmla="*/ 7168956 h 8241402"/>
              <a:gd name="connsiteX564" fmla="*/ 3580143 w 4338596"/>
              <a:gd name="connsiteY564" fmla="*/ 7095746 h 8241402"/>
              <a:gd name="connsiteX565" fmla="*/ 3422876 w 4338596"/>
              <a:gd name="connsiteY565" fmla="*/ 6702364 h 8241402"/>
              <a:gd name="connsiteX566" fmla="*/ 3353883 w 4338596"/>
              <a:gd name="connsiteY566" fmla="*/ 6551063 h 8241402"/>
              <a:gd name="connsiteX567" fmla="*/ 3398526 w 4338596"/>
              <a:gd name="connsiteY567" fmla="*/ 6660390 h 8241402"/>
              <a:gd name="connsiteX568" fmla="*/ 3436068 w 4338596"/>
              <a:gd name="connsiteY568" fmla="*/ 6775573 h 8241402"/>
              <a:gd name="connsiteX569" fmla="*/ 3353883 w 4338596"/>
              <a:gd name="connsiteY569" fmla="*/ 6581323 h 8241402"/>
              <a:gd name="connsiteX570" fmla="*/ 3316342 w 4338596"/>
              <a:gd name="connsiteY570" fmla="*/ 6526660 h 8241402"/>
              <a:gd name="connsiteX571" fmla="*/ 3215895 w 4338596"/>
              <a:gd name="connsiteY571" fmla="*/ 6308981 h 8241402"/>
              <a:gd name="connsiteX572" fmla="*/ 3196616 w 4338596"/>
              <a:gd name="connsiteY572" fmla="*/ 6278721 h 8241402"/>
              <a:gd name="connsiteX573" fmla="*/ 3215895 w 4338596"/>
              <a:gd name="connsiteY573" fmla="*/ 6339241 h 8241402"/>
              <a:gd name="connsiteX574" fmla="*/ 3404614 w 4338596"/>
              <a:gd name="connsiteY574" fmla="*/ 6817547 h 8241402"/>
              <a:gd name="connsiteX575" fmla="*/ 3234158 w 4338596"/>
              <a:gd name="connsiteY575" fmla="*/ 6424165 h 8241402"/>
              <a:gd name="connsiteX576" fmla="*/ 3196616 w 4338596"/>
              <a:gd name="connsiteY576" fmla="*/ 6388048 h 8241402"/>
              <a:gd name="connsiteX577" fmla="*/ 3385336 w 4338596"/>
              <a:gd name="connsiteY577" fmla="*/ 6859521 h 8241402"/>
              <a:gd name="connsiteX578" fmla="*/ 3385336 w 4338596"/>
              <a:gd name="connsiteY578" fmla="*/ 6908328 h 8241402"/>
              <a:gd name="connsiteX579" fmla="*/ 3247348 w 4338596"/>
              <a:gd name="connsiteY579" fmla="*/ 6599869 h 8241402"/>
              <a:gd name="connsiteX580" fmla="*/ 3215895 w 4338596"/>
              <a:gd name="connsiteY580" fmla="*/ 6551063 h 8241402"/>
              <a:gd name="connsiteX581" fmla="*/ 3422876 w 4338596"/>
              <a:gd name="connsiteY581" fmla="*/ 7065485 h 8241402"/>
              <a:gd name="connsiteX582" fmla="*/ 3492885 w 4338596"/>
              <a:gd name="connsiteY582" fmla="*/ 7258761 h 8241402"/>
              <a:gd name="connsiteX583" fmla="*/ 3498973 w 4338596"/>
              <a:gd name="connsiteY583" fmla="*/ 7330994 h 8241402"/>
              <a:gd name="connsiteX584" fmla="*/ 3542602 w 4338596"/>
              <a:gd name="connsiteY584" fmla="*/ 7470581 h 8241402"/>
              <a:gd name="connsiteX585" fmla="*/ 3542602 w 4338596"/>
              <a:gd name="connsiteY585" fmla="*/ 7512555 h 8241402"/>
              <a:gd name="connsiteX586" fmla="*/ 3567967 w 4338596"/>
              <a:gd name="connsiteY586" fmla="*/ 7597479 h 8241402"/>
              <a:gd name="connsiteX587" fmla="*/ 3586231 w 4338596"/>
              <a:gd name="connsiteY587" fmla="*/ 7681426 h 8241402"/>
              <a:gd name="connsiteX588" fmla="*/ 3548689 w 4338596"/>
              <a:gd name="connsiteY588" fmla="*/ 7597479 h 8241402"/>
              <a:gd name="connsiteX589" fmla="*/ 3548689 w 4338596"/>
              <a:gd name="connsiteY589" fmla="*/ 7658000 h 8241402"/>
              <a:gd name="connsiteX590" fmla="*/ 3485784 w 4338596"/>
              <a:gd name="connsiteY590" fmla="*/ 7476438 h 8241402"/>
              <a:gd name="connsiteX591" fmla="*/ 3473607 w 4338596"/>
              <a:gd name="connsiteY591" fmla="*/ 7494009 h 8241402"/>
              <a:gd name="connsiteX592" fmla="*/ 3492885 w 4338596"/>
              <a:gd name="connsiteY592" fmla="*/ 7584789 h 8241402"/>
              <a:gd name="connsiteX593" fmla="*/ 3536515 w 4338596"/>
              <a:gd name="connsiteY593" fmla="*/ 7730234 h 8241402"/>
              <a:gd name="connsiteX594" fmla="*/ 3505061 w 4338596"/>
              <a:gd name="connsiteY594" fmla="*/ 7658000 h 8241402"/>
              <a:gd name="connsiteX595" fmla="*/ 3467520 w 4338596"/>
              <a:gd name="connsiteY595" fmla="*/ 7584789 h 8241402"/>
              <a:gd name="connsiteX596" fmla="*/ 3492885 w 4338596"/>
              <a:gd name="connsiteY596" fmla="*/ 7694117 h 8241402"/>
              <a:gd name="connsiteX597" fmla="*/ 3523325 w 4338596"/>
              <a:gd name="connsiteY597" fmla="*/ 7802467 h 8241402"/>
              <a:gd name="connsiteX598" fmla="*/ 3485784 w 4338596"/>
              <a:gd name="connsiteY598" fmla="*/ 7694117 h 8241402"/>
              <a:gd name="connsiteX599" fmla="*/ 3467520 w 4338596"/>
              <a:gd name="connsiteY599" fmla="*/ 7712663 h 8241402"/>
              <a:gd name="connsiteX600" fmla="*/ 3454331 w 4338596"/>
              <a:gd name="connsiteY600" fmla="*/ 7681426 h 8241402"/>
              <a:gd name="connsiteX601" fmla="*/ 3436068 w 4338596"/>
              <a:gd name="connsiteY601" fmla="*/ 7669713 h 8241402"/>
              <a:gd name="connsiteX602" fmla="*/ 3460419 w 4338596"/>
              <a:gd name="connsiteY602" fmla="*/ 7760494 h 8241402"/>
              <a:gd name="connsiteX603" fmla="*/ 3436068 w 4338596"/>
              <a:gd name="connsiteY603" fmla="*/ 7773183 h 8241402"/>
              <a:gd name="connsiteX604" fmla="*/ 3436068 w 4338596"/>
              <a:gd name="connsiteY604" fmla="*/ 7760494 h 8241402"/>
              <a:gd name="connsiteX605" fmla="*/ 3436068 w 4338596"/>
              <a:gd name="connsiteY605" fmla="*/ 7773183 h 8241402"/>
              <a:gd name="connsiteX606" fmla="*/ 3454331 w 4338596"/>
              <a:gd name="connsiteY606" fmla="*/ 7821014 h 8241402"/>
              <a:gd name="connsiteX607" fmla="*/ 3436068 w 4338596"/>
              <a:gd name="connsiteY607" fmla="*/ 7796611 h 8241402"/>
              <a:gd name="connsiteX608" fmla="*/ 3385336 w 4338596"/>
              <a:gd name="connsiteY608" fmla="*/ 7712663 h 8241402"/>
              <a:gd name="connsiteX609" fmla="*/ 3404614 w 4338596"/>
              <a:gd name="connsiteY609" fmla="*/ 7790754 h 8241402"/>
              <a:gd name="connsiteX610" fmla="*/ 3410703 w 4338596"/>
              <a:gd name="connsiteY610" fmla="*/ 7863964 h 8241402"/>
              <a:gd name="connsiteX611" fmla="*/ 3379248 w 4338596"/>
              <a:gd name="connsiteY611" fmla="*/ 7784897 h 8241402"/>
              <a:gd name="connsiteX612" fmla="*/ 3284890 w 4338596"/>
              <a:gd name="connsiteY612" fmla="*/ 7554529 h 8241402"/>
              <a:gd name="connsiteX613" fmla="*/ 3247348 w 4338596"/>
              <a:gd name="connsiteY613" fmla="*/ 7482296 h 8241402"/>
              <a:gd name="connsiteX614" fmla="*/ 3297063 w 4338596"/>
              <a:gd name="connsiteY614" fmla="*/ 7615049 h 8241402"/>
              <a:gd name="connsiteX615" fmla="*/ 3353883 w 4338596"/>
              <a:gd name="connsiteY615" fmla="*/ 7845417 h 8241402"/>
              <a:gd name="connsiteX616" fmla="*/ 3316342 w 4338596"/>
              <a:gd name="connsiteY616" fmla="*/ 7796611 h 8241402"/>
              <a:gd name="connsiteX617" fmla="*/ 3334606 w 4338596"/>
              <a:gd name="connsiteY617" fmla="*/ 7936198 h 8241402"/>
              <a:gd name="connsiteX618" fmla="*/ 3272713 w 4338596"/>
              <a:gd name="connsiteY618" fmla="*/ 7802467 h 8241402"/>
              <a:gd name="connsiteX619" fmla="*/ 3247348 w 4338596"/>
              <a:gd name="connsiteY619" fmla="*/ 7839560 h 8241402"/>
              <a:gd name="connsiteX620" fmla="*/ 3247348 w 4338596"/>
              <a:gd name="connsiteY620" fmla="*/ 7857131 h 8241402"/>
              <a:gd name="connsiteX621" fmla="*/ 3221981 w 4338596"/>
              <a:gd name="connsiteY621" fmla="*/ 7826871 h 8241402"/>
              <a:gd name="connsiteX622" fmla="*/ 3196616 w 4338596"/>
              <a:gd name="connsiteY622" fmla="*/ 7766350 h 8241402"/>
              <a:gd name="connsiteX623" fmla="*/ 2957167 w 4338596"/>
              <a:gd name="connsiteY623" fmla="*/ 7138696 h 8241402"/>
              <a:gd name="connsiteX624" fmla="*/ 2957167 w 4338596"/>
              <a:gd name="connsiteY624" fmla="*/ 7138696 h 8241402"/>
              <a:gd name="connsiteX625" fmla="*/ 3045438 w 4338596"/>
              <a:gd name="connsiteY625" fmla="*/ 7391515 h 8241402"/>
              <a:gd name="connsiteX626" fmla="*/ 3127623 w 4338596"/>
              <a:gd name="connsiteY626" fmla="*/ 7669713 h 8241402"/>
              <a:gd name="connsiteX627" fmla="*/ 3177339 w 4338596"/>
              <a:gd name="connsiteY627" fmla="*/ 7833704 h 8241402"/>
              <a:gd name="connsiteX628" fmla="*/ 3139799 w 4338596"/>
              <a:gd name="connsiteY628" fmla="*/ 7766350 h 8241402"/>
              <a:gd name="connsiteX629" fmla="*/ 3190529 w 4338596"/>
              <a:gd name="connsiteY629" fmla="*/ 7966458 h 8241402"/>
              <a:gd name="connsiteX630" fmla="*/ 3165164 w 4338596"/>
              <a:gd name="connsiteY630" fmla="*/ 7966458 h 8241402"/>
              <a:gd name="connsiteX631" fmla="*/ 3190529 w 4338596"/>
              <a:gd name="connsiteY631" fmla="*/ 8087499 h 8241402"/>
              <a:gd name="connsiteX632" fmla="*/ 3159077 w 4338596"/>
              <a:gd name="connsiteY632" fmla="*/ 7996718 h 8241402"/>
              <a:gd name="connsiteX633" fmla="*/ 3127623 w 4338596"/>
              <a:gd name="connsiteY633" fmla="*/ 7905938 h 8241402"/>
              <a:gd name="connsiteX634" fmla="*/ 3121535 w 4338596"/>
              <a:gd name="connsiteY634" fmla="*/ 7978171 h 8241402"/>
              <a:gd name="connsiteX635" fmla="*/ 3058630 w 4338596"/>
              <a:gd name="connsiteY635" fmla="*/ 7857131 h 8241402"/>
              <a:gd name="connsiteX636" fmla="*/ 3102257 w 4338596"/>
              <a:gd name="connsiteY636" fmla="*/ 8038692 h 8241402"/>
              <a:gd name="connsiteX637" fmla="*/ 3133711 w 4338596"/>
              <a:gd name="connsiteY637" fmla="*/ 8153876 h 8241402"/>
              <a:gd name="connsiteX638" fmla="*/ 3082980 w 4338596"/>
              <a:gd name="connsiteY638" fmla="*/ 8021121 h 8241402"/>
              <a:gd name="connsiteX639" fmla="*/ 3051526 w 4338596"/>
              <a:gd name="connsiteY639" fmla="*/ 8026979 h 8241402"/>
              <a:gd name="connsiteX640" fmla="*/ 3021087 w 4338596"/>
              <a:gd name="connsiteY640" fmla="*/ 7917652 h 8241402"/>
              <a:gd name="connsiteX641" fmla="*/ 2995722 w 4338596"/>
              <a:gd name="connsiteY641" fmla="*/ 7900081 h 8241402"/>
              <a:gd name="connsiteX642" fmla="*/ 2951079 w 4338596"/>
              <a:gd name="connsiteY642" fmla="*/ 7796611 h 8241402"/>
              <a:gd name="connsiteX643" fmla="*/ 2869909 w 4338596"/>
              <a:gd name="connsiteY643" fmla="*/ 7573075 h 8241402"/>
              <a:gd name="connsiteX644" fmla="*/ 2869909 w 4338596"/>
              <a:gd name="connsiteY644" fmla="*/ 7573075 h 8241402"/>
              <a:gd name="connsiteX645" fmla="*/ 2932817 w 4338596"/>
              <a:gd name="connsiteY645" fmla="*/ 7815157 h 8241402"/>
              <a:gd name="connsiteX646" fmla="*/ 2970357 w 4338596"/>
              <a:gd name="connsiteY646" fmla="*/ 7936198 h 8241402"/>
              <a:gd name="connsiteX647" fmla="*/ 2982533 w 4338596"/>
              <a:gd name="connsiteY647" fmla="*/ 8032835 h 8241402"/>
              <a:gd name="connsiteX648" fmla="*/ 2938904 w 4338596"/>
              <a:gd name="connsiteY648" fmla="*/ 7923508 h 8241402"/>
              <a:gd name="connsiteX649" fmla="*/ 2919625 w 4338596"/>
              <a:gd name="connsiteY649" fmla="*/ 7917652 h 8241402"/>
              <a:gd name="connsiteX650" fmla="*/ 2888173 w 4338596"/>
              <a:gd name="connsiteY650" fmla="*/ 7821014 h 8241402"/>
              <a:gd name="connsiteX651" fmla="*/ 2850632 w 4338596"/>
              <a:gd name="connsiteY651" fmla="*/ 7730234 h 8241402"/>
              <a:gd name="connsiteX652" fmla="*/ 2850632 w 4338596"/>
              <a:gd name="connsiteY652" fmla="*/ 7754637 h 8241402"/>
              <a:gd name="connsiteX653" fmla="*/ 2825267 w 4338596"/>
              <a:gd name="connsiteY653" fmla="*/ 7748780 h 8241402"/>
              <a:gd name="connsiteX654" fmla="*/ 2875997 w 4338596"/>
              <a:gd name="connsiteY654" fmla="*/ 7936198 h 8241402"/>
              <a:gd name="connsiteX655" fmla="*/ 2807004 w 4338596"/>
              <a:gd name="connsiteY655" fmla="*/ 7784897 h 8241402"/>
              <a:gd name="connsiteX656" fmla="*/ 2800916 w 4338596"/>
              <a:gd name="connsiteY656" fmla="*/ 7815157 h 8241402"/>
              <a:gd name="connsiteX657" fmla="*/ 2661913 w 4338596"/>
              <a:gd name="connsiteY657" fmla="*/ 7457892 h 8241402"/>
              <a:gd name="connsiteX658" fmla="*/ 2454931 w 4338596"/>
              <a:gd name="connsiteY658" fmla="*/ 6987395 h 8241402"/>
              <a:gd name="connsiteX659" fmla="*/ 2454931 w 4338596"/>
              <a:gd name="connsiteY659" fmla="*/ 6987395 h 8241402"/>
              <a:gd name="connsiteX660" fmla="*/ 2579729 w 4338596"/>
              <a:gd name="connsiteY660" fmla="*/ 7342708 h 8241402"/>
              <a:gd name="connsiteX661" fmla="*/ 2486384 w 4338596"/>
              <a:gd name="connsiteY661" fmla="*/ 7132839 h 8241402"/>
              <a:gd name="connsiteX662" fmla="*/ 2479283 w 4338596"/>
              <a:gd name="connsiteY662" fmla="*/ 7150409 h 8241402"/>
              <a:gd name="connsiteX663" fmla="*/ 2756273 w 4338596"/>
              <a:gd name="connsiteY663" fmla="*/ 7905938 h 8241402"/>
              <a:gd name="connsiteX664" fmla="*/ 2800916 w 4338596"/>
              <a:gd name="connsiteY664" fmla="*/ 8057239 h 8241402"/>
              <a:gd name="connsiteX665" fmla="*/ 2787726 w 4338596"/>
              <a:gd name="connsiteY665" fmla="*/ 8044549 h 8241402"/>
              <a:gd name="connsiteX666" fmla="*/ 2738010 w 4338596"/>
              <a:gd name="connsiteY666" fmla="*/ 7887391 h 8241402"/>
              <a:gd name="connsiteX667" fmla="*/ 2681191 w 4338596"/>
              <a:gd name="connsiteY667" fmla="*/ 7736090 h 8241402"/>
              <a:gd name="connsiteX668" fmla="*/ 2661913 w 4338596"/>
              <a:gd name="connsiteY668" fmla="*/ 7724377 h 8241402"/>
              <a:gd name="connsiteX669" fmla="*/ 2612197 w 4338596"/>
              <a:gd name="connsiteY669" fmla="*/ 7597479 h 8241402"/>
              <a:gd name="connsiteX670" fmla="*/ 2586832 w 4338596"/>
              <a:gd name="connsiteY670" fmla="*/ 7584789 h 8241402"/>
              <a:gd name="connsiteX671" fmla="*/ 2583282 w 4338596"/>
              <a:gd name="connsiteY671" fmla="*/ 7577346 h 8241402"/>
              <a:gd name="connsiteX672" fmla="*/ 2581720 w 4338596"/>
              <a:gd name="connsiteY672" fmla="*/ 7569890 h 8241402"/>
              <a:gd name="connsiteX673" fmla="*/ 2583724 w 4338596"/>
              <a:gd name="connsiteY673" fmla="*/ 7573701 h 8241402"/>
              <a:gd name="connsiteX674" fmla="*/ 2579729 w 4338596"/>
              <a:gd name="connsiteY674" fmla="*/ 7560386 h 8241402"/>
              <a:gd name="connsiteX675" fmla="*/ 2555379 w 4338596"/>
              <a:gd name="connsiteY675" fmla="*/ 7531102 h 8241402"/>
              <a:gd name="connsiteX676" fmla="*/ 2605095 w 4338596"/>
              <a:gd name="connsiteY676" fmla="*/ 7663856 h 8241402"/>
              <a:gd name="connsiteX677" fmla="*/ 2599007 w 4338596"/>
              <a:gd name="connsiteY677" fmla="*/ 7694117 h 8241402"/>
              <a:gd name="connsiteX678" fmla="*/ 2630461 w 4338596"/>
              <a:gd name="connsiteY678" fmla="*/ 7821014 h 8241402"/>
              <a:gd name="connsiteX679" fmla="*/ 2693366 w 4338596"/>
              <a:gd name="connsiteY679" fmla="*/ 7996718 h 8241402"/>
              <a:gd name="connsiteX680" fmla="*/ 2655826 w 4338596"/>
              <a:gd name="connsiteY680" fmla="*/ 7978171 h 8241402"/>
              <a:gd name="connsiteX681" fmla="*/ 2630461 w 4338596"/>
              <a:gd name="connsiteY681" fmla="*/ 7930341 h 8241402"/>
              <a:gd name="connsiteX682" fmla="*/ 2592919 w 4338596"/>
              <a:gd name="connsiteY682" fmla="*/ 7851274 h 8241402"/>
              <a:gd name="connsiteX683" fmla="*/ 2549291 w 4338596"/>
              <a:gd name="connsiteY683" fmla="*/ 7742923 h 8241402"/>
              <a:gd name="connsiteX684" fmla="*/ 2329119 w 4338596"/>
              <a:gd name="connsiteY684" fmla="*/ 7204096 h 8241402"/>
              <a:gd name="connsiteX685" fmla="*/ 2284475 w 4338596"/>
              <a:gd name="connsiteY685" fmla="*/ 7095746 h 8241402"/>
              <a:gd name="connsiteX686" fmla="*/ 2303753 w 4338596"/>
              <a:gd name="connsiteY686" fmla="*/ 7168956 h 8241402"/>
              <a:gd name="connsiteX687" fmla="*/ 2447829 w 4338596"/>
              <a:gd name="connsiteY687" fmla="*/ 7536959 h 8241402"/>
              <a:gd name="connsiteX688" fmla="*/ 2504648 w 4338596"/>
              <a:gd name="connsiteY688" fmla="*/ 7688260 h 8241402"/>
              <a:gd name="connsiteX689" fmla="*/ 2479283 w 4338596"/>
              <a:gd name="connsiteY689" fmla="*/ 7718520 h 8241402"/>
              <a:gd name="connsiteX690" fmla="*/ 2498559 w 4338596"/>
              <a:gd name="connsiteY690" fmla="*/ 7790754 h 8241402"/>
              <a:gd name="connsiteX691" fmla="*/ 2510735 w 4338596"/>
              <a:gd name="connsiteY691" fmla="*/ 7863964 h 8241402"/>
              <a:gd name="connsiteX692" fmla="*/ 2586832 w 4338596"/>
              <a:gd name="connsiteY692" fmla="*/ 8093356 h 8241402"/>
              <a:gd name="connsiteX693" fmla="*/ 2612197 w 4338596"/>
              <a:gd name="connsiteY693" fmla="*/ 8165590 h 8241402"/>
              <a:gd name="connsiteX694" fmla="*/ 2591905 w 4338596"/>
              <a:gd name="connsiteY694" fmla="*/ 8130693 h 8241402"/>
              <a:gd name="connsiteX695" fmla="*/ 2586717 w 4338596"/>
              <a:gd name="connsiteY695" fmla="*/ 8117349 h 8241402"/>
              <a:gd name="connsiteX696" fmla="*/ 2572436 w 4338596"/>
              <a:gd name="connsiteY696" fmla="*/ 8066268 h 8241402"/>
              <a:gd name="connsiteX697" fmla="*/ 2523925 w 4338596"/>
              <a:gd name="connsiteY697" fmla="*/ 7923508 h 8241402"/>
              <a:gd name="connsiteX698" fmla="*/ 2498559 w 4338596"/>
              <a:gd name="connsiteY698" fmla="*/ 7905938 h 8241402"/>
              <a:gd name="connsiteX699" fmla="*/ 2473194 w 4338596"/>
              <a:gd name="connsiteY699" fmla="*/ 7839560 h 8241402"/>
              <a:gd name="connsiteX700" fmla="*/ 2441741 w 4338596"/>
              <a:gd name="connsiteY700" fmla="*/ 7796611 h 8241402"/>
              <a:gd name="connsiteX701" fmla="*/ 2479283 w 4338596"/>
              <a:gd name="connsiteY701" fmla="*/ 7893248 h 8241402"/>
              <a:gd name="connsiteX702" fmla="*/ 2479283 w 4338596"/>
              <a:gd name="connsiteY702" fmla="*/ 7936198 h 8241402"/>
              <a:gd name="connsiteX703" fmla="*/ 2498559 w 4338596"/>
              <a:gd name="connsiteY703" fmla="*/ 7972315 h 8241402"/>
              <a:gd name="connsiteX704" fmla="*/ 2498559 w 4338596"/>
              <a:gd name="connsiteY704" fmla="*/ 8014289 h 8241402"/>
              <a:gd name="connsiteX705" fmla="*/ 2530013 w 4338596"/>
              <a:gd name="connsiteY705" fmla="*/ 8117758 h 8241402"/>
              <a:gd name="connsiteX706" fmla="*/ 2542187 w 4338596"/>
              <a:gd name="connsiteY706" fmla="*/ 8189993 h 8241402"/>
              <a:gd name="connsiteX707" fmla="*/ 2467106 w 4338596"/>
              <a:gd name="connsiteY707" fmla="*/ 7972315 h 8241402"/>
              <a:gd name="connsiteX708" fmla="*/ 2392025 w 4338596"/>
              <a:gd name="connsiteY708" fmla="*/ 7790754 h 8241402"/>
              <a:gd name="connsiteX709" fmla="*/ 2366659 w 4338596"/>
              <a:gd name="connsiteY709" fmla="*/ 7742923 h 8241402"/>
              <a:gd name="connsiteX710" fmla="*/ 2447829 w 4338596"/>
              <a:gd name="connsiteY710" fmla="*/ 7966458 h 8241402"/>
              <a:gd name="connsiteX711" fmla="*/ 2454931 w 4338596"/>
              <a:gd name="connsiteY711" fmla="*/ 8032835 h 8241402"/>
              <a:gd name="connsiteX712" fmla="*/ 2398113 w 4338596"/>
              <a:gd name="connsiteY712" fmla="*/ 7911794 h 8241402"/>
              <a:gd name="connsiteX713" fmla="*/ 2089668 w 4338596"/>
              <a:gd name="connsiteY713" fmla="*/ 7138696 h 8241402"/>
              <a:gd name="connsiteX714" fmla="*/ 1888774 w 4338596"/>
              <a:gd name="connsiteY714" fmla="*/ 6715053 h 8241402"/>
              <a:gd name="connsiteX715" fmla="*/ 1643236 w 4338596"/>
              <a:gd name="connsiteY715" fmla="*/ 6333385 h 8241402"/>
              <a:gd name="connsiteX716" fmla="*/ 1989221 w 4338596"/>
              <a:gd name="connsiteY716" fmla="*/ 6968848 h 8241402"/>
              <a:gd name="connsiteX717" fmla="*/ 2234759 w 4338596"/>
              <a:gd name="connsiteY717" fmla="*/ 7573075 h 8241402"/>
              <a:gd name="connsiteX718" fmla="*/ 2253021 w 4338596"/>
              <a:gd name="connsiteY718" fmla="*/ 7663856 h 8241402"/>
              <a:gd name="connsiteX719" fmla="*/ 2209393 w 4338596"/>
              <a:gd name="connsiteY719" fmla="*/ 7542815 h 8241402"/>
              <a:gd name="connsiteX720" fmla="*/ 1963856 w 4338596"/>
              <a:gd name="connsiteY720" fmla="*/ 6962992 h 8241402"/>
              <a:gd name="connsiteX721" fmla="*/ 1706143 w 4338596"/>
              <a:gd name="connsiteY721" fmla="*/ 6496399 h 8241402"/>
              <a:gd name="connsiteX722" fmla="*/ 1661500 w 4338596"/>
              <a:gd name="connsiteY722" fmla="*/ 6430022 h 8241402"/>
              <a:gd name="connsiteX723" fmla="*/ 1692953 w 4338596"/>
              <a:gd name="connsiteY723" fmla="*/ 6509089 h 8241402"/>
              <a:gd name="connsiteX724" fmla="*/ 1737596 w 4338596"/>
              <a:gd name="connsiteY724" fmla="*/ 6599869 h 8241402"/>
              <a:gd name="connsiteX725" fmla="*/ 1731508 w 4338596"/>
              <a:gd name="connsiteY725" fmla="*/ 6599869 h 8241402"/>
              <a:gd name="connsiteX726" fmla="*/ 1737596 w 4338596"/>
              <a:gd name="connsiteY726" fmla="*/ 6599869 h 8241402"/>
              <a:gd name="connsiteX727" fmla="*/ 1825868 w 4338596"/>
              <a:gd name="connsiteY727" fmla="*/ 6745313 h 8241402"/>
              <a:gd name="connsiteX728" fmla="*/ 1944578 w 4338596"/>
              <a:gd name="connsiteY728" fmla="*/ 6974705 h 8241402"/>
              <a:gd name="connsiteX729" fmla="*/ 1989221 w 4338596"/>
              <a:gd name="connsiteY729" fmla="*/ 7089889 h 8241402"/>
              <a:gd name="connsiteX730" fmla="*/ 1989221 w 4338596"/>
              <a:gd name="connsiteY730" fmla="*/ 7089889 h 8241402"/>
              <a:gd name="connsiteX731" fmla="*/ 2001397 w 4338596"/>
              <a:gd name="connsiteY731" fmla="*/ 7120149 h 8241402"/>
              <a:gd name="connsiteX732" fmla="*/ 2177941 w 4338596"/>
              <a:gd name="connsiteY732" fmla="*/ 7591622 h 8241402"/>
              <a:gd name="connsiteX733" fmla="*/ 1976031 w 4338596"/>
              <a:gd name="connsiteY733" fmla="*/ 7101603 h 8241402"/>
              <a:gd name="connsiteX734" fmla="*/ 1900950 w 4338596"/>
              <a:gd name="connsiteY734" fmla="*/ 6938588 h 8241402"/>
              <a:gd name="connsiteX735" fmla="*/ 1900950 w 4338596"/>
              <a:gd name="connsiteY735" fmla="*/ 6968848 h 8241402"/>
              <a:gd name="connsiteX736" fmla="*/ 1920227 w 4338596"/>
              <a:gd name="connsiteY736" fmla="*/ 7011798 h 8241402"/>
              <a:gd name="connsiteX737" fmla="*/ 2146487 w 4338596"/>
              <a:gd name="connsiteY737" fmla="*/ 7597479 h 8241402"/>
              <a:gd name="connsiteX738" fmla="*/ 1850219 w 4338596"/>
              <a:gd name="connsiteY738" fmla="*/ 6932732 h 8241402"/>
              <a:gd name="connsiteX739" fmla="*/ 1517424 w 4338596"/>
              <a:gd name="connsiteY739" fmla="*/ 6357788 h 8241402"/>
              <a:gd name="connsiteX740" fmla="*/ 1498146 w 4338596"/>
              <a:gd name="connsiteY740" fmla="*/ 6346075 h 8241402"/>
              <a:gd name="connsiteX741" fmla="*/ 1586418 w 4338596"/>
              <a:gd name="connsiteY741" fmla="*/ 6490542 h 8241402"/>
              <a:gd name="connsiteX742" fmla="*/ 2101843 w 4338596"/>
              <a:gd name="connsiteY742" fmla="*/ 7560386 h 8241402"/>
              <a:gd name="connsiteX743" fmla="*/ 2158662 w 4338596"/>
              <a:gd name="connsiteY743" fmla="*/ 7773183 h 8241402"/>
              <a:gd name="connsiteX744" fmla="*/ 2158662 w 4338596"/>
              <a:gd name="connsiteY744" fmla="*/ 7773183 h 8241402"/>
              <a:gd name="connsiteX745" fmla="*/ 2177941 w 4338596"/>
              <a:gd name="connsiteY745" fmla="*/ 7826871 h 8241402"/>
              <a:gd name="connsiteX746" fmla="*/ 2177941 w 4338596"/>
              <a:gd name="connsiteY746" fmla="*/ 7863964 h 8241402"/>
              <a:gd name="connsiteX747" fmla="*/ 2095756 w 4338596"/>
              <a:gd name="connsiteY747" fmla="*/ 7669713 h 8241402"/>
              <a:gd name="connsiteX748" fmla="*/ 1806590 w 4338596"/>
              <a:gd name="connsiteY748" fmla="*/ 6993252 h 8241402"/>
              <a:gd name="connsiteX749" fmla="*/ 1611783 w 4338596"/>
              <a:gd name="connsiteY749" fmla="*/ 6630130 h 8241402"/>
              <a:gd name="connsiteX750" fmla="*/ 1460605 w 4338596"/>
              <a:gd name="connsiteY750" fmla="*/ 6369502 h 8241402"/>
              <a:gd name="connsiteX751" fmla="*/ 1397699 w 4338596"/>
              <a:gd name="connsiteY751" fmla="*/ 6291411 h 8241402"/>
              <a:gd name="connsiteX752" fmla="*/ 1410889 w 4338596"/>
              <a:gd name="connsiteY752" fmla="*/ 6333385 h 8241402"/>
              <a:gd name="connsiteX753" fmla="*/ 1781224 w 4338596"/>
              <a:gd name="connsiteY753" fmla="*/ 6974705 h 8241402"/>
              <a:gd name="connsiteX754" fmla="*/ 2058215 w 4338596"/>
              <a:gd name="connsiteY754" fmla="*/ 7633596 h 8241402"/>
              <a:gd name="connsiteX755" fmla="*/ 2095756 w 4338596"/>
              <a:gd name="connsiteY755" fmla="*/ 7736090 h 8241402"/>
              <a:gd name="connsiteX756" fmla="*/ 2083581 w 4338596"/>
              <a:gd name="connsiteY756" fmla="*/ 7760494 h 8241402"/>
              <a:gd name="connsiteX757" fmla="*/ 2089668 w 4338596"/>
              <a:gd name="connsiteY757" fmla="*/ 7790754 h 8241402"/>
              <a:gd name="connsiteX758" fmla="*/ 2026762 w 4338596"/>
              <a:gd name="connsiteY758" fmla="*/ 7675570 h 8241402"/>
              <a:gd name="connsiteX759" fmla="*/ 2032850 w 4338596"/>
              <a:gd name="connsiteY759" fmla="*/ 7669713 h 8241402"/>
              <a:gd name="connsiteX760" fmla="*/ 2077493 w 4338596"/>
              <a:gd name="connsiteY760" fmla="*/ 7760494 h 8241402"/>
              <a:gd name="connsiteX761" fmla="*/ 2026762 w 4338596"/>
              <a:gd name="connsiteY761" fmla="*/ 7675570 h 8241402"/>
              <a:gd name="connsiteX762" fmla="*/ 2023149 w 4338596"/>
              <a:gd name="connsiteY762" fmla="*/ 7682329 h 8241402"/>
              <a:gd name="connsiteX763" fmla="*/ 2002617 w 4338596"/>
              <a:gd name="connsiteY763" fmla="*/ 7648635 h 8241402"/>
              <a:gd name="connsiteX764" fmla="*/ 1951680 w 4338596"/>
              <a:gd name="connsiteY764" fmla="*/ 7506699 h 8241402"/>
              <a:gd name="connsiteX765" fmla="*/ 1523512 w 4338596"/>
              <a:gd name="connsiteY765" fmla="*/ 6630130 h 8241402"/>
              <a:gd name="connsiteX766" fmla="*/ 1322617 w 4338596"/>
              <a:gd name="connsiteY766" fmla="*/ 6308981 h 8241402"/>
              <a:gd name="connsiteX767" fmla="*/ 940106 w 4338596"/>
              <a:gd name="connsiteY767" fmla="*/ 5655947 h 8241402"/>
              <a:gd name="connsiteX768" fmla="*/ 631662 w 4338596"/>
              <a:gd name="connsiteY768" fmla="*/ 5177641 h 8241402"/>
              <a:gd name="connsiteX769" fmla="*/ 555565 w 4338596"/>
              <a:gd name="connsiteY769" fmla="*/ 5056600 h 8241402"/>
              <a:gd name="connsiteX770" fmla="*/ 531215 w 4338596"/>
              <a:gd name="connsiteY770" fmla="*/ 5044887 h 8241402"/>
              <a:gd name="connsiteX771" fmla="*/ 612384 w 4338596"/>
              <a:gd name="connsiteY771" fmla="*/ 5177641 h 8241402"/>
              <a:gd name="connsiteX772" fmla="*/ 901550 w 4338596"/>
              <a:gd name="connsiteY772" fmla="*/ 5637401 h 8241402"/>
              <a:gd name="connsiteX773" fmla="*/ 1096357 w 4338596"/>
              <a:gd name="connsiteY773" fmla="*/ 5934146 h 8241402"/>
              <a:gd name="connsiteX774" fmla="*/ 1183614 w 4338596"/>
              <a:gd name="connsiteY774" fmla="*/ 6097160 h 8241402"/>
              <a:gd name="connsiteX775" fmla="*/ 1252608 w 4338596"/>
              <a:gd name="connsiteY775" fmla="*/ 6212344 h 8241402"/>
              <a:gd name="connsiteX776" fmla="*/ 1234345 w 4338596"/>
              <a:gd name="connsiteY776" fmla="*/ 6200630 h 8241402"/>
              <a:gd name="connsiteX777" fmla="*/ 958369 w 4338596"/>
              <a:gd name="connsiteY777" fmla="*/ 5746728 h 8241402"/>
              <a:gd name="connsiteX778" fmla="*/ 631662 w 4338596"/>
              <a:gd name="connsiteY778" fmla="*/ 5250851 h 8241402"/>
              <a:gd name="connsiteX779" fmla="*/ 303940 w 4338596"/>
              <a:gd name="connsiteY779" fmla="*/ 4759855 h 8241402"/>
              <a:gd name="connsiteX780" fmla="*/ 52315 w 4338596"/>
              <a:gd name="connsiteY780" fmla="*/ 4288383 h 8241402"/>
              <a:gd name="connsiteX781" fmla="*/ 27964 w 4338596"/>
              <a:gd name="connsiteY781" fmla="*/ 4209316 h 8241402"/>
              <a:gd name="connsiteX782" fmla="*/ 34052 w 4338596"/>
              <a:gd name="connsiteY782" fmla="*/ 4282526 h 8241402"/>
              <a:gd name="connsiteX783" fmla="*/ 14774 w 4338596"/>
              <a:gd name="connsiteY783" fmla="*/ 4245433 h 8241402"/>
              <a:gd name="connsiteX784" fmla="*/ 27964 w 4338596"/>
              <a:gd name="connsiteY784" fmla="*/ 4003351 h 8241402"/>
              <a:gd name="connsiteX785" fmla="*/ 14774 w 4338596"/>
              <a:gd name="connsiteY785" fmla="*/ 4064848 h 8241402"/>
              <a:gd name="connsiteX786" fmla="*/ 40140 w 4338596"/>
              <a:gd name="connsiteY786" fmla="*/ 3997495 h 8241402"/>
              <a:gd name="connsiteX787" fmla="*/ 71593 w 4338596"/>
              <a:gd name="connsiteY787" fmla="*/ 3991638 h 8241402"/>
              <a:gd name="connsiteX788" fmla="*/ 109133 w 4338596"/>
              <a:gd name="connsiteY788" fmla="*/ 3936974 h 8241402"/>
              <a:gd name="connsiteX789" fmla="*/ 191318 w 4338596"/>
              <a:gd name="connsiteY789" fmla="*/ 3889144 h 8241402"/>
              <a:gd name="connsiteX790" fmla="*/ 234946 w 4338596"/>
              <a:gd name="connsiteY790" fmla="*/ 3853026 h 8241402"/>
              <a:gd name="connsiteX791" fmla="*/ 272487 w 4338596"/>
              <a:gd name="connsiteY791" fmla="*/ 3840337 h 8241402"/>
              <a:gd name="connsiteX792" fmla="*/ 303940 w 4338596"/>
              <a:gd name="connsiteY792" fmla="*/ 3810077 h 8241402"/>
              <a:gd name="connsiteX793" fmla="*/ 291765 w 4338596"/>
              <a:gd name="connsiteY793" fmla="*/ 3840337 h 8241402"/>
              <a:gd name="connsiteX794" fmla="*/ 354672 w 4338596"/>
              <a:gd name="connsiteY794" fmla="*/ 3779817 h 8241402"/>
              <a:gd name="connsiteX795" fmla="*/ 386125 w 4338596"/>
              <a:gd name="connsiteY795" fmla="*/ 3773960 h 8241402"/>
              <a:gd name="connsiteX796" fmla="*/ 417578 w 4338596"/>
              <a:gd name="connsiteY796" fmla="*/ 3731987 h 8241402"/>
              <a:gd name="connsiteX797" fmla="*/ 468308 w 4338596"/>
              <a:gd name="connsiteY797" fmla="*/ 3731987 h 8241402"/>
              <a:gd name="connsiteX798" fmla="*/ 492660 w 4338596"/>
              <a:gd name="connsiteY798" fmla="*/ 3707583 h 8241402"/>
              <a:gd name="connsiteX799" fmla="*/ 555565 w 4338596"/>
              <a:gd name="connsiteY799" fmla="*/ 3664633 h 8241402"/>
              <a:gd name="connsiteX800" fmla="*/ 600209 w 4338596"/>
              <a:gd name="connsiteY800" fmla="*/ 3628516 h 8241402"/>
              <a:gd name="connsiteX801" fmla="*/ 643838 w 4338596"/>
              <a:gd name="connsiteY801" fmla="*/ 3616802 h 8241402"/>
              <a:gd name="connsiteX802" fmla="*/ 663115 w 4338596"/>
              <a:gd name="connsiteY802" fmla="*/ 3586542 h 8241402"/>
              <a:gd name="connsiteX803" fmla="*/ 706744 w 4338596"/>
              <a:gd name="connsiteY803" fmla="*/ 3580685 h 8241402"/>
              <a:gd name="connsiteX804" fmla="*/ 757475 w 4338596"/>
              <a:gd name="connsiteY804" fmla="*/ 3531879 h 8241402"/>
              <a:gd name="connsiteX805" fmla="*/ 782840 w 4338596"/>
              <a:gd name="connsiteY805" fmla="*/ 3531879 h 8241402"/>
              <a:gd name="connsiteX806" fmla="*/ 844732 w 4338596"/>
              <a:gd name="connsiteY806" fmla="*/ 3483072 h 8241402"/>
              <a:gd name="connsiteX807" fmla="*/ 901550 w 4338596"/>
              <a:gd name="connsiteY807" fmla="*/ 3465502 h 8241402"/>
              <a:gd name="connsiteX808" fmla="*/ 920828 w 4338596"/>
              <a:gd name="connsiteY808" fmla="*/ 3429384 h 8241402"/>
              <a:gd name="connsiteX809" fmla="*/ 958369 w 4338596"/>
              <a:gd name="connsiteY809" fmla="*/ 3429384 h 8241402"/>
              <a:gd name="connsiteX810" fmla="*/ 970545 w 4338596"/>
              <a:gd name="connsiteY810" fmla="*/ 3410837 h 8241402"/>
              <a:gd name="connsiteX811" fmla="*/ 995910 w 4338596"/>
              <a:gd name="connsiteY811" fmla="*/ 3404981 h 8241402"/>
              <a:gd name="connsiteX812" fmla="*/ 1015188 w 4338596"/>
              <a:gd name="connsiteY812" fmla="*/ 3374721 h 8241402"/>
              <a:gd name="connsiteX813" fmla="*/ 1046641 w 4338596"/>
              <a:gd name="connsiteY813" fmla="*/ 3362031 h 8241402"/>
              <a:gd name="connsiteX814" fmla="*/ 1103459 w 4338596"/>
              <a:gd name="connsiteY814" fmla="*/ 3320057 h 8241402"/>
              <a:gd name="connsiteX815" fmla="*/ 1121723 w 4338596"/>
              <a:gd name="connsiteY815" fmla="*/ 3301511 h 8241402"/>
              <a:gd name="connsiteX816" fmla="*/ 1183614 w 4338596"/>
              <a:gd name="connsiteY816" fmla="*/ 3289797 h 8241402"/>
              <a:gd name="connsiteX817" fmla="*/ 1176766 w 4338596"/>
              <a:gd name="connsiteY817" fmla="*/ 3287601 h 8241402"/>
              <a:gd name="connsiteX818" fmla="*/ 1172822 w 4338596"/>
              <a:gd name="connsiteY818" fmla="*/ 3287420 h 8241402"/>
              <a:gd name="connsiteX819" fmla="*/ 1181459 w 4338596"/>
              <a:gd name="connsiteY819" fmla="*/ 3284673 h 8241402"/>
              <a:gd name="connsiteX820" fmla="*/ 1202892 w 4338596"/>
              <a:gd name="connsiteY820" fmla="*/ 3283940 h 8241402"/>
              <a:gd name="connsiteX821" fmla="*/ 1246521 w 4338596"/>
              <a:gd name="connsiteY821" fmla="*/ 3229277 h 8241402"/>
              <a:gd name="connsiteX822" fmla="*/ 1291164 w 4338596"/>
              <a:gd name="connsiteY822" fmla="*/ 3210730 h 8241402"/>
              <a:gd name="connsiteX823" fmla="*/ 1322617 w 4338596"/>
              <a:gd name="connsiteY823" fmla="*/ 3180470 h 8241402"/>
              <a:gd name="connsiteX824" fmla="*/ 1360158 w 4338596"/>
              <a:gd name="connsiteY824" fmla="*/ 3174614 h 8241402"/>
              <a:gd name="connsiteX825" fmla="*/ 1379436 w 4338596"/>
              <a:gd name="connsiteY825" fmla="*/ 3150211 h 8241402"/>
              <a:gd name="connsiteX826" fmla="*/ 1416977 w 4338596"/>
              <a:gd name="connsiteY826" fmla="*/ 3144353 h 8241402"/>
              <a:gd name="connsiteX827" fmla="*/ 1416977 w 4338596"/>
              <a:gd name="connsiteY827" fmla="*/ 3119951 h 8241402"/>
              <a:gd name="connsiteX828" fmla="*/ 1441327 w 4338596"/>
              <a:gd name="connsiteY828" fmla="*/ 3119951 h 8241402"/>
              <a:gd name="connsiteX829" fmla="*/ 1466693 w 4338596"/>
              <a:gd name="connsiteY829" fmla="*/ 3090666 h 8241402"/>
              <a:gd name="connsiteX830" fmla="*/ 1536702 w 4338596"/>
              <a:gd name="connsiteY830" fmla="*/ 3072119 h 8241402"/>
              <a:gd name="connsiteX831" fmla="*/ 1554965 w 4338596"/>
              <a:gd name="connsiteY831" fmla="*/ 3017456 h 8241402"/>
              <a:gd name="connsiteX832" fmla="*/ 1674690 w 4338596"/>
              <a:gd name="connsiteY832" fmla="*/ 3017456 h 8241402"/>
              <a:gd name="connsiteX833" fmla="*/ 1700055 w 4338596"/>
              <a:gd name="connsiteY833" fmla="*/ 3023313 h 8241402"/>
              <a:gd name="connsiteX834" fmla="*/ 1668602 w 4338596"/>
              <a:gd name="connsiteY834" fmla="*/ 3011599 h 8241402"/>
              <a:gd name="connsiteX835" fmla="*/ 1932403 w 4338596"/>
              <a:gd name="connsiteY835" fmla="*/ 3102379 h 8241402"/>
              <a:gd name="connsiteX836" fmla="*/ 1932403 w 4338596"/>
              <a:gd name="connsiteY836" fmla="*/ 3102379 h 8241402"/>
              <a:gd name="connsiteX837" fmla="*/ 1926315 w 4338596"/>
              <a:gd name="connsiteY837" fmla="*/ 3090666 h 8241402"/>
              <a:gd name="connsiteX838" fmla="*/ 2152575 w 4338596"/>
              <a:gd name="connsiteY838" fmla="*/ 3204873 h 8241402"/>
              <a:gd name="connsiteX839" fmla="*/ 2152575 w 4338596"/>
              <a:gd name="connsiteY839" fmla="*/ 3204873 h 8241402"/>
              <a:gd name="connsiteX840" fmla="*/ 2101843 w 4338596"/>
              <a:gd name="connsiteY840" fmla="*/ 3162900 h 8241402"/>
              <a:gd name="connsiteX841" fmla="*/ 2177941 w 4338596"/>
              <a:gd name="connsiteY841" fmla="*/ 3199017 h 8241402"/>
              <a:gd name="connsiteX842" fmla="*/ 2158662 w 4338596"/>
              <a:gd name="connsiteY842" fmla="*/ 3157043 h 8241402"/>
              <a:gd name="connsiteX843" fmla="*/ 2177941 w 4338596"/>
              <a:gd name="connsiteY843" fmla="*/ 3157043 h 8241402"/>
              <a:gd name="connsiteX844" fmla="*/ 2158662 w 4338596"/>
              <a:gd name="connsiteY844" fmla="*/ 3114093 h 8241402"/>
              <a:gd name="connsiteX845" fmla="*/ 2164750 w 4338596"/>
              <a:gd name="connsiteY845" fmla="*/ 3096522 h 8241402"/>
              <a:gd name="connsiteX846" fmla="*/ 2164750 w 4338596"/>
              <a:gd name="connsiteY846" fmla="*/ 3059429 h 8241402"/>
              <a:gd name="connsiteX847" fmla="*/ 2133297 w 4338596"/>
              <a:gd name="connsiteY847" fmla="*/ 2860298 h 8241402"/>
              <a:gd name="connsiteX848" fmla="*/ 2038937 w 4338596"/>
              <a:gd name="connsiteY848" fmla="*/ 2340018 h 8241402"/>
              <a:gd name="connsiteX849" fmla="*/ 1995309 w 4338596"/>
              <a:gd name="connsiteY849" fmla="*/ 2073533 h 8241402"/>
              <a:gd name="connsiteX850" fmla="*/ 1957768 w 4338596"/>
              <a:gd name="connsiteY850" fmla="*/ 1988610 h 8241402"/>
              <a:gd name="connsiteX851" fmla="*/ 1920227 w 4338596"/>
              <a:gd name="connsiteY851" fmla="*/ 1698698 h 8241402"/>
              <a:gd name="connsiteX852" fmla="*/ 1863409 w 4338596"/>
              <a:gd name="connsiteY852" fmla="*/ 1178418 h 8241402"/>
              <a:gd name="connsiteX853" fmla="*/ 1875584 w 4338596"/>
              <a:gd name="connsiteY853" fmla="*/ 972453 h 8241402"/>
              <a:gd name="connsiteX854" fmla="*/ 1900950 w 4338596"/>
              <a:gd name="connsiteY854" fmla="*/ 942193 h 8241402"/>
              <a:gd name="connsiteX855" fmla="*/ 1944578 w 4338596"/>
              <a:gd name="connsiteY855" fmla="*/ 899243 h 8241402"/>
              <a:gd name="connsiteX856" fmla="*/ 1951680 w 4338596"/>
              <a:gd name="connsiteY856" fmla="*/ 875816 h 8241402"/>
              <a:gd name="connsiteX857" fmla="*/ 1976031 w 4338596"/>
              <a:gd name="connsiteY857" fmla="*/ 881672 h 8241402"/>
              <a:gd name="connsiteX858" fmla="*/ 1989221 w 4338596"/>
              <a:gd name="connsiteY858" fmla="*/ 863126 h 8241402"/>
              <a:gd name="connsiteX859" fmla="*/ 2008499 w 4338596"/>
              <a:gd name="connsiteY859" fmla="*/ 838722 h 8241402"/>
              <a:gd name="connsiteX860" fmla="*/ 2032850 w 4338596"/>
              <a:gd name="connsiteY860" fmla="*/ 863126 h 8241402"/>
              <a:gd name="connsiteX861" fmla="*/ 2058215 w 4338596"/>
              <a:gd name="connsiteY861" fmla="*/ 821152 h 8241402"/>
              <a:gd name="connsiteX862" fmla="*/ 2095756 w 4338596"/>
              <a:gd name="connsiteY862" fmla="*/ 838722 h 8241402"/>
              <a:gd name="connsiteX863" fmla="*/ 2089668 w 4338596"/>
              <a:gd name="connsiteY863" fmla="*/ 790892 h 8241402"/>
              <a:gd name="connsiteX864" fmla="*/ 2115034 w 4338596"/>
              <a:gd name="connsiteY864" fmla="*/ 838722 h 8241402"/>
              <a:gd name="connsiteX865" fmla="*/ 2152575 w 4338596"/>
              <a:gd name="connsiteY865" fmla="*/ 814319 h 8241402"/>
              <a:gd name="connsiteX866" fmla="*/ 2158662 w 4338596"/>
              <a:gd name="connsiteY866" fmla="*/ 778203 h 8241402"/>
              <a:gd name="connsiteX867" fmla="*/ 2196203 w 4338596"/>
              <a:gd name="connsiteY867" fmla="*/ 785035 h 8241402"/>
              <a:gd name="connsiteX868" fmla="*/ 2190115 w 4338596"/>
              <a:gd name="connsiteY868" fmla="*/ 742085 h 8241402"/>
              <a:gd name="connsiteX869" fmla="*/ 2227656 w 4338596"/>
              <a:gd name="connsiteY869" fmla="*/ 747942 h 8241402"/>
              <a:gd name="connsiteX870" fmla="*/ 2266212 w 4338596"/>
              <a:gd name="connsiteY870" fmla="*/ 717682 h 8241402"/>
              <a:gd name="connsiteX871" fmla="*/ 2290563 w 4338596"/>
              <a:gd name="connsiteY871" fmla="*/ 724515 h 8241402"/>
              <a:gd name="connsiteX872" fmla="*/ 2322016 w 4338596"/>
              <a:gd name="connsiteY872" fmla="*/ 730372 h 8241402"/>
              <a:gd name="connsiteX873" fmla="*/ 2384922 w 4338596"/>
              <a:gd name="connsiteY873" fmla="*/ 626902 h 8241402"/>
              <a:gd name="connsiteX874" fmla="*/ 2447829 w 4338596"/>
              <a:gd name="connsiteY874" fmla="*/ 639591 h 8241402"/>
              <a:gd name="connsiteX875" fmla="*/ 2447829 w 4338596"/>
              <a:gd name="connsiteY875" fmla="*/ 590784 h 8241402"/>
              <a:gd name="connsiteX876" fmla="*/ 2530013 w 4338596"/>
              <a:gd name="connsiteY876" fmla="*/ 687422 h 8241402"/>
              <a:gd name="connsiteX877" fmla="*/ 2542187 w 4338596"/>
              <a:gd name="connsiteY877" fmla="*/ 633734 h 8241402"/>
              <a:gd name="connsiteX878" fmla="*/ 2561465 w 4338596"/>
              <a:gd name="connsiteY878" fmla="*/ 639591 h 8241402"/>
              <a:gd name="connsiteX879" fmla="*/ 2536100 w 4338596"/>
              <a:gd name="connsiteY879" fmla="*/ 554667 h 8241402"/>
              <a:gd name="connsiteX880" fmla="*/ 2592919 w 4338596"/>
              <a:gd name="connsiteY880" fmla="*/ 579071 h 8241402"/>
              <a:gd name="connsiteX881" fmla="*/ 2612197 w 4338596"/>
              <a:gd name="connsiteY881" fmla="*/ 488290 h 8241402"/>
              <a:gd name="connsiteX882" fmla="*/ 2668000 w 4338596"/>
              <a:gd name="connsiteY882" fmla="*/ 500004 h 8241402"/>
              <a:gd name="connsiteX883" fmla="*/ 2687278 w 4338596"/>
              <a:gd name="connsiteY883" fmla="*/ 475600 h 8241402"/>
              <a:gd name="connsiteX884" fmla="*/ 2699454 w 4338596"/>
              <a:gd name="connsiteY884" fmla="*/ 433626 h 8241402"/>
              <a:gd name="connsiteX885" fmla="*/ 2712645 w 4338596"/>
              <a:gd name="connsiteY885" fmla="*/ 427770 h 8241402"/>
              <a:gd name="connsiteX886" fmla="*/ 2724819 w 4338596"/>
              <a:gd name="connsiteY886" fmla="*/ 391653 h 8241402"/>
              <a:gd name="connsiteX887" fmla="*/ 2769462 w 4338596"/>
              <a:gd name="connsiteY887" fmla="*/ 391653 h 8241402"/>
              <a:gd name="connsiteX888" fmla="*/ 2769462 w 4338596"/>
              <a:gd name="connsiteY888" fmla="*/ 367249 h 8241402"/>
              <a:gd name="connsiteX889" fmla="*/ 2793813 w 4338596"/>
              <a:gd name="connsiteY889" fmla="*/ 361392 h 8241402"/>
              <a:gd name="connsiteX890" fmla="*/ 2844544 w 4338596"/>
              <a:gd name="connsiteY890" fmla="*/ 445340 h 8241402"/>
              <a:gd name="connsiteX891" fmla="*/ 2895275 w 4338596"/>
              <a:gd name="connsiteY891" fmla="*/ 505861 h 8241402"/>
              <a:gd name="connsiteX892" fmla="*/ 2938904 w 4338596"/>
              <a:gd name="connsiteY892" fmla="*/ 705968 h 8241402"/>
              <a:gd name="connsiteX893" fmla="*/ 2970357 w 4338596"/>
              <a:gd name="connsiteY893" fmla="*/ 917790 h 8241402"/>
              <a:gd name="connsiteX894" fmla="*/ 3096170 w 4338596"/>
              <a:gd name="connsiteY894" fmla="*/ 1704554 h 8241402"/>
              <a:gd name="connsiteX895" fmla="*/ 3253435 w 4338596"/>
              <a:gd name="connsiteY895" fmla="*/ 2582099 h 8241402"/>
              <a:gd name="connsiteX896" fmla="*/ 3259523 w 4338596"/>
              <a:gd name="connsiteY896" fmla="*/ 2624073 h 8241402"/>
              <a:gd name="connsiteX897" fmla="*/ 3265611 w 4338596"/>
              <a:gd name="connsiteY897" fmla="*/ 2599670 h 8241402"/>
              <a:gd name="connsiteX898" fmla="*/ 3177339 w 4338596"/>
              <a:gd name="connsiteY898" fmla="*/ 2115507 h 8241402"/>
              <a:gd name="connsiteX899" fmla="*/ 3082980 w 4338596"/>
              <a:gd name="connsiteY899" fmla="*/ 1559111 h 8241402"/>
              <a:gd name="connsiteX900" fmla="*/ 2995722 w 4338596"/>
              <a:gd name="connsiteY900" fmla="*/ 990024 h 8241402"/>
              <a:gd name="connsiteX901" fmla="*/ 2932817 w 4338596"/>
              <a:gd name="connsiteY901" fmla="*/ 573214 h 8241402"/>
              <a:gd name="connsiteX902" fmla="*/ 2901364 w 4338596"/>
              <a:gd name="connsiteY902" fmla="*/ 458030 h 8241402"/>
              <a:gd name="connsiteX903" fmla="*/ 2901364 w 4338596"/>
              <a:gd name="connsiteY903" fmla="*/ 433626 h 8241402"/>
              <a:gd name="connsiteX904" fmla="*/ 2856721 w 4338596"/>
              <a:gd name="connsiteY904" fmla="*/ 318443 h 8241402"/>
              <a:gd name="connsiteX905" fmla="*/ 2895275 w 4338596"/>
              <a:gd name="connsiteY905" fmla="*/ 312586 h 8241402"/>
              <a:gd name="connsiteX906" fmla="*/ 2888173 w 4338596"/>
              <a:gd name="connsiteY906" fmla="*/ 288183 h 8241402"/>
              <a:gd name="connsiteX907" fmla="*/ 2913539 w 4338596"/>
              <a:gd name="connsiteY907" fmla="*/ 300873 h 8241402"/>
              <a:gd name="connsiteX908" fmla="*/ 2913539 w 4338596"/>
              <a:gd name="connsiteY908" fmla="*/ 282326 h 8241402"/>
              <a:gd name="connsiteX909" fmla="*/ 2938904 w 4338596"/>
              <a:gd name="connsiteY909" fmla="*/ 288183 h 8241402"/>
              <a:gd name="connsiteX910" fmla="*/ 2957167 w 4338596"/>
              <a:gd name="connsiteY910" fmla="*/ 252066 h 8241402"/>
              <a:gd name="connsiteX911" fmla="*/ 2982533 w 4338596"/>
              <a:gd name="connsiteY911" fmla="*/ 257922 h 8241402"/>
              <a:gd name="connsiteX912" fmla="*/ 3007898 w 4338596"/>
              <a:gd name="connsiteY912" fmla="*/ 221805 h 8241402"/>
              <a:gd name="connsiteX913" fmla="*/ 3033265 w 4338596"/>
              <a:gd name="connsiteY913" fmla="*/ 210092 h 8241402"/>
              <a:gd name="connsiteX914" fmla="*/ 3076892 w 4338596"/>
              <a:gd name="connsiteY914" fmla="*/ 172999 h 8241402"/>
              <a:gd name="connsiteX915" fmla="*/ 3090083 w 4338596"/>
              <a:gd name="connsiteY915" fmla="*/ 191545 h 8241402"/>
              <a:gd name="connsiteX916" fmla="*/ 3121535 w 4338596"/>
              <a:gd name="connsiteY916" fmla="*/ 155428 h 8241402"/>
              <a:gd name="connsiteX917" fmla="*/ 3152988 w 4338596"/>
              <a:gd name="connsiteY917" fmla="*/ 155428 h 8241402"/>
              <a:gd name="connsiteX918" fmla="*/ 3146900 w 4338596"/>
              <a:gd name="connsiteY918" fmla="*/ 136881 h 8241402"/>
              <a:gd name="connsiteX919" fmla="*/ 3196616 w 4338596"/>
              <a:gd name="connsiteY919" fmla="*/ 143715 h 8241402"/>
              <a:gd name="connsiteX920" fmla="*/ 3202705 w 4338596"/>
              <a:gd name="connsiteY920" fmla="*/ 100765 h 8241402"/>
              <a:gd name="connsiteX921" fmla="*/ 3228070 w 4338596"/>
              <a:gd name="connsiteY921" fmla="*/ 94908 h 8241402"/>
              <a:gd name="connsiteX922" fmla="*/ 3241260 w 4338596"/>
              <a:gd name="connsiteY922" fmla="*/ 76362 h 8241402"/>
              <a:gd name="connsiteX923" fmla="*/ 3332158 w 4338596"/>
              <a:gd name="connsiteY923" fmla="*/ 55281 h 8241402"/>
              <a:gd name="connsiteX924" fmla="*/ 3337855 w 4338596"/>
              <a:gd name="connsiteY924" fmla="*/ 57617 h 8241402"/>
              <a:gd name="connsiteX925" fmla="*/ 3359971 w 4338596"/>
              <a:gd name="connsiteY925" fmla="*/ 106622 h 8241402"/>
              <a:gd name="connsiteX926" fmla="*/ 3328518 w 4338596"/>
              <a:gd name="connsiteY926" fmla="*/ 58791 h 8241402"/>
              <a:gd name="connsiteX927" fmla="*/ 3332158 w 4338596"/>
              <a:gd name="connsiteY927" fmla="*/ 55281 h 8241402"/>
              <a:gd name="connsiteX928" fmla="*/ 3458166 w 4338596"/>
              <a:gd name="connsiteY928" fmla="*/ 40 h 8241402"/>
              <a:gd name="connsiteX929" fmla="*/ 3498973 w 4338596"/>
              <a:gd name="connsiteY929" fmla="*/ 58791 h 8241402"/>
              <a:gd name="connsiteX930" fmla="*/ 3492885 w 4338596"/>
              <a:gd name="connsiteY930" fmla="*/ 172999 h 8241402"/>
              <a:gd name="connsiteX931" fmla="*/ 3460419 w 4338596"/>
              <a:gd name="connsiteY931" fmla="*/ 143715 h 8241402"/>
              <a:gd name="connsiteX932" fmla="*/ 3416789 w 4338596"/>
              <a:gd name="connsiteY932" fmla="*/ 149572 h 8241402"/>
              <a:gd name="connsiteX933" fmla="*/ 3385336 w 4338596"/>
              <a:gd name="connsiteY933" fmla="*/ 113454 h 8241402"/>
              <a:gd name="connsiteX934" fmla="*/ 3379248 w 4338596"/>
              <a:gd name="connsiteY934" fmla="*/ 64647 h 8241402"/>
              <a:gd name="connsiteX935" fmla="*/ 3404614 w 4338596"/>
              <a:gd name="connsiteY935" fmla="*/ 28531 h 8241402"/>
              <a:gd name="connsiteX936" fmla="*/ 3442155 w 4338596"/>
              <a:gd name="connsiteY936" fmla="*/ 40244 h 8241402"/>
              <a:gd name="connsiteX937" fmla="*/ 3436068 w 4338596"/>
              <a:gd name="connsiteY937" fmla="*/ 4128 h 8241402"/>
              <a:gd name="connsiteX938" fmla="*/ 3458166 w 4338596"/>
              <a:gd name="connsiteY938" fmla="*/ 40 h 82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Lst>
            <a:rect l="l" t="t" r="r" b="b"/>
            <a:pathLst>
              <a:path w="4338596" h="8241402">
                <a:moveTo>
                  <a:pt x="2564643" y="8239818"/>
                </a:moveTo>
                <a:lnTo>
                  <a:pt x="2568315" y="8240996"/>
                </a:lnTo>
                <a:cubicBezTo>
                  <a:pt x="2569457" y="8241362"/>
                  <a:pt x="2570027" y="8241545"/>
                  <a:pt x="2569171" y="8241271"/>
                </a:cubicBezTo>
                <a:close/>
                <a:moveTo>
                  <a:pt x="2561465" y="8238800"/>
                </a:moveTo>
                <a:lnTo>
                  <a:pt x="2564643" y="8239818"/>
                </a:lnTo>
                <a:lnTo>
                  <a:pt x="2564033" y="8239623"/>
                </a:lnTo>
                <a:cubicBezTo>
                  <a:pt x="2562608" y="8239166"/>
                  <a:pt x="2561465" y="8238800"/>
                  <a:pt x="2561465" y="8238800"/>
                </a:cubicBezTo>
                <a:close/>
                <a:moveTo>
                  <a:pt x="2553333" y="8236329"/>
                </a:moveTo>
                <a:cubicBezTo>
                  <a:pt x="2554236" y="8236603"/>
                  <a:pt x="2556647" y="8237336"/>
                  <a:pt x="2561465" y="8238800"/>
                </a:cubicBezTo>
                <a:cubicBezTo>
                  <a:pt x="2561465" y="8238800"/>
                  <a:pt x="2550622" y="8235506"/>
                  <a:pt x="2553333" y="8236329"/>
                </a:cubicBezTo>
                <a:close/>
                <a:moveTo>
                  <a:pt x="2585842" y="8115100"/>
                </a:moveTo>
                <a:lnTo>
                  <a:pt x="2586717" y="8117349"/>
                </a:lnTo>
                <a:lnTo>
                  <a:pt x="2586832" y="8117758"/>
                </a:lnTo>
                <a:close/>
                <a:moveTo>
                  <a:pt x="2583843" y="8109725"/>
                </a:moveTo>
                <a:lnTo>
                  <a:pt x="2585842" y="8115100"/>
                </a:lnTo>
                <a:lnTo>
                  <a:pt x="2584231" y="8110956"/>
                </a:lnTo>
                <a:cubicBezTo>
                  <a:pt x="2583629" y="8109294"/>
                  <a:pt x="2583455" y="8108737"/>
                  <a:pt x="2583843" y="8109725"/>
                </a:cubicBezTo>
                <a:close/>
                <a:moveTo>
                  <a:pt x="3133711" y="7972315"/>
                </a:moveTo>
                <a:cubicBezTo>
                  <a:pt x="3133711" y="7972315"/>
                  <a:pt x="3152988" y="7978171"/>
                  <a:pt x="3133711" y="7972315"/>
                </a:cubicBezTo>
                <a:close/>
                <a:moveTo>
                  <a:pt x="2354674" y="7691844"/>
                </a:moveTo>
                <a:cubicBezTo>
                  <a:pt x="2351630" y="7690517"/>
                  <a:pt x="2348903" y="7690944"/>
                  <a:pt x="2347381" y="7694117"/>
                </a:cubicBezTo>
                <a:cubicBezTo>
                  <a:pt x="2347381" y="7705830"/>
                  <a:pt x="2366659" y="7724377"/>
                  <a:pt x="2366659" y="7724377"/>
                </a:cubicBezTo>
                <a:cubicBezTo>
                  <a:pt x="2375791" y="7715592"/>
                  <a:pt x="2363805" y="7695825"/>
                  <a:pt x="2354674" y="7691844"/>
                </a:cubicBezTo>
                <a:close/>
                <a:moveTo>
                  <a:pt x="2023149" y="7682329"/>
                </a:moveTo>
                <a:lnTo>
                  <a:pt x="2026762" y="7688260"/>
                </a:lnTo>
                <a:cubicBezTo>
                  <a:pt x="2023718" y="7688260"/>
                  <a:pt x="2022197" y="7686551"/>
                  <a:pt x="2022197" y="7684111"/>
                </a:cubicBezTo>
                <a:close/>
                <a:moveTo>
                  <a:pt x="2146487" y="7609192"/>
                </a:moveTo>
                <a:cubicBezTo>
                  <a:pt x="2158662" y="7609192"/>
                  <a:pt x="2158662" y="7621883"/>
                  <a:pt x="2152575" y="7627739"/>
                </a:cubicBezTo>
                <a:cubicBezTo>
                  <a:pt x="2146487" y="7627739"/>
                  <a:pt x="2146487" y="7621883"/>
                  <a:pt x="2146487" y="7609192"/>
                </a:cubicBezTo>
                <a:close/>
                <a:moveTo>
                  <a:pt x="2146487" y="7597479"/>
                </a:moveTo>
                <a:cubicBezTo>
                  <a:pt x="2146487" y="7597479"/>
                  <a:pt x="2152575" y="7603336"/>
                  <a:pt x="2146487" y="7609192"/>
                </a:cubicBezTo>
                <a:cubicBezTo>
                  <a:pt x="2146487" y="7609192"/>
                  <a:pt x="2140399" y="7603336"/>
                  <a:pt x="2146487" y="7597479"/>
                </a:cubicBezTo>
                <a:close/>
                <a:moveTo>
                  <a:pt x="2576486" y="7559940"/>
                </a:moveTo>
                <a:lnTo>
                  <a:pt x="2579729" y="7560386"/>
                </a:lnTo>
                <a:lnTo>
                  <a:pt x="2581720" y="7569890"/>
                </a:lnTo>
                <a:close/>
                <a:moveTo>
                  <a:pt x="2573641" y="7554529"/>
                </a:moveTo>
                <a:lnTo>
                  <a:pt x="2576486" y="7559940"/>
                </a:lnTo>
                <a:lnTo>
                  <a:pt x="2574403" y="7559654"/>
                </a:lnTo>
                <a:cubicBezTo>
                  <a:pt x="2573641" y="7558922"/>
                  <a:pt x="2573641" y="7557458"/>
                  <a:pt x="2573641" y="7554529"/>
                </a:cubicBezTo>
                <a:close/>
                <a:moveTo>
                  <a:pt x="2617976" y="7423628"/>
                </a:moveTo>
                <a:lnTo>
                  <a:pt x="2619047" y="7423971"/>
                </a:lnTo>
                <a:cubicBezTo>
                  <a:pt x="2620188" y="7424337"/>
                  <a:pt x="2620758" y="7424520"/>
                  <a:pt x="2619901" y="7424246"/>
                </a:cubicBezTo>
                <a:close/>
                <a:moveTo>
                  <a:pt x="2612197" y="7421775"/>
                </a:moveTo>
                <a:cubicBezTo>
                  <a:pt x="2612197" y="7421775"/>
                  <a:pt x="2613338" y="7422141"/>
                  <a:pt x="2614765" y="7422598"/>
                </a:cubicBezTo>
                <a:lnTo>
                  <a:pt x="2617976" y="7423628"/>
                </a:lnTo>
                <a:close/>
                <a:moveTo>
                  <a:pt x="2599007" y="7391515"/>
                </a:moveTo>
                <a:cubicBezTo>
                  <a:pt x="2618284" y="7397372"/>
                  <a:pt x="2599007" y="7391515"/>
                  <a:pt x="2599007" y="7391515"/>
                </a:cubicBezTo>
                <a:close/>
                <a:moveTo>
                  <a:pt x="3747079" y="7373929"/>
                </a:moveTo>
                <a:lnTo>
                  <a:pt x="3752216" y="7375850"/>
                </a:lnTo>
                <a:cubicBezTo>
                  <a:pt x="3753928" y="7376491"/>
                  <a:pt x="3749932" y="7374997"/>
                  <a:pt x="3747079" y="7373929"/>
                </a:cubicBezTo>
                <a:close/>
                <a:moveTo>
                  <a:pt x="2579729" y="7342708"/>
                </a:moveTo>
                <a:cubicBezTo>
                  <a:pt x="2592919" y="7355398"/>
                  <a:pt x="2599007" y="7372968"/>
                  <a:pt x="2599007" y="7391515"/>
                </a:cubicBezTo>
                <a:cubicBezTo>
                  <a:pt x="2586832" y="7385658"/>
                  <a:pt x="2579729" y="7367111"/>
                  <a:pt x="2579729" y="7342708"/>
                </a:cubicBezTo>
                <a:close/>
                <a:moveTo>
                  <a:pt x="3762465" y="7326991"/>
                </a:moveTo>
                <a:lnTo>
                  <a:pt x="3763536" y="7327334"/>
                </a:lnTo>
                <a:cubicBezTo>
                  <a:pt x="3764677" y="7327700"/>
                  <a:pt x="3765247" y="7327883"/>
                  <a:pt x="3764391" y="7327608"/>
                </a:cubicBezTo>
                <a:close/>
                <a:moveTo>
                  <a:pt x="3756687" y="7325137"/>
                </a:moveTo>
                <a:cubicBezTo>
                  <a:pt x="3756687" y="7325137"/>
                  <a:pt x="3757828" y="7325503"/>
                  <a:pt x="3759255" y="7325961"/>
                </a:cubicBezTo>
                <a:lnTo>
                  <a:pt x="3762465" y="7326991"/>
                </a:lnTo>
                <a:close/>
                <a:moveTo>
                  <a:pt x="3705956" y="7114292"/>
                </a:moveTo>
                <a:cubicBezTo>
                  <a:pt x="3712044" y="7114292"/>
                  <a:pt x="3712044" y="7120149"/>
                  <a:pt x="3712044" y="7132839"/>
                </a:cubicBezTo>
                <a:cubicBezTo>
                  <a:pt x="3699867" y="7132839"/>
                  <a:pt x="3705956" y="7120149"/>
                  <a:pt x="3705956" y="7114292"/>
                </a:cubicBezTo>
                <a:close/>
                <a:moveTo>
                  <a:pt x="3699867" y="7095746"/>
                </a:moveTo>
                <a:cubicBezTo>
                  <a:pt x="3705956" y="7095746"/>
                  <a:pt x="3705956" y="7101603"/>
                  <a:pt x="3705956" y="7114292"/>
                </a:cubicBezTo>
                <a:cubicBezTo>
                  <a:pt x="3693780" y="7114292"/>
                  <a:pt x="3699867" y="7101603"/>
                  <a:pt x="3699867" y="7095746"/>
                </a:cubicBezTo>
                <a:close/>
                <a:moveTo>
                  <a:pt x="2457691" y="7072673"/>
                </a:moveTo>
                <a:cubicBezTo>
                  <a:pt x="2456643" y="7073402"/>
                  <a:pt x="2455693" y="7075125"/>
                  <a:pt x="2454931" y="7078176"/>
                </a:cubicBezTo>
                <a:cubicBezTo>
                  <a:pt x="2454931" y="7084032"/>
                  <a:pt x="2461019" y="7084032"/>
                  <a:pt x="2461019" y="7089889"/>
                </a:cubicBezTo>
                <a:cubicBezTo>
                  <a:pt x="2474716" y="7108191"/>
                  <a:pt x="2467869" y="7078725"/>
                  <a:pt x="2461019" y="7073142"/>
                </a:cubicBezTo>
                <a:cubicBezTo>
                  <a:pt x="2459878" y="7072212"/>
                  <a:pt x="2458737" y="7071945"/>
                  <a:pt x="2457691" y="7072673"/>
                </a:cubicBezTo>
                <a:close/>
                <a:moveTo>
                  <a:pt x="3680590" y="7047915"/>
                </a:moveTo>
                <a:cubicBezTo>
                  <a:pt x="3693780" y="7059629"/>
                  <a:pt x="3693780" y="7071343"/>
                  <a:pt x="3699867" y="7095746"/>
                </a:cubicBezTo>
                <a:cubicBezTo>
                  <a:pt x="3687693" y="7084032"/>
                  <a:pt x="3680590" y="7065485"/>
                  <a:pt x="3680590" y="7047915"/>
                </a:cubicBezTo>
                <a:close/>
                <a:moveTo>
                  <a:pt x="3463336" y="6964014"/>
                </a:moveTo>
                <a:cubicBezTo>
                  <a:pt x="3468472" y="6966896"/>
                  <a:pt x="3478174" y="6988859"/>
                  <a:pt x="3473607" y="6993252"/>
                </a:cubicBezTo>
                <a:cubicBezTo>
                  <a:pt x="3473607" y="6993252"/>
                  <a:pt x="3460419" y="6980562"/>
                  <a:pt x="3460419" y="6968848"/>
                </a:cubicBezTo>
                <a:cubicBezTo>
                  <a:pt x="3460419" y="6964212"/>
                  <a:pt x="3461623" y="6963053"/>
                  <a:pt x="3463336" y="6964014"/>
                </a:cubicBezTo>
                <a:close/>
                <a:moveTo>
                  <a:pt x="3505061" y="6950302"/>
                </a:moveTo>
                <a:cubicBezTo>
                  <a:pt x="3511149" y="6950302"/>
                  <a:pt x="3511149" y="6962992"/>
                  <a:pt x="3511149" y="6968848"/>
                </a:cubicBezTo>
                <a:cubicBezTo>
                  <a:pt x="3505061" y="6968848"/>
                  <a:pt x="3505061" y="6957135"/>
                  <a:pt x="3505061" y="6950302"/>
                </a:cubicBezTo>
                <a:close/>
                <a:moveTo>
                  <a:pt x="3485784" y="6902471"/>
                </a:moveTo>
                <a:cubicBezTo>
                  <a:pt x="3498973" y="6914185"/>
                  <a:pt x="3505061" y="6932732"/>
                  <a:pt x="3505061" y="6950302"/>
                </a:cubicBezTo>
                <a:cubicBezTo>
                  <a:pt x="3492885" y="6938588"/>
                  <a:pt x="3485784" y="6920042"/>
                  <a:pt x="3485784" y="6902471"/>
                </a:cubicBezTo>
                <a:close/>
                <a:moveTo>
                  <a:pt x="2416884" y="6892222"/>
                </a:moveTo>
                <a:cubicBezTo>
                  <a:pt x="2413586" y="6892222"/>
                  <a:pt x="2410287" y="6893686"/>
                  <a:pt x="2410287" y="6896614"/>
                </a:cubicBezTo>
                <a:cubicBezTo>
                  <a:pt x="2410287" y="6896614"/>
                  <a:pt x="2429566" y="6902471"/>
                  <a:pt x="2423478" y="6896614"/>
                </a:cubicBezTo>
                <a:cubicBezTo>
                  <a:pt x="2423478" y="6893686"/>
                  <a:pt x="2420180" y="6892222"/>
                  <a:pt x="2416884" y="6892222"/>
                </a:cubicBezTo>
                <a:close/>
                <a:moveTo>
                  <a:pt x="3417469" y="6862235"/>
                </a:moveTo>
                <a:lnTo>
                  <a:pt x="3422876" y="6866354"/>
                </a:lnTo>
                <a:cubicBezTo>
                  <a:pt x="3422876" y="6866354"/>
                  <a:pt x="3421354" y="6865195"/>
                  <a:pt x="3419451" y="6863746"/>
                </a:cubicBezTo>
                <a:close/>
                <a:moveTo>
                  <a:pt x="3415814" y="6860975"/>
                </a:moveTo>
                <a:lnTo>
                  <a:pt x="3415885" y="6861029"/>
                </a:lnTo>
                <a:lnTo>
                  <a:pt x="3417469" y="6862235"/>
                </a:lnTo>
                <a:close/>
                <a:moveTo>
                  <a:pt x="3412603" y="6858530"/>
                </a:moveTo>
                <a:cubicBezTo>
                  <a:pt x="3411462" y="6857660"/>
                  <a:pt x="3412223" y="6858240"/>
                  <a:pt x="3413745" y="6859399"/>
                </a:cubicBezTo>
                <a:lnTo>
                  <a:pt x="3415814" y="6860975"/>
                </a:lnTo>
                <a:close/>
                <a:moveTo>
                  <a:pt x="3467520" y="6853664"/>
                </a:moveTo>
                <a:cubicBezTo>
                  <a:pt x="3473607" y="6853664"/>
                  <a:pt x="3473607" y="6866354"/>
                  <a:pt x="3473607" y="6872211"/>
                </a:cubicBezTo>
                <a:cubicBezTo>
                  <a:pt x="3467520" y="6872211"/>
                  <a:pt x="3467520" y="6859521"/>
                  <a:pt x="3467520" y="6853664"/>
                </a:cubicBezTo>
                <a:close/>
                <a:moveTo>
                  <a:pt x="3448241" y="6805834"/>
                </a:moveTo>
                <a:cubicBezTo>
                  <a:pt x="3460419" y="6817547"/>
                  <a:pt x="3467520" y="6836094"/>
                  <a:pt x="3467520" y="6853664"/>
                </a:cubicBezTo>
                <a:cubicBezTo>
                  <a:pt x="3454331" y="6841951"/>
                  <a:pt x="3448241" y="6823405"/>
                  <a:pt x="3448241" y="6805834"/>
                </a:cubicBezTo>
                <a:close/>
                <a:moveTo>
                  <a:pt x="1626020" y="6778959"/>
                </a:moveTo>
                <a:cubicBezTo>
                  <a:pt x="1624783" y="6779234"/>
                  <a:pt x="1623959" y="6779966"/>
                  <a:pt x="1623959" y="6781431"/>
                </a:cubicBezTo>
                <a:cubicBezTo>
                  <a:pt x="1623959" y="6787287"/>
                  <a:pt x="1637148" y="6793145"/>
                  <a:pt x="1637148" y="6781431"/>
                </a:cubicBezTo>
                <a:cubicBezTo>
                  <a:pt x="1637148" y="6781431"/>
                  <a:pt x="1629730" y="6778136"/>
                  <a:pt x="1626020" y="6778959"/>
                </a:cubicBezTo>
                <a:close/>
                <a:moveTo>
                  <a:pt x="3436068" y="6775573"/>
                </a:moveTo>
                <a:cubicBezTo>
                  <a:pt x="3442155" y="6781431"/>
                  <a:pt x="3448241" y="6793145"/>
                  <a:pt x="3448241" y="6805834"/>
                </a:cubicBezTo>
                <a:cubicBezTo>
                  <a:pt x="3436068" y="6799977"/>
                  <a:pt x="3436068" y="6793145"/>
                  <a:pt x="3436068" y="6775573"/>
                </a:cubicBezTo>
                <a:close/>
                <a:moveTo>
                  <a:pt x="3537300" y="6704224"/>
                </a:moveTo>
                <a:cubicBezTo>
                  <a:pt x="3536801" y="6704758"/>
                  <a:pt x="3536515" y="6706024"/>
                  <a:pt x="3536515" y="6708220"/>
                </a:cubicBezTo>
                <a:cubicBezTo>
                  <a:pt x="3536515" y="6732624"/>
                  <a:pt x="3554777" y="6745313"/>
                  <a:pt x="3554777" y="6732624"/>
                </a:cubicBezTo>
                <a:cubicBezTo>
                  <a:pt x="3554777" y="6732624"/>
                  <a:pt x="3544505" y="6709013"/>
                  <a:pt x="3539368" y="6704621"/>
                </a:cubicBezTo>
                <a:cubicBezTo>
                  <a:pt x="3538512" y="6703888"/>
                  <a:pt x="3537799" y="6703690"/>
                  <a:pt x="3537300" y="6704224"/>
                </a:cubicBezTo>
                <a:close/>
                <a:moveTo>
                  <a:pt x="1561053" y="6666247"/>
                </a:moveTo>
                <a:cubicBezTo>
                  <a:pt x="1574243" y="6696507"/>
                  <a:pt x="1592506" y="6726767"/>
                  <a:pt x="1611783" y="6751171"/>
                </a:cubicBezTo>
                <a:cubicBezTo>
                  <a:pt x="1611783" y="6757027"/>
                  <a:pt x="1611783" y="6762884"/>
                  <a:pt x="1617871" y="6762884"/>
                </a:cubicBezTo>
                <a:cubicBezTo>
                  <a:pt x="1623959" y="6775573"/>
                  <a:pt x="1623959" y="6762884"/>
                  <a:pt x="1617871" y="6762884"/>
                </a:cubicBezTo>
                <a:cubicBezTo>
                  <a:pt x="1617871" y="6757027"/>
                  <a:pt x="1617871" y="6751171"/>
                  <a:pt x="1611783" y="6751171"/>
                </a:cubicBezTo>
                <a:cubicBezTo>
                  <a:pt x="1598593" y="6720910"/>
                  <a:pt x="1586418" y="6684794"/>
                  <a:pt x="1561053" y="6666247"/>
                </a:cubicBezTo>
                <a:close/>
                <a:moveTo>
                  <a:pt x="2270825" y="6651538"/>
                </a:moveTo>
                <a:cubicBezTo>
                  <a:pt x="2268622" y="6650705"/>
                  <a:pt x="2266973" y="6651483"/>
                  <a:pt x="2266212" y="6654533"/>
                </a:cubicBezTo>
                <a:cubicBezTo>
                  <a:pt x="2266212" y="6660390"/>
                  <a:pt x="2284475" y="6678936"/>
                  <a:pt x="2284475" y="6678936"/>
                </a:cubicBezTo>
                <a:cubicBezTo>
                  <a:pt x="2328865" y="6742141"/>
                  <a:pt x="2286251" y="6657370"/>
                  <a:pt x="2270825" y="6651538"/>
                </a:cubicBezTo>
                <a:close/>
                <a:moveTo>
                  <a:pt x="2297665" y="6635986"/>
                </a:moveTo>
                <a:cubicBezTo>
                  <a:pt x="2284475" y="6654533"/>
                  <a:pt x="2341294" y="6726767"/>
                  <a:pt x="2347381" y="6738481"/>
                </a:cubicBezTo>
                <a:cubicBezTo>
                  <a:pt x="2372746" y="6787287"/>
                  <a:pt x="2372746" y="6817547"/>
                  <a:pt x="2398113" y="6841951"/>
                </a:cubicBezTo>
                <a:cubicBezTo>
                  <a:pt x="2378835" y="6787287"/>
                  <a:pt x="2353469" y="6715053"/>
                  <a:pt x="2315928" y="6654533"/>
                </a:cubicBezTo>
                <a:cubicBezTo>
                  <a:pt x="2315928" y="6654533"/>
                  <a:pt x="2303753" y="6635986"/>
                  <a:pt x="2297665" y="6635986"/>
                </a:cubicBezTo>
                <a:close/>
                <a:moveTo>
                  <a:pt x="1724406" y="6635986"/>
                </a:moveTo>
                <a:cubicBezTo>
                  <a:pt x="1724406" y="6660390"/>
                  <a:pt x="1737596" y="6666247"/>
                  <a:pt x="1749771" y="6678936"/>
                </a:cubicBezTo>
                <a:cubicBezTo>
                  <a:pt x="1749771" y="6696507"/>
                  <a:pt x="1756874" y="6702364"/>
                  <a:pt x="1769049" y="6708220"/>
                </a:cubicBezTo>
                <a:cubicBezTo>
                  <a:pt x="1787312" y="6769717"/>
                  <a:pt x="1818766" y="6817547"/>
                  <a:pt x="1850219" y="6883924"/>
                </a:cubicBezTo>
                <a:cubicBezTo>
                  <a:pt x="1863409" y="6914185"/>
                  <a:pt x="1900950" y="6957135"/>
                  <a:pt x="1875584" y="6902471"/>
                </a:cubicBezTo>
                <a:cubicBezTo>
                  <a:pt x="1850219" y="6847808"/>
                  <a:pt x="1806590" y="6762884"/>
                  <a:pt x="1769049" y="6708220"/>
                </a:cubicBezTo>
                <a:cubicBezTo>
                  <a:pt x="1769049" y="6690650"/>
                  <a:pt x="1762961" y="6684794"/>
                  <a:pt x="1749771" y="6678936"/>
                </a:cubicBezTo>
                <a:cubicBezTo>
                  <a:pt x="1749771" y="6660390"/>
                  <a:pt x="1737596" y="6648676"/>
                  <a:pt x="1724406" y="6635986"/>
                </a:cubicBezTo>
                <a:close/>
                <a:moveTo>
                  <a:pt x="2262106" y="6613978"/>
                </a:moveTo>
                <a:cubicBezTo>
                  <a:pt x="2263104" y="6610546"/>
                  <a:pt x="2259109" y="6624273"/>
                  <a:pt x="2259109" y="6624273"/>
                </a:cubicBezTo>
                <a:cubicBezTo>
                  <a:pt x="2260886" y="6618172"/>
                  <a:pt x="2261773" y="6615121"/>
                  <a:pt x="2262106" y="6613978"/>
                </a:cubicBezTo>
                <a:close/>
                <a:moveTo>
                  <a:pt x="2256937" y="6560748"/>
                </a:moveTo>
                <a:cubicBezTo>
                  <a:pt x="2255146" y="6560534"/>
                  <a:pt x="2253783" y="6561434"/>
                  <a:pt x="2253021" y="6563752"/>
                </a:cubicBezTo>
                <a:cubicBezTo>
                  <a:pt x="2253021" y="6569609"/>
                  <a:pt x="2290563" y="6630130"/>
                  <a:pt x="2297665" y="6624273"/>
                </a:cubicBezTo>
                <a:cubicBezTo>
                  <a:pt x="2302991" y="6618294"/>
                  <a:pt x="2269478" y="6562243"/>
                  <a:pt x="2256937" y="6560748"/>
                </a:cubicBezTo>
                <a:close/>
                <a:moveTo>
                  <a:pt x="2161963" y="6390552"/>
                </a:moveTo>
                <a:cubicBezTo>
                  <a:pt x="2160601" y="6390927"/>
                  <a:pt x="2159487" y="6392013"/>
                  <a:pt x="2158662" y="6393905"/>
                </a:cubicBezTo>
                <a:cubicBezTo>
                  <a:pt x="2158662" y="6406594"/>
                  <a:pt x="2190115" y="6448568"/>
                  <a:pt x="2203306" y="6472972"/>
                </a:cubicBezTo>
                <a:cubicBezTo>
                  <a:pt x="2209393" y="6478829"/>
                  <a:pt x="2246935" y="6551063"/>
                  <a:pt x="2253021" y="6539349"/>
                </a:cubicBezTo>
                <a:cubicBezTo>
                  <a:pt x="2258349" y="6539349"/>
                  <a:pt x="2192208" y="6404826"/>
                  <a:pt x="2166754" y="6391466"/>
                </a:cubicBezTo>
                <a:cubicBezTo>
                  <a:pt x="2164936" y="6390513"/>
                  <a:pt x="2163325" y="6390177"/>
                  <a:pt x="2161963" y="6390552"/>
                </a:cubicBezTo>
                <a:close/>
                <a:moveTo>
                  <a:pt x="2126131" y="6380803"/>
                </a:moveTo>
                <a:cubicBezTo>
                  <a:pt x="2124419" y="6387255"/>
                  <a:pt x="2154097" y="6442712"/>
                  <a:pt x="2158662" y="6460282"/>
                </a:cubicBezTo>
                <a:cubicBezTo>
                  <a:pt x="2177941" y="6490542"/>
                  <a:pt x="2196203" y="6509089"/>
                  <a:pt x="2209393" y="6526660"/>
                </a:cubicBezTo>
                <a:cubicBezTo>
                  <a:pt x="2209393" y="6539349"/>
                  <a:pt x="2215481" y="6539349"/>
                  <a:pt x="2215481" y="6539349"/>
                </a:cubicBezTo>
                <a:cubicBezTo>
                  <a:pt x="2221568" y="6533492"/>
                  <a:pt x="2215481" y="6533492"/>
                  <a:pt x="2209393" y="6526660"/>
                </a:cubicBezTo>
                <a:cubicBezTo>
                  <a:pt x="2196203" y="6484686"/>
                  <a:pt x="2164750" y="6436855"/>
                  <a:pt x="2140399" y="6393905"/>
                </a:cubicBezTo>
                <a:cubicBezTo>
                  <a:pt x="2130761" y="6381947"/>
                  <a:pt x="2126701" y="6378653"/>
                  <a:pt x="2126131" y="6380803"/>
                </a:cubicBezTo>
                <a:close/>
                <a:moveTo>
                  <a:pt x="1806590" y="6200630"/>
                </a:moveTo>
                <a:lnTo>
                  <a:pt x="1806590" y="6206487"/>
                </a:lnTo>
                <a:cubicBezTo>
                  <a:pt x="1806590" y="6212344"/>
                  <a:pt x="1844131" y="6272864"/>
                  <a:pt x="1857321" y="6297268"/>
                </a:cubicBezTo>
                <a:cubicBezTo>
                  <a:pt x="1969944" y="6496399"/>
                  <a:pt x="2089668" y="6678936"/>
                  <a:pt x="2184028" y="6890758"/>
                </a:cubicBezTo>
                <a:cubicBezTo>
                  <a:pt x="2196203" y="6908328"/>
                  <a:pt x="2227656" y="6962992"/>
                  <a:pt x="2203306" y="6914185"/>
                </a:cubicBezTo>
                <a:cubicBezTo>
                  <a:pt x="2121121" y="6715053"/>
                  <a:pt x="2014587" y="6539349"/>
                  <a:pt x="1920227" y="6375358"/>
                </a:cubicBezTo>
                <a:cubicBezTo>
                  <a:pt x="1882687" y="6315814"/>
                  <a:pt x="1850219" y="6236747"/>
                  <a:pt x="1806590" y="6200630"/>
                </a:cubicBezTo>
                <a:close/>
                <a:moveTo>
                  <a:pt x="3561881" y="5703778"/>
                </a:moveTo>
                <a:cubicBezTo>
                  <a:pt x="3567967" y="5703778"/>
                  <a:pt x="3580143" y="5703778"/>
                  <a:pt x="3586231" y="5703778"/>
                </a:cubicBezTo>
                <a:cubicBezTo>
                  <a:pt x="3567967" y="5710611"/>
                  <a:pt x="3561881" y="5710611"/>
                  <a:pt x="3561881" y="5703778"/>
                </a:cubicBezTo>
                <a:close/>
                <a:moveTo>
                  <a:pt x="4102671" y="5589570"/>
                </a:moveTo>
                <a:cubicBezTo>
                  <a:pt x="4102671" y="5589570"/>
                  <a:pt x="4096584" y="5607141"/>
                  <a:pt x="4102671" y="5589570"/>
                </a:cubicBezTo>
                <a:close/>
                <a:moveTo>
                  <a:pt x="4105239" y="5581746"/>
                </a:moveTo>
                <a:cubicBezTo>
                  <a:pt x="4104954" y="5582615"/>
                  <a:pt x="4104193" y="5584934"/>
                  <a:pt x="4102671" y="5589570"/>
                </a:cubicBezTo>
                <a:cubicBezTo>
                  <a:pt x="4102671" y="5589570"/>
                  <a:pt x="4106095" y="5579138"/>
                  <a:pt x="4105239" y="5581746"/>
                </a:cubicBezTo>
                <a:close/>
                <a:moveTo>
                  <a:pt x="1129428" y="5550113"/>
                </a:moveTo>
                <a:cubicBezTo>
                  <a:pt x="1127430" y="5549945"/>
                  <a:pt x="1125401" y="5550342"/>
                  <a:pt x="1123752" y="5551134"/>
                </a:cubicBezTo>
                <a:cubicBezTo>
                  <a:pt x="1120454" y="5552721"/>
                  <a:pt x="1118679" y="5555893"/>
                  <a:pt x="1121723" y="5559309"/>
                </a:cubicBezTo>
                <a:lnTo>
                  <a:pt x="1134913" y="5552477"/>
                </a:lnTo>
                <a:cubicBezTo>
                  <a:pt x="1133391" y="5551013"/>
                  <a:pt x="1131425" y="5550281"/>
                  <a:pt x="1129428" y="5550113"/>
                </a:cubicBezTo>
                <a:close/>
                <a:moveTo>
                  <a:pt x="4207303" y="5532527"/>
                </a:moveTo>
                <a:cubicBezTo>
                  <a:pt x="4208445" y="5532710"/>
                  <a:pt x="4209206" y="5533442"/>
                  <a:pt x="4209206" y="5534906"/>
                </a:cubicBezTo>
                <a:cubicBezTo>
                  <a:pt x="4215295" y="5534906"/>
                  <a:pt x="4197031" y="5540763"/>
                  <a:pt x="4197031" y="5540763"/>
                </a:cubicBezTo>
                <a:cubicBezTo>
                  <a:pt x="4197031" y="5536371"/>
                  <a:pt x="4203879" y="5531978"/>
                  <a:pt x="4207303" y="5532527"/>
                </a:cubicBezTo>
                <a:close/>
                <a:moveTo>
                  <a:pt x="4297477" y="5275743"/>
                </a:moveTo>
                <a:cubicBezTo>
                  <a:pt x="4294435" y="5275743"/>
                  <a:pt x="4291391" y="5277207"/>
                  <a:pt x="4291391" y="5280135"/>
                </a:cubicBezTo>
                <a:cubicBezTo>
                  <a:pt x="4291391" y="5286968"/>
                  <a:pt x="4303565" y="5286968"/>
                  <a:pt x="4303565" y="5280135"/>
                </a:cubicBezTo>
                <a:cubicBezTo>
                  <a:pt x="4303565" y="5277207"/>
                  <a:pt x="4300521" y="5275743"/>
                  <a:pt x="4297477" y="5275743"/>
                </a:cubicBezTo>
                <a:close/>
                <a:moveTo>
                  <a:pt x="487427" y="4955525"/>
                </a:moveTo>
                <a:cubicBezTo>
                  <a:pt x="485430" y="4952093"/>
                  <a:pt x="477440" y="4965820"/>
                  <a:pt x="486572" y="4965820"/>
                </a:cubicBezTo>
                <a:cubicBezTo>
                  <a:pt x="486572" y="4978510"/>
                  <a:pt x="492660" y="4984366"/>
                  <a:pt x="499762" y="4984366"/>
                </a:cubicBezTo>
                <a:cubicBezTo>
                  <a:pt x="505850" y="4978510"/>
                  <a:pt x="499762" y="4971677"/>
                  <a:pt x="486572" y="4965820"/>
                </a:cubicBezTo>
                <a:cubicBezTo>
                  <a:pt x="488094" y="4959719"/>
                  <a:pt x="488094" y="4956668"/>
                  <a:pt x="487427" y="4955525"/>
                </a:cubicBezTo>
                <a:close/>
                <a:moveTo>
                  <a:pt x="389644" y="4809578"/>
                </a:moveTo>
                <a:cubicBezTo>
                  <a:pt x="388788" y="4807930"/>
                  <a:pt x="392212" y="4814519"/>
                  <a:pt x="392212" y="4814519"/>
                </a:cubicBezTo>
                <a:cubicBezTo>
                  <a:pt x="390690" y="4811591"/>
                  <a:pt x="389930" y="4810127"/>
                  <a:pt x="389644" y="4809578"/>
                </a:cubicBezTo>
                <a:close/>
                <a:moveTo>
                  <a:pt x="4247857" y="4447477"/>
                </a:moveTo>
                <a:cubicBezTo>
                  <a:pt x="4249854" y="4447797"/>
                  <a:pt x="4253849" y="4458962"/>
                  <a:pt x="4253849" y="4464087"/>
                </a:cubicBezTo>
                <a:cubicBezTo>
                  <a:pt x="4253849" y="4475801"/>
                  <a:pt x="4246747" y="4457254"/>
                  <a:pt x="4246747" y="4451397"/>
                </a:cubicBezTo>
                <a:cubicBezTo>
                  <a:pt x="4246747" y="4448469"/>
                  <a:pt x="4247191" y="4447371"/>
                  <a:pt x="4247857" y="4447477"/>
                </a:cubicBezTo>
                <a:close/>
                <a:moveTo>
                  <a:pt x="4114228" y="4074060"/>
                </a:moveTo>
                <a:cubicBezTo>
                  <a:pt x="4112246" y="4073999"/>
                  <a:pt x="4110281" y="4076318"/>
                  <a:pt x="4108759" y="4082418"/>
                </a:cubicBezTo>
                <a:cubicBezTo>
                  <a:pt x="4108759" y="4094132"/>
                  <a:pt x="4114847" y="4106822"/>
                  <a:pt x="4120934" y="4100965"/>
                </a:cubicBezTo>
                <a:cubicBezTo>
                  <a:pt x="4126261" y="4095841"/>
                  <a:pt x="4120173" y="4074243"/>
                  <a:pt x="4114228" y="4074060"/>
                </a:cubicBezTo>
                <a:close/>
                <a:moveTo>
                  <a:pt x="4079868" y="3799031"/>
                </a:moveTo>
                <a:cubicBezTo>
                  <a:pt x="4078938" y="3799538"/>
                  <a:pt x="4078066" y="3801170"/>
                  <a:pt x="4077305" y="3804220"/>
                </a:cubicBezTo>
                <a:cubicBezTo>
                  <a:pt x="4071219" y="3834479"/>
                  <a:pt x="4096584" y="3846193"/>
                  <a:pt x="4089482" y="3853026"/>
                </a:cubicBezTo>
                <a:cubicBezTo>
                  <a:pt x="4095696" y="3847048"/>
                  <a:pt x="4086373" y="3795481"/>
                  <a:pt x="4079868" y="3799031"/>
                </a:cubicBezTo>
                <a:close/>
                <a:moveTo>
                  <a:pt x="3998239" y="3766820"/>
                </a:moveTo>
                <a:cubicBezTo>
                  <a:pt x="3997072" y="3766182"/>
                  <a:pt x="3996010" y="3766517"/>
                  <a:pt x="3995121" y="3768103"/>
                </a:cubicBezTo>
                <a:cubicBezTo>
                  <a:pt x="3989035" y="3785673"/>
                  <a:pt x="4014400" y="3828624"/>
                  <a:pt x="4014400" y="3828624"/>
                </a:cubicBezTo>
                <a:cubicBezTo>
                  <a:pt x="4019727" y="3823499"/>
                  <a:pt x="4006409" y="3771291"/>
                  <a:pt x="3998239" y="3766820"/>
                </a:cubicBezTo>
                <a:close/>
                <a:moveTo>
                  <a:pt x="3898486" y="3328541"/>
                </a:moveTo>
                <a:cubicBezTo>
                  <a:pt x="3897155" y="3328484"/>
                  <a:pt x="3895879" y="3329514"/>
                  <a:pt x="3894674" y="3331772"/>
                </a:cubicBezTo>
                <a:cubicBezTo>
                  <a:pt x="3888587" y="3362031"/>
                  <a:pt x="3907865" y="3416695"/>
                  <a:pt x="3913953" y="3459645"/>
                </a:cubicBezTo>
                <a:cubicBezTo>
                  <a:pt x="3920039" y="3477215"/>
                  <a:pt x="3939318" y="3586542"/>
                  <a:pt x="3939318" y="3586542"/>
                </a:cubicBezTo>
                <a:cubicBezTo>
                  <a:pt x="3950732" y="3574645"/>
                  <a:pt x="3918450" y="3329391"/>
                  <a:pt x="3898486" y="3328541"/>
                </a:cubicBezTo>
                <a:close/>
                <a:moveTo>
                  <a:pt x="3373161" y="3320057"/>
                </a:moveTo>
                <a:cubicBezTo>
                  <a:pt x="3359971" y="3331772"/>
                  <a:pt x="3398526" y="3465502"/>
                  <a:pt x="3398526" y="3477215"/>
                </a:cubicBezTo>
                <a:cubicBezTo>
                  <a:pt x="3398526" y="3489905"/>
                  <a:pt x="3416789" y="3567995"/>
                  <a:pt x="3410703" y="3507475"/>
                </a:cubicBezTo>
                <a:cubicBezTo>
                  <a:pt x="3404614" y="3465502"/>
                  <a:pt x="3385336" y="3308343"/>
                  <a:pt x="3373161" y="3320057"/>
                </a:cubicBezTo>
                <a:close/>
                <a:moveTo>
                  <a:pt x="1170773" y="3287327"/>
                </a:moveTo>
                <a:lnTo>
                  <a:pt x="1172822" y="3287420"/>
                </a:lnTo>
                <a:lnTo>
                  <a:pt x="1165351" y="3289797"/>
                </a:lnTo>
                <a:cubicBezTo>
                  <a:pt x="1166873" y="3288333"/>
                  <a:pt x="1168776" y="3287601"/>
                  <a:pt x="1170773" y="3287327"/>
                </a:cubicBezTo>
                <a:close/>
                <a:moveTo>
                  <a:pt x="2073772" y="3152341"/>
                </a:moveTo>
                <a:lnTo>
                  <a:pt x="2070311" y="3153093"/>
                </a:lnTo>
                <a:cubicBezTo>
                  <a:pt x="2068837" y="3153412"/>
                  <a:pt x="2069820" y="3153200"/>
                  <a:pt x="2071786" y="3152772"/>
                </a:cubicBezTo>
                <a:close/>
                <a:moveTo>
                  <a:pt x="2075468" y="3151972"/>
                </a:moveTo>
                <a:lnTo>
                  <a:pt x="2073772" y="3152341"/>
                </a:lnTo>
                <a:lnTo>
                  <a:pt x="2074550" y="3152172"/>
                </a:lnTo>
                <a:close/>
                <a:moveTo>
                  <a:pt x="2083581" y="3150211"/>
                </a:moveTo>
                <a:lnTo>
                  <a:pt x="2075468" y="3151972"/>
                </a:lnTo>
                <a:lnTo>
                  <a:pt x="2079158" y="3151170"/>
                </a:lnTo>
                <a:cubicBezTo>
                  <a:pt x="2081615" y="3150637"/>
                  <a:pt x="2083581" y="3150211"/>
                  <a:pt x="2083581" y="3150211"/>
                </a:cubicBezTo>
                <a:close/>
                <a:moveTo>
                  <a:pt x="2083581" y="3150211"/>
                </a:moveTo>
                <a:cubicBezTo>
                  <a:pt x="2089668" y="3150211"/>
                  <a:pt x="2095756" y="3150211"/>
                  <a:pt x="2101843" y="3162900"/>
                </a:cubicBezTo>
                <a:cubicBezTo>
                  <a:pt x="2089668" y="3162900"/>
                  <a:pt x="2083581" y="3157043"/>
                  <a:pt x="2083581" y="3150211"/>
                </a:cubicBezTo>
                <a:close/>
                <a:moveTo>
                  <a:pt x="1913125" y="3083833"/>
                </a:moveTo>
                <a:cubicBezTo>
                  <a:pt x="1920227" y="3083833"/>
                  <a:pt x="1926315" y="3083833"/>
                  <a:pt x="1926315" y="3090666"/>
                </a:cubicBezTo>
                <a:cubicBezTo>
                  <a:pt x="1920227" y="3090666"/>
                  <a:pt x="1913125" y="3090666"/>
                  <a:pt x="1913125" y="3083833"/>
                </a:cubicBezTo>
                <a:close/>
                <a:moveTo>
                  <a:pt x="1900950" y="3077976"/>
                </a:moveTo>
                <a:cubicBezTo>
                  <a:pt x="1907037" y="3077976"/>
                  <a:pt x="1913125" y="3077976"/>
                  <a:pt x="1913125" y="3083833"/>
                </a:cubicBezTo>
                <a:cubicBezTo>
                  <a:pt x="1907037" y="3083833"/>
                  <a:pt x="1900950" y="3083833"/>
                  <a:pt x="1900950" y="3077976"/>
                </a:cubicBezTo>
                <a:close/>
                <a:moveTo>
                  <a:pt x="1888774" y="3072119"/>
                </a:moveTo>
                <a:cubicBezTo>
                  <a:pt x="1894862" y="3072119"/>
                  <a:pt x="1900950" y="3072119"/>
                  <a:pt x="1900950" y="3077976"/>
                </a:cubicBezTo>
                <a:cubicBezTo>
                  <a:pt x="1894862" y="3077976"/>
                  <a:pt x="1888774" y="3077976"/>
                  <a:pt x="1888774" y="3072119"/>
                </a:cubicBezTo>
                <a:close/>
                <a:moveTo>
                  <a:pt x="1875584" y="3066263"/>
                </a:moveTo>
                <a:cubicBezTo>
                  <a:pt x="1882687" y="3066263"/>
                  <a:pt x="1888774" y="3066263"/>
                  <a:pt x="1888774" y="3072119"/>
                </a:cubicBezTo>
                <a:cubicBezTo>
                  <a:pt x="1882687" y="3072119"/>
                  <a:pt x="1875584" y="3072119"/>
                  <a:pt x="1875584" y="3066263"/>
                </a:cubicBezTo>
                <a:close/>
                <a:moveTo>
                  <a:pt x="1850219" y="3053573"/>
                </a:moveTo>
                <a:cubicBezTo>
                  <a:pt x="1863409" y="3053573"/>
                  <a:pt x="1875584" y="3053573"/>
                  <a:pt x="1875584" y="3066263"/>
                </a:cubicBezTo>
                <a:cubicBezTo>
                  <a:pt x="1863409" y="3066263"/>
                  <a:pt x="1857321" y="3059429"/>
                  <a:pt x="1850219" y="3053573"/>
                </a:cubicBezTo>
                <a:close/>
                <a:moveTo>
                  <a:pt x="1838043" y="3047715"/>
                </a:moveTo>
                <a:cubicBezTo>
                  <a:pt x="1844131" y="3047715"/>
                  <a:pt x="1850219" y="3047715"/>
                  <a:pt x="1850219" y="3053573"/>
                </a:cubicBezTo>
                <a:cubicBezTo>
                  <a:pt x="1844131" y="3053573"/>
                  <a:pt x="1838043" y="3053573"/>
                  <a:pt x="1838043" y="3047715"/>
                </a:cubicBezTo>
                <a:close/>
                <a:moveTo>
                  <a:pt x="1825868" y="3041858"/>
                </a:moveTo>
                <a:cubicBezTo>
                  <a:pt x="1831956" y="3041858"/>
                  <a:pt x="1838043" y="3041858"/>
                  <a:pt x="1838043" y="3047715"/>
                </a:cubicBezTo>
                <a:cubicBezTo>
                  <a:pt x="1831956" y="3047715"/>
                  <a:pt x="1825868" y="3047715"/>
                  <a:pt x="1825868" y="3041858"/>
                </a:cubicBezTo>
                <a:close/>
                <a:moveTo>
                  <a:pt x="1807005" y="3037312"/>
                </a:moveTo>
                <a:lnTo>
                  <a:pt x="1805395" y="3037684"/>
                </a:lnTo>
                <a:cubicBezTo>
                  <a:pt x="1800194" y="3038885"/>
                  <a:pt x="1800787" y="3038747"/>
                  <a:pt x="1803166" y="3038198"/>
                </a:cubicBezTo>
                <a:close/>
                <a:moveTo>
                  <a:pt x="1812678" y="3036002"/>
                </a:moveTo>
                <a:lnTo>
                  <a:pt x="1807005" y="3037312"/>
                </a:lnTo>
                <a:lnTo>
                  <a:pt x="1809111" y="3036826"/>
                </a:lnTo>
                <a:cubicBezTo>
                  <a:pt x="1811092" y="3036368"/>
                  <a:pt x="1812678" y="3036002"/>
                  <a:pt x="1812678" y="3036002"/>
                </a:cubicBezTo>
                <a:close/>
                <a:moveTo>
                  <a:pt x="1812678" y="3036002"/>
                </a:moveTo>
                <a:cubicBezTo>
                  <a:pt x="1818766" y="3036002"/>
                  <a:pt x="1825868" y="3036002"/>
                  <a:pt x="1825868" y="3041858"/>
                </a:cubicBezTo>
                <a:cubicBezTo>
                  <a:pt x="1818766" y="3041858"/>
                  <a:pt x="1812678" y="3041858"/>
                  <a:pt x="1812678" y="3036002"/>
                </a:cubicBezTo>
                <a:close/>
                <a:moveTo>
                  <a:pt x="1781224" y="3017456"/>
                </a:moveTo>
                <a:lnTo>
                  <a:pt x="1769049" y="3023313"/>
                </a:lnTo>
                <a:cubicBezTo>
                  <a:pt x="1762961" y="3017456"/>
                  <a:pt x="1781224" y="3017456"/>
                  <a:pt x="1781224" y="3017456"/>
                </a:cubicBezTo>
                <a:close/>
                <a:moveTo>
                  <a:pt x="1762961" y="3011599"/>
                </a:moveTo>
                <a:lnTo>
                  <a:pt x="1749771" y="3017456"/>
                </a:lnTo>
                <a:cubicBezTo>
                  <a:pt x="1749771" y="3011599"/>
                  <a:pt x="1762961" y="3011599"/>
                  <a:pt x="1762961" y="3011599"/>
                </a:cubicBezTo>
                <a:close/>
                <a:moveTo>
                  <a:pt x="3906676" y="2585592"/>
                </a:moveTo>
                <a:cubicBezTo>
                  <a:pt x="3912811" y="2589298"/>
                  <a:pt x="3918519" y="2607967"/>
                  <a:pt x="3913953" y="2612359"/>
                </a:cubicBezTo>
                <a:cubicBezTo>
                  <a:pt x="3913953" y="2629930"/>
                  <a:pt x="3900763" y="2624073"/>
                  <a:pt x="3900763" y="2587957"/>
                </a:cubicBezTo>
                <a:cubicBezTo>
                  <a:pt x="3902538" y="2584784"/>
                  <a:pt x="3904631" y="2584356"/>
                  <a:pt x="3906676" y="2585592"/>
                </a:cubicBezTo>
                <a:close/>
                <a:moveTo>
                  <a:pt x="3899193" y="2556231"/>
                </a:moveTo>
                <a:cubicBezTo>
                  <a:pt x="3903426" y="2557330"/>
                  <a:pt x="3906089" y="2565017"/>
                  <a:pt x="3900763" y="2569410"/>
                </a:cubicBezTo>
                <a:cubicBezTo>
                  <a:pt x="3900763" y="2582099"/>
                  <a:pt x="3894674" y="2569410"/>
                  <a:pt x="3894674" y="2557696"/>
                </a:cubicBezTo>
                <a:cubicBezTo>
                  <a:pt x="3896196" y="2556232"/>
                  <a:pt x="3897782" y="2555866"/>
                  <a:pt x="3899193" y="2556231"/>
                </a:cubicBezTo>
                <a:close/>
                <a:moveTo>
                  <a:pt x="3749193" y="2479753"/>
                </a:moveTo>
                <a:lnTo>
                  <a:pt x="3748315" y="2484120"/>
                </a:lnTo>
                <a:cubicBezTo>
                  <a:pt x="3747935" y="2486011"/>
                  <a:pt x="3747745" y="2486957"/>
                  <a:pt x="3748029" y="2485538"/>
                </a:cubicBezTo>
                <a:close/>
                <a:moveTo>
                  <a:pt x="3750599" y="2472772"/>
                </a:moveTo>
                <a:cubicBezTo>
                  <a:pt x="3750599" y="2472772"/>
                  <a:pt x="3750218" y="2474663"/>
                  <a:pt x="3749742" y="2477028"/>
                </a:cubicBezTo>
                <a:lnTo>
                  <a:pt x="3749193" y="2479753"/>
                </a:lnTo>
                <a:close/>
                <a:moveTo>
                  <a:pt x="3744511" y="2430799"/>
                </a:moveTo>
                <a:cubicBezTo>
                  <a:pt x="3744511" y="2430799"/>
                  <a:pt x="3744511" y="2430799"/>
                  <a:pt x="3744511" y="2436655"/>
                </a:cubicBezTo>
                <a:cubicBezTo>
                  <a:pt x="3737409" y="2461058"/>
                  <a:pt x="3744511" y="2436655"/>
                  <a:pt x="3744511" y="2430799"/>
                </a:cubicBezTo>
                <a:close/>
                <a:moveTo>
                  <a:pt x="3742191" y="2399039"/>
                </a:moveTo>
                <a:lnTo>
                  <a:pt x="3744639" y="2401270"/>
                </a:lnTo>
                <a:cubicBezTo>
                  <a:pt x="3745843" y="2402368"/>
                  <a:pt x="3746446" y="2402918"/>
                  <a:pt x="3745542" y="2402094"/>
                </a:cubicBezTo>
                <a:close/>
                <a:moveTo>
                  <a:pt x="3737409" y="2394681"/>
                </a:moveTo>
                <a:cubicBezTo>
                  <a:pt x="3737409" y="2394681"/>
                  <a:pt x="3738614" y="2395779"/>
                  <a:pt x="3740120" y="2397152"/>
                </a:cubicBezTo>
                <a:lnTo>
                  <a:pt x="3742191" y="2399039"/>
                </a:lnTo>
                <a:close/>
                <a:moveTo>
                  <a:pt x="3828034" y="2367794"/>
                </a:moveTo>
                <a:cubicBezTo>
                  <a:pt x="3828837" y="2367628"/>
                  <a:pt x="3829656" y="2368090"/>
                  <a:pt x="3830477" y="2369075"/>
                </a:cubicBezTo>
                <a:cubicBezTo>
                  <a:pt x="3841978" y="2382861"/>
                  <a:pt x="3853963" y="2499128"/>
                  <a:pt x="3831769" y="2430799"/>
                </a:cubicBezTo>
                <a:cubicBezTo>
                  <a:pt x="3831769" y="2406395"/>
                  <a:pt x="3819593" y="2394681"/>
                  <a:pt x="3825680" y="2370277"/>
                </a:cubicBezTo>
                <a:cubicBezTo>
                  <a:pt x="3826440" y="2368753"/>
                  <a:pt x="3827230" y="2367960"/>
                  <a:pt x="3828034" y="2367794"/>
                </a:cubicBezTo>
                <a:close/>
                <a:moveTo>
                  <a:pt x="3731321" y="2357588"/>
                </a:moveTo>
                <a:cubicBezTo>
                  <a:pt x="3744511" y="2357588"/>
                  <a:pt x="3731321" y="2381992"/>
                  <a:pt x="3737409" y="2394681"/>
                </a:cubicBezTo>
                <a:cubicBezTo>
                  <a:pt x="3719145" y="2387848"/>
                  <a:pt x="3731321" y="2364421"/>
                  <a:pt x="3731321" y="2357588"/>
                </a:cubicBezTo>
                <a:close/>
                <a:moveTo>
                  <a:pt x="3719145" y="2285354"/>
                </a:moveTo>
                <a:cubicBezTo>
                  <a:pt x="3725232" y="2303900"/>
                  <a:pt x="3731321" y="2327328"/>
                  <a:pt x="3731321" y="2357588"/>
                </a:cubicBezTo>
                <a:cubicBezTo>
                  <a:pt x="3719145" y="2340018"/>
                  <a:pt x="3719145" y="2309758"/>
                  <a:pt x="3719145" y="2285354"/>
                </a:cubicBezTo>
                <a:close/>
                <a:moveTo>
                  <a:pt x="3712183" y="2276540"/>
                </a:moveTo>
                <a:lnTo>
                  <a:pt x="3714063" y="2278920"/>
                </a:lnTo>
                <a:cubicBezTo>
                  <a:pt x="3716435" y="2281922"/>
                  <a:pt x="3719145" y="2285354"/>
                  <a:pt x="3719145" y="2285354"/>
                </a:cubicBezTo>
                <a:cubicBezTo>
                  <a:pt x="3716735" y="2282304"/>
                  <a:pt x="3714928" y="2280016"/>
                  <a:pt x="3713610" y="2278348"/>
                </a:cubicBezTo>
                <a:close/>
                <a:moveTo>
                  <a:pt x="3711013" y="2275059"/>
                </a:moveTo>
                <a:cubicBezTo>
                  <a:pt x="3710335" y="2274201"/>
                  <a:pt x="3710505" y="2274416"/>
                  <a:pt x="3711140" y="2275220"/>
                </a:cubicBezTo>
                <a:lnTo>
                  <a:pt x="3712183" y="2276540"/>
                </a:lnTo>
                <a:close/>
                <a:moveTo>
                  <a:pt x="3561881" y="2260951"/>
                </a:moveTo>
                <a:cubicBezTo>
                  <a:pt x="3554777" y="2273641"/>
                  <a:pt x="3567967" y="2327328"/>
                  <a:pt x="3574054" y="2364421"/>
                </a:cubicBezTo>
                <a:cubicBezTo>
                  <a:pt x="3580143" y="2400538"/>
                  <a:pt x="3586231" y="2430799"/>
                  <a:pt x="3593333" y="2461058"/>
                </a:cubicBezTo>
                <a:cubicBezTo>
                  <a:pt x="3668415" y="2896415"/>
                  <a:pt x="3731321" y="3320057"/>
                  <a:pt x="3800315" y="3768103"/>
                </a:cubicBezTo>
                <a:cubicBezTo>
                  <a:pt x="3800315" y="3792506"/>
                  <a:pt x="3813505" y="3870597"/>
                  <a:pt x="3813505" y="3870597"/>
                </a:cubicBezTo>
                <a:cubicBezTo>
                  <a:pt x="3831769" y="3853026"/>
                  <a:pt x="3794227" y="3701726"/>
                  <a:pt x="3794227" y="3658776"/>
                </a:cubicBezTo>
                <a:cubicBezTo>
                  <a:pt x="3731321" y="3217564"/>
                  <a:pt x="3680590" y="2848584"/>
                  <a:pt x="3605509" y="2448369"/>
                </a:cubicBezTo>
                <a:cubicBezTo>
                  <a:pt x="3599419" y="2418109"/>
                  <a:pt x="3561881" y="2249237"/>
                  <a:pt x="3561881" y="2260951"/>
                </a:cubicBezTo>
                <a:close/>
                <a:moveTo>
                  <a:pt x="3553920" y="2241764"/>
                </a:moveTo>
                <a:lnTo>
                  <a:pt x="3552281" y="2251761"/>
                </a:lnTo>
                <a:lnTo>
                  <a:pt x="3552209" y="2252196"/>
                </a:lnTo>
                <a:cubicBezTo>
                  <a:pt x="3552066" y="2253066"/>
                  <a:pt x="3552043" y="2253210"/>
                  <a:pt x="3552102" y="2252848"/>
                </a:cubicBezTo>
                <a:lnTo>
                  <a:pt x="3552281" y="2251761"/>
                </a:lnTo>
                <a:lnTo>
                  <a:pt x="3552495" y="2250458"/>
                </a:lnTo>
                <a:cubicBezTo>
                  <a:pt x="3552875" y="2248140"/>
                  <a:pt x="3553445" y="2244662"/>
                  <a:pt x="3553920" y="2241764"/>
                </a:cubicBezTo>
                <a:close/>
                <a:moveTo>
                  <a:pt x="3706906" y="2213075"/>
                </a:moveTo>
                <a:cubicBezTo>
                  <a:pt x="3708619" y="2214036"/>
                  <a:pt x="3712044" y="2232155"/>
                  <a:pt x="3712044" y="2236547"/>
                </a:cubicBezTo>
                <a:cubicBezTo>
                  <a:pt x="3705956" y="2249237"/>
                  <a:pt x="3699867" y="2243381"/>
                  <a:pt x="3705956" y="2218978"/>
                </a:cubicBezTo>
                <a:cubicBezTo>
                  <a:pt x="3705956" y="2214340"/>
                  <a:pt x="3706336" y="2212754"/>
                  <a:pt x="3706906" y="2213075"/>
                </a:cubicBezTo>
                <a:close/>
                <a:moveTo>
                  <a:pt x="3539315" y="2124187"/>
                </a:moveTo>
                <a:cubicBezTo>
                  <a:pt x="3538243" y="2123987"/>
                  <a:pt x="3537276" y="2125146"/>
                  <a:pt x="3536515" y="2128197"/>
                </a:cubicBezTo>
                <a:cubicBezTo>
                  <a:pt x="3530427" y="2139911"/>
                  <a:pt x="3542602" y="2139911"/>
                  <a:pt x="3542602" y="2145767"/>
                </a:cubicBezTo>
                <a:cubicBezTo>
                  <a:pt x="3559471" y="2193598"/>
                  <a:pt x="3546819" y="2125588"/>
                  <a:pt x="3539315" y="2124187"/>
                </a:cubicBezTo>
                <a:close/>
                <a:moveTo>
                  <a:pt x="3507819" y="1933961"/>
                </a:moveTo>
                <a:cubicBezTo>
                  <a:pt x="3506202" y="1934190"/>
                  <a:pt x="3505061" y="1936142"/>
                  <a:pt x="3505061" y="1940779"/>
                </a:cubicBezTo>
                <a:cubicBezTo>
                  <a:pt x="3505061" y="1946636"/>
                  <a:pt x="3517237" y="1952492"/>
                  <a:pt x="3517237" y="1952492"/>
                </a:cubicBezTo>
                <a:cubicBezTo>
                  <a:pt x="3521803" y="1948100"/>
                  <a:pt x="3512671" y="1933275"/>
                  <a:pt x="3507819" y="1933961"/>
                </a:cubicBezTo>
                <a:close/>
                <a:moveTo>
                  <a:pt x="3370593" y="1383924"/>
                </a:moveTo>
                <a:cubicBezTo>
                  <a:pt x="3373161" y="1385297"/>
                  <a:pt x="3373161" y="1403417"/>
                  <a:pt x="3373161" y="1407809"/>
                </a:cubicBezTo>
                <a:cubicBezTo>
                  <a:pt x="3373161" y="1420499"/>
                  <a:pt x="3359971" y="1413666"/>
                  <a:pt x="3367073" y="1389262"/>
                </a:cubicBezTo>
                <a:cubicBezTo>
                  <a:pt x="3368595" y="1384870"/>
                  <a:pt x="3369737" y="1383467"/>
                  <a:pt x="3370593" y="1383924"/>
                </a:cubicBezTo>
                <a:close/>
                <a:moveTo>
                  <a:pt x="3365275" y="1348147"/>
                </a:moveTo>
                <a:lnTo>
                  <a:pt x="3368105" y="1351727"/>
                </a:lnTo>
                <a:cubicBezTo>
                  <a:pt x="3369007" y="1352871"/>
                  <a:pt x="3368405" y="1352109"/>
                  <a:pt x="3367200" y="1350583"/>
                </a:cubicBezTo>
                <a:close/>
                <a:moveTo>
                  <a:pt x="3359971" y="1341432"/>
                </a:moveTo>
                <a:cubicBezTo>
                  <a:pt x="3359971" y="1341432"/>
                  <a:pt x="3361175" y="1342957"/>
                  <a:pt x="3362683" y="1344863"/>
                </a:cubicBezTo>
                <a:lnTo>
                  <a:pt x="3365275" y="1348147"/>
                </a:lnTo>
                <a:close/>
                <a:moveTo>
                  <a:pt x="3347794" y="1262365"/>
                </a:moveTo>
                <a:cubicBezTo>
                  <a:pt x="3359971" y="1280911"/>
                  <a:pt x="3359971" y="1311172"/>
                  <a:pt x="3359971" y="1341432"/>
                </a:cubicBezTo>
                <a:cubicBezTo>
                  <a:pt x="3347794" y="1322885"/>
                  <a:pt x="3347794" y="1292625"/>
                  <a:pt x="3347794" y="1262365"/>
                </a:cubicBezTo>
                <a:close/>
                <a:moveTo>
                  <a:pt x="3341707" y="1226248"/>
                </a:moveTo>
                <a:cubicBezTo>
                  <a:pt x="3353883" y="1226248"/>
                  <a:pt x="3341707" y="1250651"/>
                  <a:pt x="3347794" y="1262365"/>
                </a:cubicBezTo>
                <a:cubicBezTo>
                  <a:pt x="3334606" y="1262365"/>
                  <a:pt x="3347794" y="1237962"/>
                  <a:pt x="3341707" y="1226248"/>
                </a:cubicBezTo>
                <a:close/>
                <a:moveTo>
                  <a:pt x="3334606" y="1195988"/>
                </a:moveTo>
                <a:cubicBezTo>
                  <a:pt x="3347794" y="1195988"/>
                  <a:pt x="3341707" y="1220391"/>
                  <a:pt x="3341707" y="1226248"/>
                </a:cubicBezTo>
                <a:cubicBezTo>
                  <a:pt x="3328518" y="1226248"/>
                  <a:pt x="3341707" y="1208677"/>
                  <a:pt x="3334606" y="1195988"/>
                </a:cubicBezTo>
                <a:close/>
                <a:moveTo>
                  <a:pt x="3322429" y="1117898"/>
                </a:moveTo>
                <a:cubicBezTo>
                  <a:pt x="3334606" y="1135467"/>
                  <a:pt x="3334606" y="1165728"/>
                  <a:pt x="3334606" y="1195988"/>
                </a:cubicBezTo>
                <a:cubicBezTo>
                  <a:pt x="3322429" y="1178418"/>
                  <a:pt x="3322429" y="1147181"/>
                  <a:pt x="3322429" y="1117898"/>
                </a:cubicBezTo>
                <a:close/>
                <a:moveTo>
                  <a:pt x="1883146" y="919587"/>
                </a:moveTo>
                <a:cubicBezTo>
                  <a:pt x="1885049" y="919113"/>
                  <a:pt x="1886364" y="919429"/>
                  <a:pt x="1887189" y="920275"/>
                </a:cubicBezTo>
                <a:cubicBezTo>
                  <a:pt x="1892135" y="925355"/>
                  <a:pt x="1879389" y="949514"/>
                  <a:pt x="1869497" y="936336"/>
                </a:cubicBezTo>
                <a:cubicBezTo>
                  <a:pt x="1863409" y="936336"/>
                  <a:pt x="1875584" y="929503"/>
                  <a:pt x="1875584" y="923646"/>
                </a:cubicBezTo>
                <a:cubicBezTo>
                  <a:pt x="1878755" y="921328"/>
                  <a:pt x="1881244" y="920062"/>
                  <a:pt x="1883146" y="919587"/>
                </a:cubicBezTo>
                <a:close/>
                <a:moveTo>
                  <a:pt x="2961794" y="584781"/>
                </a:moveTo>
                <a:cubicBezTo>
                  <a:pt x="2960354" y="585111"/>
                  <a:pt x="2958816" y="587002"/>
                  <a:pt x="2957167" y="590784"/>
                </a:cubicBezTo>
                <a:cubicBezTo>
                  <a:pt x="2944992" y="603474"/>
                  <a:pt x="2970357" y="669851"/>
                  <a:pt x="2976445" y="700111"/>
                </a:cubicBezTo>
                <a:cubicBezTo>
                  <a:pt x="2982533" y="766489"/>
                  <a:pt x="2995722" y="917790"/>
                  <a:pt x="3013986" y="990024"/>
                </a:cubicBezTo>
                <a:cubicBezTo>
                  <a:pt x="3045438" y="1080804"/>
                  <a:pt x="3033265" y="966597"/>
                  <a:pt x="3021087" y="905100"/>
                </a:cubicBezTo>
                <a:cubicBezTo>
                  <a:pt x="3013986" y="832866"/>
                  <a:pt x="2995722" y="747942"/>
                  <a:pt x="2982533" y="694255"/>
                </a:cubicBezTo>
                <a:cubicBezTo>
                  <a:pt x="2977205" y="656673"/>
                  <a:pt x="2971879" y="582472"/>
                  <a:pt x="2961794" y="584781"/>
                </a:cubicBezTo>
                <a:close/>
                <a:moveTo>
                  <a:pt x="3057520" y="456474"/>
                </a:moveTo>
                <a:cubicBezTo>
                  <a:pt x="3055522" y="457298"/>
                  <a:pt x="3051526" y="463887"/>
                  <a:pt x="3051526" y="463887"/>
                </a:cubicBezTo>
                <a:cubicBezTo>
                  <a:pt x="3045438" y="475600"/>
                  <a:pt x="3070805" y="518550"/>
                  <a:pt x="3064717" y="530264"/>
                </a:cubicBezTo>
                <a:lnTo>
                  <a:pt x="3051526" y="524407"/>
                </a:lnTo>
                <a:cubicBezTo>
                  <a:pt x="3045438" y="524407"/>
                  <a:pt x="3051526" y="530264"/>
                  <a:pt x="3045438" y="542954"/>
                </a:cubicBezTo>
                <a:cubicBezTo>
                  <a:pt x="3045438" y="560524"/>
                  <a:pt x="3051526" y="615188"/>
                  <a:pt x="3058630" y="663994"/>
                </a:cubicBezTo>
                <a:cubicBezTo>
                  <a:pt x="3064717" y="705968"/>
                  <a:pt x="3064717" y="760632"/>
                  <a:pt x="3070805" y="802605"/>
                </a:cubicBezTo>
                <a:cubicBezTo>
                  <a:pt x="3082980" y="875816"/>
                  <a:pt x="3121535" y="972453"/>
                  <a:pt x="3139799" y="1080804"/>
                </a:cubicBezTo>
                <a:cubicBezTo>
                  <a:pt x="3165164" y="1190132"/>
                  <a:pt x="3184443" y="1286769"/>
                  <a:pt x="3196616" y="1383406"/>
                </a:cubicBezTo>
                <a:cubicBezTo>
                  <a:pt x="3228070" y="1559111"/>
                  <a:pt x="3265611" y="1759218"/>
                  <a:pt x="3322429" y="1922232"/>
                </a:cubicBezTo>
                <a:cubicBezTo>
                  <a:pt x="3347794" y="1994467"/>
                  <a:pt x="3334606" y="1928089"/>
                  <a:pt x="3322429" y="1867569"/>
                </a:cubicBezTo>
                <a:cubicBezTo>
                  <a:pt x="3303151" y="1770931"/>
                  <a:pt x="3290977" y="1674294"/>
                  <a:pt x="3278801" y="1601084"/>
                </a:cubicBezTo>
                <a:cubicBezTo>
                  <a:pt x="3259523" y="1468330"/>
                  <a:pt x="3234158" y="1341432"/>
                  <a:pt x="3221981" y="1237962"/>
                </a:cubicBezTo>
                <a:cubicBezTo>
                  <a:pt x="3221981" y="1220391"/>
                  <a:pt x="3215895" y="1165728"/>
                  <a:pt x="3215895" y="1165728"/>
                </a:cubicBezTo>
                <a:cubicBezTo>
                  <a:pt x="3215895" y="1154014"/>
                  <a:pt x="3228070" y="1159871"/>
                  <a:pt x="3228070" y="1147181"/>
                </a:cubicBezTo>
                <a:cubicBezTo>
                  <a:pt x="3228070" y="1074947"/>
                  <a:pt x="3202705" y="984167"/>
                  <a:pt x="3190529" y="893386"/>
                </a:cubicBezTo>
                <a:cubicBezTo>
                  <a:pt x="3184443" y="827009"/>
                  <a:pt x="3177339" y="754775"/>
                  <a:pt x="3165164" y="711825"/>
                </a:cubicBezTo>
                <a:cubicBezTo>
                  <a:pt x="3159077" y="663994"/>
                  <a:pt x="3146900" y="584927"/>
                  <a:pt x="3127623" y="542954"/>
                </a:cubicBezTo>
                <a:cubicBezTo>
                  <a:pt x="3127623" y="542954"/>
                  <a:pt x="3115447" y="530264"/>
                  <a:pt x="3108345" y="524407"/>
                </a:cubicBezTo>
                <a:cubicBezTo>
                  <a:pt x="3108345" y="518550"/>
                  <a:pt x="3108345" y="494147"/>
                  <a:pt x="3102257" y="494147"/>
                </a:cubicBezTo>
                <a:cubicBezTo>
                  <a:pt x="3090083" y="475600"/>
                  <a:pt x="3070805" y="488290"/>
                  <a:pt x="3058630" y="458030"/>
                </a:cubicBezTo>
                <a:cubicBezTo>
                  <a:pt x="3058630" y="456566"/>
                  <a:pt x="3058186" y="456200"/>
                  <a:pt x="3057520" y="456474"/>
                </a:cubicBezTo>
                <a:close/>
                <a:moveTo>
                  <a:pt x="3232766" y="454764"/>
                </a:moveTo>
                <a:lnTo>
                  <a:pt x="3234086" y="457540"/>
                </a:lnTo>
                <a:lnTo>
                  <a:pt x="3234158" y="458030"/>
                </a:lnTo>
                <a:close/>
                <a:moveTo>
                  <a:pt x="3230321" y="449611"/>
                </a:moveTo>
                <a:cubicBezTo>
                  <a:pt x="3230179" y="449092"/>
                  <a:pt x="3230377" y="449306"/>
                  <a:pt x="3230991" y="450595"/>
                </a:cubicBezTo>
                <a:lnTo>
                  <a:pt x="3232766" y="454764"/>
                </a:lnTo>
                <a:close/>
                <a:moveTo>
                  <a:pt x="2825267" y="373106"/>
                </a:moveTo>
                <a:cubicBezTo>
                  <a:pt x="2825267" y="367249"/>
                  <a:pt x="2875997" y="415081"/>
                  <a:pt x="2863823" y="433626"/>
                </a:cubicBezTo>
                <a:cubicBezTo>
                  <a:pt x="2863823" y="433626"/>
                  <a:pt x="2819179" y="378963"/>
                  <a:pt x="2825267" y="373106"/>
                </a:cubicBezTo>
                <a:close/>
                <a:moveTo>
                  <a:pt x="2823046" y="331102"/>
                </a:moveTo>
                <a:cubicBezTo>
                  <a:pt x="2829895" y="332109"/>
                  <a:pt x="2843022" y="350411"/>
                  <a:pt x="2838457" y="355536"/>
                </a:cubicBezTo>
                <a:cubicBezTo>
                  <a:pt x="2831355" y="361392"/>
                  <a:pt x="2819179" y="336989"/>
                  <a:pt x="2819179" y="336989"/>
                </a:cubicBezTo>
                <a:cubicBezTo>
                  <a:pt x="2819179" y="332353"/>
                  <a:pt x="2820764" y="330766"/>
                  <a:pt x="2823046" y="331102"/>
                </a:cubicBezTo>
                <a:close/>
                <a:moveTo>
                  <a:pt x="3359971" y="263779"/>
                </a:moveTo>
                <a:cubicBezTo>
                  <a:pt x="3359209" y="264634"/>
                  <a:pt x="3359035" y="264618"/>
                  <a:pt x="3359313" y="263938"/>
                </a:cubicBezTo>
                <a:lnTo>
                  <a:pt x="3359326" y="263912"/>
                </a:lnTo>
                <a:close/>
                <a:moveTo>
                  <a:pt x="3241260" y="76362"/>
                </a:moveTo>
                <a:cubicBezTo>
                  <a:pt x="3259523" y="76362"/>
                  <a:pt x="3241260" y="89051"/>
                  <a:pt x="3265611" y="89051"/>
                </a:cubicBezTo>
                <a:cubicBezTo>
                  <a:pt x="3278801" y="94908"/>
                  <a:pt x="3297063" y="76362"/>
                  <a:pt x="3303151" y="76362"/>
                </a:cubicBezTo>
                <a:lnTo>
                  <a:pt x="3334606" y="94908"/>
                </a:lnTo>
                <a:cubicBezTo>
                  <a:pt x="3347794" y="100765"/>
                  <a:pt x="3341707" y="131025"/>
                  <a:pt x="3347794" y="136881"/>
                </a:cubicBezTo>
                <a:cubicBezTo>
                  <a:pt x="3353883" y="149572"/>
                  <a:pt x="3385336" y="210092"/>
                  <a:pt x="3385336" y="221805"/>
                </a:cubicBezTo>
                <a:cubicBezTo>
                  <a:pt x="3385336" y="221805"/>
                  <a:pt x="3367644" y="249259"/>
                  <a:pt x="3361367" y="260104"/>
                </a:cubicBezTo>
                <a:lnTo>
                  <a:pt x="3359326" y="263912"/>
                </a:lnTo>
                <a:lnTo>
                  <a:pt x="3354438" y="264923"/>
                </a:lnTo>
                <a:cubicBezTo>
                  <a:pt x="3348112" y="262864"/>
                  <a:pt x="3339932" y="253530"/>
                  <a:pt x="3334606" y="257922"/>
                </a:cubicBezTo>
                <a:cubicBezTo>
                  <a:pt x="3328518" y="263779"/>
                  <a:pt x="3328518" y="276469"/>
                  <a:pt x="3328518" y="282326"/>
                </a:cubicBezTo>
                <a:cubicBezTo>
                  <a:pt x="3322429" y="282326"/>
                  <a:pt x="3297063" y="282326"/>
                  <a:pt x="3297063" y="276469"/>
                </a:cubicBezTo>
                <a:cubicBezTo>
                  <a:pt x="3290977" y="294039"/>
                  <a:pt x="3334606" y="373106"/>
                  <a:pt x="3322429" y="384820"/>
                </a:cubicBezTo>
                <a:cubicBezTo>
                  <a:pt x="3310255" y="403366"/>
                  <a:pt x="3253435" y="306730"/>
                  <a:pt x="3253435" y="312586"/>
                </a:cubicBezTo>
                <a:cubicBezTo>
                  <a:pt x="3259523" y="288183"/>
                  <a:pt x="3234158" y="312586"/>
                  <a:pt x="3253435" y="312586"/>
                </a:cubicBezTo>
                <a:cubicBezTo>
                  <a:pt x="3265611" y="367249"/>
                  <a:pt x="3253435" y="324300"/>
                  <a:pt x="3265611" y="373106"/>
                </a:cubicBezTo>
                <a:cubicBezTo>
                  <a:pt x="3278801" y="409223"/>
                  <a:pt x="3290977" y="458030"/>
                  <a:pt x="3265611" y="409223"/>
                </a:cubicBezTo>
                <a:cubicBezTo>
                  <a:pt x="3228070" y="324300"/>
                  <a:pt x="3259523" y="452173"/>
                  <a:pt x="3253435" y="463887"/>
                </a:cubicBezTo>
                <a:cubicBezTo>
                  <a:pt x="3247349" y="476088"/>
                  <a:pt x="3239485" y="467059"/>
                  <a:pt x="3234665" y="458762"/>
                </a:cubicBezTo>
                <a:lnTo>
                  <a:pt x="3234086" y="457540"/>
                </a:lnTo>
                <a:lnTo>
                  <a:pt x="3230337" y="432544"/>
                </a:lnTo>
                <a:cubicBezTo>
                  <a:pt x="3226867" y="401658"/>
                  <a:pt x="3223251" y="359928"/>
                  <a:pt x="3208793" y="355536"/>
                </a:cubicBezTo>
                <a:cubicBezTo>
                  <a:pt x="3177339" y="348703"/>
                  <a:pt x="3221981" y="403366"/>
                  <a:pt x="3215895" y="409223"/>
                </a:cubicBezTo>
                <a:cubicBezTo>
                  <a:pt x="3208793" y="421913"/>
                  <a:pt x="3196616" y="391653"/>
                  <a:pt x="3184443" y="391653"/>
                </a:cubicBezTo>
                <a:cubicBezTo>
                  <a:pt x="3190529" y="397510"/>
                  <a:pt x="3177339" y="439484"/>
                  <a:pt x="3171251" y="439484"/>
                </a:cubicBezTo>
                <a:cubicBezTo>
                  <a:pt x="3171251" y="452173"/>
                  <a:pt x="3184443" y="463887"/>
                  <a:pt x="3177339" y="469744"/>
                </a:cubicBezTo>
                <a:cubicBezTo>
                  <a:pt x="3177339" y="475600"/>
                  <a:pt x="3165164" y="475600"/>
                  <a:pt x="3165164" y="488290"/>
                </a:cubicBezTo>
                <a:cubicBezTo>
                  <a:pt x="3165164" y="512694"/>
                  <a:pt x="3165164" y="554667"/>
                  <a:pt x="3165164" y="579071"/>
                </a:cubicBezTo>
                <a:cubicBezTo>
                  <a:pt x="3177339" y="675708"/>
                  <a:pt x="3208793" y="868983"/>
                  <a:pt x="3221981" y="948050"/>
                </a:cubicBezTo>
                <a:cubicBezTo>
                  <a:pt x="3228070" y="990024"/>
                  <a:pt x="3265611" y="1154014"/>
                  <a:pt x="3253435" y="1026141"/>
                </a:cubicBezTo>
                <a:cubicBezTo>
                  <a:pt x="3241260" y="911932"/>
                  <a:pt x="3259523" y="1002713"/>
                  <a:pt x="3265611" y="1032973"/>
                </a:cubicBezTo>
                <a:cubicBezTo>
                  <a:pt x="3297063" y="1208677"/>
                  <a:pt x="3316342" y="1329719"/>
                  <a:pt x="3341707" y="1492733"/>
                </a:cubicBezTo>
                <a:cubicBezTo>
                  <a:pt x="3347794" y="1510303"/>
                  <a:pt x="3359971" y="1613773"/>
                  <a:pt x="3359971" y="1541540"/>
                </a:cubicBezTo>
                <a:cubicBezTo>
                  <a:pt x="3359971" y="1498590"/>
                  <a:pt x="3367073" y="1504447"/>
                  <a:pt x="3373161" y="1528850"/>
                </a:cubicBezTo>
                <a:cubicBezTo>
                  <a:pt x="3385336" y="1589370"/>
                  <a:pt x="3391424" y="1649890"/>
                  <a:pt x="3404614" y="1698698"/>
                </a:cubicBezTo>
                <a:cubicBezTo>
                  <a:pt x="3404614" y="1710411"/>
                  <a:pt x="3428964" y="1801192"/>
                  <a:pt x="3428964" y="1746528"/>
                </a:cubicBezTo>
                <a:cubicBezTo>
                  <a:pt x="3428964" y="1674294"/>
                  <a:pt x="3398526" y="1583514"/>
                  <a:pt x="3385336" y="1517136"/>
                </a:cubicBezTo>
                <a:cubicBezTo>
                  <a:pt x="3385336" y="1504447"/>
                  <a:pt x="3367073" y="1432213"/>
                  <a:pt x="3373161" y="1426356"/>
                </a:cubicBezTo>
                <a:cubicBezTo>
                  <a:pt x="3373161" y="1426356"/>
                  <a:pt x="3391424" y="1474186"/>
                  <a:pt x="3391424" y="1492733"/>
                </a:cubicBezTo>
                <a:cubicBezTo>
                  <a:pt x="3398526" y="1517136"/>
                  <a:pt x="3404614" y="1541540"/>
                  <a:pt x="3410703" y="1564967"/>
                </a:cubicBezTo>
                <a:cubicBezTo>
                  <a:pt x="3404614" y="1589370"/>
                  <a:pt x="3428964" y="1564967"/>
                  <a:pt x="3410703" y="1564967"/>
                </a:cubicBezTo>
                <a:cubicBezTo>
                  <a:pt x="3404614" y="1443926"/>
                  <a:pt x="3373161" y="1347289"/>
                  <a:pt x="3367073" y="1220391"/>
                </a:cubicBezTo>
                <a:cubicBezTo>
                  <a:pt x="3398526" y="1299458"/>
                  <a:pt x="3404614" y="1347289"/>
                  <a:pt x="3410703" y="1426356"/>
                </a:cubicBezTo>
                <a:cubicBezTo>
                  <a:pt x="3422876" y="1517136"/>
                  <a:pt x="3467520" y="1752385"/>
                  <a:pt x="3492885" y="1861712"/>
                </a:cubicBezTo>
                <a:cubicBezTo>
                  <a:pt x="3498973" y="1886115"/>
                  <a:pt x="3511149" y="1964206"/>
                  <a:pt x="3511149" y="1903686"/>
                </a:cubicBezTo>
                <a:cubicBezTo>
                  <a:pt x="3505061" y="1849998"/>
                  <a:pt x="3467520" y="1734815"/>
                  <a:pt x="3473607" y="1691864"/>
                </a:cubicBezTo>
                <a:cubicBezTo>
                  <a:pt x="3473607" y="1680151"/>
                  <a:pt x="3485784" y="1691864"/>
                  <a:pt x="3485784" y="1680151"/>
                </a:cubicBezTo>
                <a:cubicBezTo>
                  <a:pt x="3485784" y="1619630"/>
                  <a:pt x="3448241" y="1564967"/>
                  <a:pt x="3460419" y="1522993"/>
                </a:cubicBezTo>
                <a:cubicBezTo>
                  <a:pt x="3460419" y="1517136"/>
                  <a:pt x="3473607" y="1534707"/>
                  <a:pt x="3473607" y="1534707"/>
                </a:cubicBezTo>
                <a:cubicBezTo>
                  <a:pt x="3492885" y="1528850"/>
                  <a:pt x="3473607" y="1498590"/>
                  <a:pt x="3479696" y="1498590"/>
                </a:cubicBezTo>
                <a:cubicBezTo>
                  <a:pt x="3498973" y="1498590"/>
                  <a:pt x="3517237" y="1589370"/>
                  <a:pt x="3530427" y="1631344"/>
                </a:cubicBezTo>
                <a:cubicBezTo>
                  <a:pt x="3554777" y="1746528"/>
                  <a:pt x="3567967" y="1825595"/>
                  <a:pt x="3593333" y="1933946"/>
                </a:cubicBezTo>
                <a:cubicBezTo>
                  <a:pt x="3605509" y="1988610"/>
                  <a:pt x="3611597" y="2073533"/>
                  <a:pt x="3624786" y="2092079"/>
                </a:cubicBezTo>
                <a:cubicBezTo>
                  <a:pt x="3630874" y="2097937"/>
                  <a:pt x="3643050" y="2097937"/>
                  <a:pt x="3649138" y="2103794"/>
                </a:cubicBezTo>
                <a:cubicBezTo>
                  <a:pt x="3662328" y="2145767"/>
                  <a:pt x="3662328" y="2200431"/>
                  <a:pt x="3674502" y="2255094"/>
                </a:cubicBezTo>
                <a:cubicBezTo>
                  <a:pt x="3731321" y="2593813"/>
                  <a:pt x="3794227" y="2938389"/>
                  <a:pt x="3844958" y="3289797"/>
                </a:cubicBezTo>
                <a:cubicBezTo>
                  <a:pt x="3857133" y="3374721"/>
                  <a:pt x="3857133" y="3289797"/>
                  <a:pt x="3851045" y="3271250"/>
                </a:cubicBezTo>
                <a:cubicBezTo>
                  <a:pt x="3813505" y="2896415"/>
                  <a:pt x="3737409" y="2599670"/>
                  <a:pt x="3687693" y="2266808"/>
                </a:cubicBezTo>
                <a:cubicBezTo>
                  <a:pt x="3674502" y="2218978"/>
                  <a:pt x="3674502" y="2152600"/>
                  <a:pt x="3693780" y="2218978"/>
                </a:cubicBezTo>
                <a:cubicBezTo>
                  <a:pt x="3719145" y="2327328"/>
                  <a:pt x="3731321" y="2503033"/>
                  <a:pt x="3756687" y="2575266"/>
                </a:cubicBezTo>
                <a:cubicBezTo>
                  <a:pt x="3756687" y="2582099"/>
                  <a:pt x="3774951" y="2593813"/>
                  <a:pt x="3782052" y="2606503"/>
                </a:cubicBezTo>
                <a:cubicBezTo>
                  <a:pt x="3788140" y="2624073"/>
                  <a:pt x="3782052" y="2666047"/>
                  <a:pt x="3794227" y="2703140"/>
                </a:cubicBezTo>
                <a:cubicBezTo>
                  <a:pt x="3825680" y="2884701"/>
                  <a:pt x="3857133" y="3083833"/>
                  <a:pt x="3882499" y="3259537"/>
                </a:cubicBezTo>
                <a:cubicBezTo>
                  <a:pt x="3888587" y="3283940"/>
                  <a:pt x="3907865" y="3362031"/>
                  <a:pt x="3900763" y="3289797"/>
                </a:cubicBezTo>
                <a:cubicBezTo>
                  <a:pt x="3882499" y="3036002"/>
                  <a:pt x="3831769" y="2781231"/>
                  <a:pt x="3794227" y="2557696"/>
                </a:cubicBezTo>
                <a:cubicBezTo>
                  <a:pt x="3774951" y="2472772"/>
                  <a:pt x="3750599" y="2387848"/>
                  <a:pt x="3744511" y="2315614"/>
                </a:cubicBezTo>
                <a:cubicBezTo>
                  <a:pt x="3737409" y="2266808"/>
                  <a:pt x="3744511" y="2224834"/>
                  <a:pt x="3756687" y="2285354"/>
                </a:cubicBezTo>
                <a:cubicBezTo>
                  <a:pt x="3844958" y="2703140"/>
                  <a:pt x="3888587" y="3083833"/>
                  <a:pt x="3951493" y="3520165"/>
                </a:cubicBezTo>
                <a:cubicBezTo>
                  <a:pt x="3957581" y="3537735"/>
                  <a:pt x="3982946" y="3701726"/>
                  <a:pt x="3989035" y="3701726"/>
                </a:cubicBezTo>
                <a:cubicBezTo>
                  <a:pt x="4008312" y="3701726"/>
                  <a:pt x="3989035" y="3677323"/>
                  <a:pt x="3989035" y="3677323"/>
                </a:cubicBezTo>
                <a:cubicBezTo>
                  <a:pt x="3976858" y="3520165"/>
                  <a:pt x="3957581" y="3416695"/>
                  <a:pt x="3939318" y="3289797"/>
                </a:cubicBezTo>
                <a:cubicBezTo>
                  <a:pt x="3939318" y="3278083"/>
                  <a:pt x="3913953" y="3090666"/>
                  <a:pt x="3926127" y="3168757"/>
                </a:cubicBezTo>
                <a:cubicBezTo>
                  <a:pt x="3951493" y="3301511"/>
                  <a:pt x="3963669" y="3410837"/>
                  <a:pt x="3982946" y="3543592"/>
                </a:cubicBezTo>
                <a:cubicBezTo>
                  <a:pt x="3989035" y="3556282"/>
                  <a:pt x="4008312" y="3634373"/>
                  <a:pt x="4002224" y="3580685"/>
                </a:cubicBezTo>
                <a:cubicBezTo>
                  <a:pt x="3989035" y="3392291"/>
                  <a:pt x="3963669" y="3210730"/>
                  <a:pt x="3939318" y="3017456"/>
                </a:cubicBezTo>
                <a:cubicBezTo>
                  <a:pt x="3926127" y="2884701"/>
                  <a:pt x="3888587" y="2750970"/>
                  <a:pt x="3869309" y="2636763"/>
                </a:cubicBezTo>
                <a:cubicBezTo>
                  <a:pt x="3869309" y="2612359"/>
                  <a:pt x="3869309" y="2521579"/>
                  <a:pt x="3857133" y="2521579"/>
                </a:cubicBezTo>
                <a:cubicBezTo>
                  <a:pt x="3882499" y="2515722"/>
                  <a:pt x="3907865" y="2672880"/>
                  <a:pt x="3900763" y="2654334"/>
                </a:cubicBezTo>
                <a:cubicBezTo>
                  <a:pt x="3932215" y="2799777"/>
                  <a:pt x="3932215" y="2908128"/>
                  <a:pt x="3963669" y="3066263"/>
                </a:cubicBezTo>
                <a:cubicBezTo>
                  <a:pt x="3970771" y="3090666"/>
                  <a:pt x="3989035" y="3119951"/>
                  <a:pt x="3989035" y="3144353"/>
                </a:cubicBezTo>
                <a:cubicBezTo>
                  <a:pt x="4008312" y="3217564"/>
                  <a:pt x="4020487" y="3350317"/>
                  <a:pt x="4026576" y="3410837"/>
                </a:cubicBezTo>
                <a:cubicBezTo>
                  <a:pt x="4033677" y="3465502"/>
                  <a:pt x="4033677" y="3507475"/>
                  <a:pt x="4033677" y="3531879"/>
                </a:cubicBezTo>
                <a:cubicBezTo>
                  <a:pt x="4033677" y="3543592"/>
                  <a:pt x="4045852" y="3562139"/>
                  <a:pt x="4051940" y="3586542"/>
                </a:cubicBezTo>
                <a:cubicBezTo>
                  <a:pt x="4071219" y="3664633"/>
                  <a:pt x="4071219" y="3749557"/>
                  <a:pt x="4071219" y="3652920"/>
                </a:cubicBezTo>
                <a:cubicBezTo>
                  <a:pt x="4071219" y="3452812"/>
                  <a:pt x="4014400" y="3278083"/>
                  <a:pt x="3995121" y="3066263"/>
                </a:cubicBezTo>
                <a:cubicBezTo>
                  <a:pt x="3982946" y="2872012"/>
                  <a:pt x="3945406" y="2720711"/>
                  <a:pt x="3920039" y="2582099"/>
                </a:cubicBezTo>
                <a:cubicBezTo>
                  <a:pt x="3907865" y="2497176"/>
                  <a:pt x="3882499" y="2357588"/>
                  <a:pt x="3863222" y="2260951"/>
                </a:cubicBezTo>
                <a:cubicBezTo>
                  <a:pt x="3857133" y="2206287"/>
                  <a:pt x="3844958" y="2097937"/>
                  <a:pt x="3863222" y="2182860"/>
                </a:cubicBezTo>
                <a:cubicBezTo>
                  <a:pt x="3900763" y="2321471"/>
                  <a:pt x="3900763" y="2406395"/>
                  <a:pt x="3926127" y="2545006"/>
                </a:cubicBezTo>
                <a:cubicBezTo>
                  <a:pt x="3951493" y="2654334"/>
                  <a:pt x="3970771" y="2811492"/>
                  <a:pt x="3995121" y="2932532"/>
                </a:cubicBezTo>
                <a:cubicBezTo>
                  <a:pt x="4014400" y="3011599"/>
                  <a:pt x="4008312" y="2890558"/>
                  <a:pt x="4002224" y="2866155"/>
                </a:cubicBezTo>
                <a:cubicBezTo>
                  <a:pt x="3970771" y="2642620"/>
                  <a:pt x="3926127" y="2448369"/>
                  <a:pt x="3888587" y="2243381"/>
                </a:cubicBezTo>
                <a:cubicBezTo>
                  <a:pt x="3876411" y="2152600"/>
                  <a:pt x="3894674" y="2206287"/>
                  <a:pt x="3900763" y="2249237"/>
                </a:cubicBezTo>
                <a:cubicBezTo>
                  <a:pt x="3920039" y="2315614"/>
                  <a:pt x="3907865" y="2279498"/>
                  <a:pt x="3913953" y="2315614"/>
                </a:cubicBezTo>
                <a:cubicBezTo>
                  <a:pt x="4039765" y="3036002"/>
                  <a:pt x="4159490" y="3876453"/>
                  <a:pt x="4246747" y="4585128"/>
                </a:cubicBezTo>
                <a:cubicBezTo>
                  <a:pt x="4259937" y="4681765"/>
                  <a:pt x="4259937" y="4790116"/>
                  <a:pt x="4266025" y="4869183"/>
                </a:cubicBezTo>
                <a:cubicBezTo>
                  <a:pt x="4266025" y="4880896"/>
                  <a:pt x="4266025" y="5056600"/>
                  <a:pt x="4272113" y="5062458"/>
                </a:cubicBezTo>
                <a:cubicBezTo>
                  <a:pt x="4278201" y="5075147"/>
                  <a:pt x="4285303" y="5032197"/>
                  <a:pt x="4285303" y="5001937"/>
                </a:cubicBezTo>
                <a:cubicBezTo>
                  <a:pt x="4278201" y="4971677"/>
                  <a:pt x="4278201" y="5001937"/>
                  <a:pt x="4278201" y="4971677"/>
                </a:cubicBezTo>
                <a:cubicBezTo>
                  <a:pt x="4272113" y="4814519"/>
                  <a:pt x="4253849" y="4645647"/>
                  <a:pt x="4253849" y="4500204"/>
                </a:cubicBezTo>
                <a:cubicBezTo>
                  <a:pt x="4253849" y="4426994"/>
                  <a:pt x="4266025" y="4542178"/>
                  <a:pt x="4272113" y="4585128"/>
                </a:cubicBezTo>
                <a:cubicBezTo>
                  <a:pt x="4285303" y="4717881"/>
                  <a:pt x="4285303" y="4844779"/>
                  <a:pt x="4291391" y="4965820"/>
                </a:cubicBezTo>
                <a:cubicBezTo>
                  <a:pt x="4291391" y="5026340"/>
                  <a:pt x="4315741" y="5165928"/>
                  <a:pt x="4303565" y="5226448"/>
                </a:cubicBezTo>
                <a:cubicBezTo>
                  <a:pt x="4291391" y="5286968"/>
                  <a:pt x="4328931" y="5196188"/>
                  <a:pt x="4322844" y="5189355"/>
                </a:cubicBezTo>
                <a:cubicBezTo>
                  <a:pt x="4354296" y="5202045"/>
                  <a:pt x="4328931" y="5323085"/>
                  <a:pt x="4328931" y="5334799"/>
                </a:cubicBezTo>
                <a:cubicBezTo>
                  <a:pt x="4315741" y="5413866"/>
                  <a:pt x="4328931" y="5516360"/>
                  <a:pt x="4278201" y="5534906"/>
                </a:cubicBezTo>
                <a:cubicBezTo>
                  <a:pt x="4272113" y="5534906"/>
                  <a:pt x="4222397" y="5529050"/>
                  <a:pt x="4215295" y="5522217"/>
                </a:cubicBezTo>
                <a:cubicBezTo>
                  <a:pt x="4215295" y="5522217"/>
                  <a:pt x="4234571" y="5504646"/>
                  <a:pt x="4228483" y="5504646"/>
                </a:cubicBezTo>
                <a:cubicBezTo>
                  <a:pt x="4209206" y="5504646"/>
                  <a:pt x="4228483" y="5504646"/>
                  <a:pt x="4203118" y="5522217"/>
                </a:cubicBezTo>
                <a:cubicBezTo>
                  <a:pt x="4171665" y="5540763"/>
                  <a:pt x="4146300" y="5522217"/>
                  <a:pt x="4165578" y="5546620"/>
                </a:cubicBezTo>
                <a:cubicBezTo>
                  <a:pt x="4190943" y="5576880"/>
                  <a:pt x="4128036" y="5534906"/>
                  <a:pt x="4120934" y="5534906"/>
                </a:cubicBezTo>
                <a:cubicBezTo>
                  <a:pt x="4102671" y="5529050"/>
                  <a:pt x="4120934" y="5546620"/>
                  <a:pt x="4096584" y="5552477"/>
                </a:cubicBezTo>
                <a:cubicBezTo>
                  <a:pt x="4089482" y="5552477"/>
                  <a:pt x="4071219" y="5540763"/>
                  <a:pt x="4065131" y="5546620"/>
                </a:cubicBezTo>
                <a:cubicBezTo>
                  <a:pt x="4045852" y="5552477"/>
                  <a:pt x="4039765" y="5576880"/>
                  <a:pt x="4020487" y="5583713"/>
                </a:cubicBezTo>
                <a:cubicBezTo>
                  <a:pt x="3995121" y="5589570"/>
                  <a:pt x="3976858" y="5559309"/>
                  <a:pt x="3963669" y="5583713"/>
                </a:cubicBezTo>
                <a:cubicBezTo>
                  <a:pt x="3957581" y="5595427"/>
                  <a:pt x="4020487" y="5583713"/>
                  <a:pt x="4002224" y="5601283"/>
                </a:cubicBezTo>
                <a:cubicBezTo>
                  <a:pt x="3989035" y="5612997"/>
                  <a:pt x="3926127" y="5607141"/>
                  <a:pt x="3876411" y="5612997"/>
                </a:cubicBezTo>
                <a:cubicBezTo>
                  <a:pt x="3869309" y="5612997"/>
                  <a:pt x="3800315" y="5619830"/>
                  <a:pt x="3800315" y="5625687"/>
                </a:cubicBezTo>
                <a:cubicBezTo>
                  <a:pt x="3788140" y="5625687"/>
                  <a:pt x="3794227" y="5655947"/>
                  <a:pt x="3788140" y="5661804"/>
                </a:cubicBezTo>
                <a:cubicBezTo>
                  <a:pt x="3756687" y="5680351"/>
                  <a:pt x="3618698" y="5667661"/>
                  <a:pt x="3599419" y="5673517"/>
                </a:cubicBezTo>
                <a:cubicBezTo>
                  <a:pt x="3586231" y="5673517"/>
                  <a:pt x="3561881" y="5697921"/>
                  <a:pt x="3561881" y="5703778"/>
                </a:cubicBezTo>
                <a:cubicBezTo>
                  <a:pt x="3548689" y="5703778"/>
                  <a:pt x="3536515" y="5703778"/>
                  <a:pt x="3523325" y="5710611"/>
                </a:cubicBezTo>
                <a:cubicBezTo>
                  <a:pt x="3511149" y="5710611"/>
                  <a:pt x="3448241" y="5722324"/>
                  <a:pt x="3442155" y="5722324"/>
                </a:cubicBezTo>
                <a:cubicBezTo>
                  <a:pt x="3422876" y="5734038"/>
                  <a:pt x="3416789" y="5758441"/>
                  <a:pt x="3404614" y="5758441"/>
                </a:cubicBezTo>
                <a:cubicBezTo>
                  <a:pt x="3398526" y="5764298"/>
                  <a:pt x="3373161" y="5758441"/>
                  <a:pt x="3353883" y="5758441"/>
                </a:cubicBezTo>
                <a:cubicBezTo>
                  <a:pt x="3334606" y="5764298"/>
                  <a:pt x="3310255" y="5782845"/>
                  <a:pt x="3297063" y="5782845"/>
                </a:cubicBezTo>
                <a:cubicBezTo>
                  <a:pt x="3259523" y="5794558"/>
                  <a:pt x="3221981" y="5776988"/>
                  <a:pt x="3208793" y="5794558"/>
                </a:cubicBezTo>
                <a:cubicBezTo>
                  <a:pt x="3202705" y="5807248"/>
                  <a:pt x="3241260" y="5892172"/>
                  <a:pt x="3259523" y="5928288"/>
                </a:cubicBezTo>
                <a:cubicBezTo>
                  <a:pt x="3278801" y="5970262"/>
                  <a:pt x="3290977" y="5994666"/>
                  <a:pt x="3303151" y="6042496"/>
                </a:cubicBezTo>
                <a:cubicBezTo>
                  <a:pt x="3278801" y="6013213"/>
                  <a:pt x="3241260" y="5928288"/>
                  <a:pt x="3208793" y="5885339"/>
                </a:cubicBezTo>
                <a:cubicBezTo>
                  <a:pt x="3177339" y="5843365"/>
                  <a:pt x="3208793" y="5903885"/>
                  <a:pt x="3215895" y="5915599"/>
                </a:cubicBezTo>
                <a:cubicBezTo>
                  <a:pt x="3284890" y="6030783"/>
                  <a:pt x="3334606" y="6157681"/>
                  <a:pt x="3379248" y="6278721"/>
                </a:cubicBezTo>
                <a:cubicBezTo>
                  <a:pt x="3422876" y="6399762"/>
                  <a:pt x="3485784" y="6526660"/>
                  <a:pt x="3536515" y="6654533"/>
                </a:cubicBezTo>
                <a:cubicBezTo>
                  <a:pt x="3586231" y="6793145"/>
                  <a:pt x="3643050" y="6926875"/>
                  <a:pt x="3680590" y="7047915"/>
                </a:cubicBezTo>
                <a:cubicBezTo>
                  <a:pt x="3649138" y="6980562"/>
                  <a:pt x="3618698" y="6902471"/>
                  <a:pt x="3593333" y="6829261"/>
                </a:cubicBezTo>
                <a:lnTo>
                  <a:pt x="3561881" y="6757027"/>
                </a:lnTo>
                <a:cubicBezTo>
                  <a:pt x="3548689" y="6757027"/>
                  <a:pt x="3567967" y="6817547"/>
                  <a:pt x="3574054" y="6829261"/>
                </a:cubicBezTo>
                <a:cubicBezTo>
                  <a:pt x="3630874" y="6993252"/>
                  <a:pt x="3719145" y="7174813"/>
                  <a:pt x="3756687" y="7325137"/>
                </a:cubicBezTo>
                <a:cubicBezTo>
                  <a:pt x="3687693" y="7192383"/>
                  <a:pt x="3636962" y="7011798"/>
                  <a:pt x="3574054" y="6872211"/>
                </a:cubicBezTo>
                <a:cubicBezTo>
                  <a:pt x="3593333" y="6914185"/>
                  <a:pt x="3561881" y="6836094"/>
                  <a:pt x="3554777" y="6841951"/>
                </a:cubicBezTo>
                <a:cubicBezTo>
                  <a:pt x="3542602" y="6853664"/>
                  <a:pt x="3567967" y="6872211"/>
                  <a:pt x="3567967" y="6872211"/>
                </a:cubicBezTo>
                <a:cubicBezTo>
                  <a:pt x="3630874" y="7047915"/>
                  <a:pt x="3693780" y="7209954"/>
                  <a:pt x="3744511" y="7372968"/>
                </a:cubicBezTo>
                <a:cubicBezTo>
                  <a:pt x="3725232" y="7342708"/>
                  <a:pt x="3712044" y="7306591"/>
                  <a:pt x="3699867" y="7264617"/>
                </a:cubicBezTo>
                <a:cubicBezTo>
                  <a:pt x="3693780" y="7246070"/>
                  <a:pt x="3662328" y="7150409"/>
                  <a:pt x="3656239" y="7150409"/>
                </a:cubicBezTo>
                <a:cubicBezTo>
                  <a:pt x="3636962" y="7150409"/>
                  <a:pt x="3674502" y="7246070"/>
                  <a:pt x="3674502" y="7234357"/>
                </a:cubicBezTo>
                <a:cubicBezTo>
                  <a:pt x="3680590" y="7258761"/>
                  <a:pt x="3705956" y="7300734"/>
                  <a:pt x="3705956" y="7319281"/>
                </a:cubicBezTo>
                <a:cubicBezTo>
                  <a:pt x="3699867" y="7336851"/>
                  <a:pt x="3668415" y="7251928"/>
                  <a:pt x="3668415" y="7251928"/>
                </a:cubicBezTo>
                <a:cubicBezTo>
                  <a:pt x="3611597" y="7089889"/>
                  <a:pt x="3554777" y="6950302"/>
                  <a:pt x="3505061" y="6817547"/>
                </a:cubicBezTo>
                <a:cubicBezTo>
                  <a:pt x="3498973" y="6805834"/>
                  <a:pt x="3448241" y="6648676"/>
                  <a:pt x="3428964" y="6654533"/>
                </a:cubicBezTo>
                <a:cubicBezTo>
                  <a:pt x="3416789" y="6660390"/>
                  <a:pt x="3460419" y="6762884"/>
                  <a:pt x="3436068" y="6678936"/>
                </a:cubicBezTo>
                <a:cubicBezTo>
                  <a:pt x="3479696" y="6805834"/>
                  <a:pt x="3523325" y="6914185"/>
                  <a:pt x="3567967" y="7035226"/>
                </a:cubicBezTo>
                <a:cubicBezTo>
                  <a:pt x="3567967" y="7041082"/>
                  <a:pt x="3624786" y="7156266"/>
                  <a:pt x="3618698" y="7168956"/>
                </a:cubicBezTo>
                <a:cubicBezTo>
                  <a:pt x="3599419" y="7180669"/>
                  <a:pt x="3580143" y="7095746"/>
                  <a:pt x="3580143" y="7095746"/>
                </a:cubicBezTo>
                <a:cubicBezTo>
                  <a:pt x="3517237" y="6938588"/>
                  <a:pt x="3479696" y="6853664"/>
                  <a:pt x="3422876" y="6702364"/>
                </a:cubicBezTo>
                <a:cubicBezTo>
                  <a:pt x="3416789" y="6690650"/>
                  <a:pt x="3367073" y="6545206"/>
                  <a:pt x="3353883" y="6551063"/>
                </a:cubicBezTo>
                <a:cubicBezTo>
                  <a:pt x="3347794" y="6563752"/>
                  <a:pt x="3404614" y="6672103"/>
                  <a:pt x="3398526" y="6660390"/>
                </a:cubicBezTo>
                <a:cubicBezTo>
                  <a:pt x="3410703" y="6702364"/>
                  <a:pt x="3422876" y="6726767"/>
                  <a:pt x="3436068" y="6775573"/>
                </a:cubicBezTo>
                <a:cubicBezTo>
                  <a:pt x="3398526" y="6715053"/>
                  <a:pt x="3385336" y="6641843"/>
                  <a:pt x="3353883" y="6581323"/>
                </a:cubicBezTo>
                <a:cubicBezTo>
                  <a:pt x="3347794" y="6563752"/>
                  <a:pt x="3328518" y="6551063"/>
                  <a:pt x="3316342" y="6526660"/>
                </a:cubicBezTo>
                <a:cubicBezTo>
                  <a:pt x="3278801" y="6467115"/>
                  <a:pt x="3247348" y="6369502"/>
                  <a:pt x="3215895" y="6308981"/>
                </a:cubicBezTo>
                <a:cubicBezTo>
                  <a:pt x="3228070" y="6327528"/>
                  <a:pt x="3202705" y="6278721"/>
                  <a:pt x="3196616" y="6278721"/>
                </a:cubicBezTo>
                <a:cubicBezTo>
                  <a:pt x="3177339" y="6278721"/>
                  <a:pt x="3215895" y="6333385"/>
                  <a:pt x="3215895" y="6339241"/>
                </a:cubicBezTo>
                <a:cubicBezTo>
                  <a:pt x="3284890" y="6503232"/>
                  <a:pt x="3353883" y="6660390"/>
                  <a:pt x="3404614" y="6817547"/>
                </a:cubicBezTo>
                <a:cubicBezTo>
                  <a:pt x="3328518" y="6678936"/>
                  <a:pt x="3310255" y="6557896"/>
                  <a:pt x="3234158" y="6424165"/>
                </a:cubicBezTo>
                <a:cubicBezTo>
                  <a:pt x="3241260" y="6424165"/>
                  <a:pt x="3177339" y="6339241"/>
                  <a:pt x="3196616" y="6388048"/>
                </a:cubicBezTo>
                <a:cubicBezTo>
                  <a:pt x="3265611" y="6557896"/>
                  <a:pt x="3328518" y="6702364"/>
                  <a:pt x="3385336" y="6859521"/>
                </a:cubicBezTo>
                <a:cubicBezTo>
                  <a:pt x="3398526" y="6896614"/>
                  <a:pt x="3422876" y="6987395"/>
                  <a:pt x="3385336" y="6908328"/>
                </a:cubicBezTo>
                <a:cubicBezTo>
                  <a:pt x="3341707" y="6811690"/>
                  <a:pt x="3290977" y="6708220"/>
                  <a:pt x="3247348" y="6599869"/>
                </a:cubicBezTo>
                <a:cubicBezTo>
                  <a:pt x="3234158" y="6569609"/>
                  <a:pt x="3184443" y="6460282"/>
                  <a:pt x="3215895" y="6551063"/>
                </a:cubicBezTo>
                <a:cubicBezTo>
                  <a:pt x="3278801" y="6720910"/>
                  <a:pt x="3367073" y="6914185"/>
                  <a:pt x="3422876" y="7065485"/>
                </a:cubicBezTo>
                <a:cubicBezTo>
                  <a:pt x="3442155" y="7120149"/>
                  <a:pt x="3479696" y="7198240"/>
                  <a:pt x="3492885" y="7258761"/>
                </a:cubicBezTo>
                <a:cubicBezTo>
                  <a:pt x="3498973" y="7289020"/>
                  <a:pt x="3492885" y="7319281"/>
                  <a:pt x="3498973" y="7330994"/>
                </a:cubicBezTo>
                <a:cubicBezTo>
                  <a:pt x="3505061" y="7372968"/>
                  <a:pt x="3536515" y="7421775"/>
                  <a:pt x="3542602" y="7470581"/>
                </a:cubicBezTo>
                <a:cubicBezTo>
                  <a:pt x="3542602" y="7488152"/>
                  <a:pt x="3536515" y="7500841"/>
                  <a:pt x="3542602" y="7512555"/>
                </a:cubicBezTo>
                <a:cubicBezTo>
                  <a:pt x="3542602" y="7531102"/>
                  <a:pt x="3554777" y="7567219"/>
                  <a:pt x="3567967" y="7597479"/>
                </a:cubicBezTo>
                <a:cubicBezTo>
                  <a:pt x="3580143" y="7633596"/>
                  <a:pt x="3605509" y="7705830"/>
                  <a:pt x="3586231" y="7681426"/>
                </a:cubicBezTo>
                <a:cubicBezTo>
                  <a:pt x="3567967" y="7663856"/>
                  <a:pt x="3554777" y="7615049"/>
                  <a:pt x="3548689" y="7597479"/>
                </a:cubicBezTo>
                <a:cubicBezTo>
                  <a:pt x="3492885" y="7488152"/>
                  <a:pt x="3580143" y="7754637"/>
                  <a:pt x="3548689" y="7658000"/>
                </a:cubicBezTo>
                <a:cubicBezTo>
                  <a:pt x="3523325" y="7603336"/>
                  <a:pt x="3505061" y="7531102"/>
                  <a:pt x="3485784" y="7476438"/>
                </a:cubicBezTo>
                <a:cubicBezTo>
                  <a:pt x="3467520" y="7427632"/>
                  <a:pt x="3467520" y="7470581"/>
                  <a:pt x="3473607" y="7494009"/>
                </a:cubicBezTo>
                <a:cubicBezTo>
                  <a:pt x="3485784" y="7542815"/>
                  <a:pt x="3485784" y="7548673"/>
                  <a:pt x="3492885" y="7584789"/>
                </a:cubicBezTo>
                <a:cubicBezTo>
                  <a:pt x="3498973" y="7633596"/>
                  <a:pt x="3548689" y="7718520"/>
                  <a:pt x="3536515" y="7730234"/>
                </a:cubicBezTo>
                <a:cubicBezTo>
                  <a:pt x="3530427" y="7736090"/>
                  <a:pt x="3498973" y="7652143"/>
                  <a:pt x="3505061" y="7658000"/>
                </a:cubicBezTo>
                <a:cubicBezTo>
                  <a:pt x="3498973" y="7639453"/>
                  <a:pt x="3473607" y="7578933"/>
                  <a:pt x="3467520" y="7584789"/>
                </a:cubicBezTo>
                <a:cubicBezTo>
                  <a:pt x="3460419" y="7591622"/>
                  <a:pt x="3485784" y="7675570"/>
                  <a:pt x="3492885" y="7694117"/>
                </a:cubicBezTo>
                <a:cubicBezTo>
                  <a:pt x="3492885" y="7705830"/>
                  <a:pt x="3536515" y="7790754"/>
                  <a:pt x="3523325" y="7802467"/>
                </a:cubicBezTo>
                <a:cubicBezTo>
                  <a:pt x="3517237" y="7802467"/>
                  <a:pt x="3479696" y="7688260"/>
                  <a:pt x="3485784" y="7694117"/>
                </a:cubicBezTo>
                <a:cubicBezTo>
                  <a:pt x="3473607" y="7688260"/>
                  <a:pt x="3454331" y="7699973"/>
                  <a:pt x="3467520" y="7712663"/>
                </a:cubicBezTo>
                <a:cubicBezTo>
                  <a:pt x="3448241" y="7694117"/>
                  <a:pt x="3467520" y="7718520"/>
                  <a:pt x="3454331" y="7681426"/>
                </a:cubicBezTo>
                <a:cubicBezTo>
                  <a:pt x="3436068" y="7633596"/>
                  <a:pt x="3436068" y="7669713"/>
                  <a:pt x="3436068" y="7669713"/>
                </a:cubicBezTo>
                <a:cubicBezTo>
                  <a:pt x="3436068" y="7694117"/>
                  <a:pt x="3460419" y="7748780"/>
                  <a:pt x="3460419" y="7760494"/>
                </a:cubicBezTo>
                <a:cubicBezTo>
                  <a:pt x="3460419" y="7760494"/>
                  <a:pt x="3448241" y="7766350"/>
                  <a:pt x="3436068" y="7773183"/>
                </a:cubicBezTo>
                <a:cubicBezTo>
                  <a:pt x="3436068" y="7766350"/>
                  <a:pt x="3436068" y="7760494"/>
                  <a:pt x="3436068" y="7760494"/>
                </a:cubicBezTo>
                <a:cubicBezTo>
                  <a:pt x="3422876" y="7773183"/>
                  <a:pt x="3428964" y="7773183"/>
                  <a:pt x="3436068" y="7773183"/>
                </a:cubicBezTo>
                <a:cubicBezTo>
                  <a:pt x="3442155" y="7790754"/>
                  <a:pt x="3454331" y="7821014"/>
                  <a:pt x="3454331" y="7821014"/>
                </a:cubicBezTo>
                <a:cubicBezTo>
                  <a:pt x="3442155" y="7839560"/>
                  <a:pt x="3436068" y="7796611"/>
                  <a:pt x="3436068" y="7796611"/>
                </a:cubicBezTo>
                <a:cubicBezTo>
                  <a:pt x="3422876" y="7779041"/>
                  <a:pt x="3379248" y="7712663"/>
                  <a:pt x="3385336" y="7712663"/>
                </a:cubicBezTo>
                <a:cubicBezTo>
                  <a:pt x="3367073" y="7718520"/>
                  <a:pt x="3391424" y="7754637"/>
                  <a:pt x="3404614" y="7790754"/>
                </a:cubicBezTo>
                <a:cubicBezTo>
                  <a:pt x="3410703" y="7815157"/>
                  <a:pt x="3442155" y="7917652"/>
                  <a:pt x="3410703" y="7863964"/>
                </a:cubicBezTo>
                <a:cubicBezTo>
                  <a:pt x="3398526" y="7839560"/>
                  <a:pt x="3391424" y="7815157"/>
                  <a:pt x="3379248" y="7784897"/>
                </a:cubicBezTo>
                <a:cubicBezTo>
                  <a:pt x="3334606" y="7669713"/>
                  <a:pt x="3322429" y="7658000"/>
                  <a:pt x="3284890" y="7554529"/>
                </a:cubicBezTo>
                <a:cubicBezTo>
                  <a:pt x="3278801" y="7542815"/>
                  <a:pt x="3241260" y="7433488"/>
                  <a:pt x="3247348" y="7482296"/>
                </a:cubicBezTo>
                <a:cubicBezTo>
                  <a:pt x="3253435" y="7518412"/>
                  <a:pt x="3290977" y="7591622"/>
                  <a:pt x="3297063" y="7615049"/>
                </a:cubicBezTo>
                <a:cubicBezTo>
                  <a:pt x="3322429" y="7694117"/>
                  <a:pt x="3341707" y="7779041"/>
                  <a:pt x="3353883" y="7845417"/>
                </a:cubicBezTo>
                <a:cubicBezTo>
                  <a:pt x="3373161" y="7911794"/>
                  <a:pt x="3328518" y="7790754"/>
                  <a:pt x="3316342" y="7796611"/>
                </a:cubicBezTo>
                <a:cubicBezTo>
                  <a:pt x="3303151" y="7796611"/>
                  <a:pt x="3373161" y="7996718"/>
                  <a:pt x="3334606" y="7936198"/>
                </a:cubicBezTo>
                <a:cubicBezTo>
                  <a:pt x="3328518" y="7917652"/>
                  <a:pt x="3284890" y="7802467"/>
                  <a:pt x="3272713" y="7802467"/>
                </a:cubicBezTo>
                <a:cubicBezTo>
                  <a:pt x="3265611" y="7802467"/>
                  <a:pt x="3247348" y="7845417"/>
                  <a:pt x="3247348" y="7839560"/>
                </a:cubicBezTo>
                <a:cubicBezTo>
                  <a:pt x="3247348" y="7845417"/>
                  <a:pt x="3247348" y="7851274"/>
                  <a:pt x="3247348" y="7857131"/>
                </a:cubicBezTo>
                <a:cubicBezTo>
                  <a:pt x="3234158" y="7839560"/>
                  <a:pt x="3208793" y="7760494"/>
                  <a:pt x="3221981" y="7826871"/>
                </a:cubicBezTo>
                <a:cubicBezTo>
                  <a:pt x="3241260" y="7900081"/>
                  <a:pt x="3208793" y="7802467"/>
                  <a:pt x="3196616" y="7766350"/>
                </a:cubicBezTo>
                <a:cubicBezTo>
                  <a:pt x="3121535" y="7548673"/>
                  <a:pt x="3039351" y="7312448"/>
                  <a:pt x="2957167" y="7138696"/>
                </a:cubicBezTo>
                <a:cubicBezTo>
                  <a:pt x="2951079" y="7126006"/>
                  <a:pt x="2944992" y="7138696"/>
                  <a:pt x="2957167" y="7138696"/>
                </a:cubicBezTo>
                <a:cubicBezTo>
                  <a:pt x="2976445" y="7209954"/>
                  <a:pt x="3013986" y="7300734"/>
                  <a:pt x="3045438" y="7391515"/>
                </a:cubicBezTo>
                <a:cubicBezTo>
                  <a:pt x="3082980" y="7488152"/>
                  <a:pt x="3108345" y="7578933"/>
                  <a:pt x="3127623" y="7669713"/>
                </a:cubicBezTo>
                <a:cubicBezTo>
                  <a:pt x="3133711" y="7688260"/>
                  <a:pt x="3190529" y="7821014"/>
                  <a:pt x="3177339" y="7833704"/>
                </a:cubicBezTo>
                <a:cubicBezTo>
                  <a:pt x="3184443" y="7826871"/>
                  <a:pt x="3139799" y="7754637"/>
                  <a:pt x="3139799" y="7766350"/>
                </a:cubicBezTo>
                <a:cubicBezTo>
                  <a:pt x="3139799" y="7833704"/>
                  <a:pt x="3177339" y="7900081"/>
                  <a:pt x="3190529" y="7966458"/>
                </a:cubicBezTo>
                <a:cubicBezTo>
                  <a:pt x="3215895" y="8063095"/>
                  <a:pt x="3171251" y="7966458"/>
                  <a:pt x="3165164" y="7966458"/>
                </a:cubicBezTo>
                <a:cubicBezTo>
                  <a:pt x="3159077" y="7966458"/>
                  <a:pt x="3190529" y="8063095"/>
                  <a:pt x="3190529" y="8087499"/>
                </a:cubicBezTo>
                <a:cubicBezTo>
                  <a:pt x="3171251" y="8057239"/>
                  <a:pt x="3177339" y="8038692"/>
                  <a:pt x="3159077" y="7996718"/>
                </a:cubicBezTo>
                <a:cubicBezTo>
                  <a:pt x="3159077" y="7996718"/>
                  <a:pt x="3133711" y="7905938"/>
                  <a:pt x="3127623" y="7905938"/>
                </a:cubicBezTo>
                <a:lnTo>
                  <a:pt x="3121535" y="7978171"/>
                </a:lnTo>
                <a:cubicBezTo>
                  <a:pt x="3115447" y="7978171"/>
                  <a:pt x="3027177" y="7742923"/>
                  <a:pt x="3058630" y="7857131"/>
                </a:cubicBezTo>
                <a:cubicBezTo>
                  <a:pt x="3082980" y="7923508"/>
                  <a:pt x="3096170" y="7978171"/>
                  <a:pt x="3102257" y="8038692"/>
                </a:cubicBezTo>
                <a:cubicBezTo>
                  <a:pt x="3108345" y="8081642"/>
                  <a:pt x="3133711" y="8106045"/>
                  <a:pt x="3133711" y="8153876"/>
                </a:cubicBezTo>
                <a:cubicBezTo>
                  <a:pt x="3102257" y="8148019"/>
                  <a:pt x="3102257" y="8032835"/>
                  <a:pt x="3082980" y="8021121"/>
                </a:cubicBezTo>
                <a:cubicBezTo>
                  <a:pt x="3082980" y="8014289"/>
                  <a:pt x="3051526" y="8021121"/>
                  <a:pt x="3051526" y="8026979"/>
                </a:cubicBezTo>
                <a:cubicBezTo>
                  <a:pt x="3033265" y="7990861"/>
                  <a:pt x="3039351" y="7947911"/>
                  <a:pt x="3021087" y="7917652"/>
                </a:cubicBezTo>
                <a:cubicBezTo>
                  <a:pt x="3013986" y="7905938"/>
                  <a:pt x="3007898" y="7905938"/>
                  <a:pt x="2995722" y="7900081"/>
                </a:cubicBezTo>
                <a:cubicBezTo>
                  <a:pt x="2970357" y="7875678"/>
                  <a:pt x="2964270" y="7833704"/>
                  <a:pt x="2951079" y="7796611"/>
                </a:cubicBezTo>
                <a:cubicBezTo>
                  <a:pt x="2919625" y="7718520"/>
                  <a:pt x="2907452" y="7645310"/>
                  <a:pt x="2869909" y="7573075"/>
                </a:cubicBezTo>
                <a:cubicBezTo>
                  <a:pt x="2863823" y="7512555"/>
                  <a:pt x="2831355" y="7524269"/>
                  <a:pt x="2869909" y="7573075"/>
                </a:cubicBezTo>
                <a:cubicBezTo>
                  <a:pt x="2888173" y="7663856"/>
                  <a:pt x="2913539" y="7724377"/>
                  <a:pt x="2932817" y="7815157"/>
                </a:cubicBezTo>
                <a:cubicBezTo>
                  <a:pt x="2932817" y="7839560"/>
                  <a:pt x="2951079" y="7881534"/>
                  <a:pt x="2970357" y="7936198"/>
                </a:cubicBezTo>
                <a:cubicBezTo>
                  <a:pt x="2976445" y="7966458"/>
                  <a:pt x="3033265" y="8117758"/>
                  <a:pt x="2982533" y="8032835"/>
                </a:cubicBezTo>
                <a:cubicBezTo>
                  <a:pt x="2976445" y="8014289"/>
                  <a:pt x="2944992" y="7936198"/>
                  <a:pt x="2938904" y="7923508"/>
                </a:cubicBezTo>
                <a:cubicBezTo>
                  <a:pt x="2932817" y="7917652"/>
                  <a:pt x="2919625" y="7917652"/>
                  <a:pt x="2919625" y="7917652"/>
                </a:cubicBezTo>
                <a:cubicBezTo>
                  <a:pt x="2901364" y="7887391"/>
                  <a:pt x="2895275" y="7851274"/>
                  <a:pt x="2888173" y="7821014"/>
                </a:cubicBezTo>
                <a:cubicBezTo>
                  <a:pt x="2875997" y="7796611"/>
                  <a:pt x="2869909" y="7736090"/>
                  <a:pt x="2850632" y="7730234"/>
                </a:cubicBezTo>
                <a:cubicBezTo>
                  <a:pt x="2831355" y="7724377"/>
                  <a:pt x="2869909" y="7773183"/>
                  <a:pt x="2850632" y="7754637"/>
                </a:cubicBezTo>
                <a:cubicBezTo>
                  <a:pt x="2825267" y="7730234"/>
                  <a:pt x="2793813" y="7652143"/>
                  <a:pt x="2825267" y="7748780"/>
                </a:cubicBezTo>
                <a:cubicBezTo>
                  <a:pt x="2844544" y="7821014"/>
                  <a:pt x="2863823" y="7851274"/>
                  <a:pt x="2875997" y="7936198"/>
                </a:cubicBezTo>
                <a:cubicBezTo>
                  <a:pt x="2856721" y="7917652"/>
                  <a:pt x="2819179" y="7809300"/>
                  <a:pt x="2807004" y="7784897"/>
                </a:cubicBezTo>
                <a:cubicBezTo>
                  <a:pt x="2775551" y="7742923"/>
                  <a:pt x="2793813" y="7784897"/>
                  <a:pt x="2800916" y="7815157"/>
                </a:cubicBezTo>
                <a:cubicBezTo>
                  <a:pt x="2738010" y="7699973"/>
                  <a:pt x="2718731" y="7573075"/>
                  <a:pt x="2661913" y="7457892"/>
                </a:cubicBezTo>
                <a:cubicBezTo>
                  <a:pt x="2586832" y="7300734"/>
                  <a:pt x="2530013" y="7144553"/>
                  <a:pt x="2454931" y="6987395"/>
                </a:cubicBezTo>
                <a:cubicBezTo>
                  <a:pt x="2461019" y="6962992"/>
                  <a:pt x="2435653" y="6987395"/>
                  <a:pt x="2454931" y="6987395"/>
                </a:cubicBezTo>
                <a:cubicBezTo>
                  <a:pt x="2486384" y="7114292"/>
                  <a:pt x="2549291" y="7215811"/>
                  <a:pt x="2579729" y="7342708"/>
                </a:cubicBezTo>
                <a:cubicBezTo>
                  <a:pt x="2542187" y="7276331"/>
                  <a:pt x="2517837" y="7204096"/>
                  <a:pt x="2486384" y="7132839"/>
                </a:cubicBezTo>
                <a:cubicBezTo>
                  <a:pt x="2461019" y="7078176"/>
                  <a:pt x="2473194" y="7126006"/>
                  <a:pt x="2479283" y="7150409"/>
                </a:cubicBezTo>
                <a:cubicBezTo>
                  <a:pt x="2579729" y="7403228"/>
                  <a:pt x="2681191" y="7645310"/>
                  <a:pt x="2756273" y="7905938"/>
                </a:cubicBezTo>
                <a:cubicBezTo>
                  <a:pt x="2762361" y="7930341"/>
                  <a:pt x="2813091" y="8038692"/>
                  <a:pt x="2800916" y="8057239"/>
                </a:cubicBezTo>
                <a:cubicBezTo>
                  <a:pt x="2793813" y="8057239"/>
                  <a:pt x="2787726" y="8044549"/>
                  <a:pt x="2787726" y="8044549"/>
                </a:cubicBezTo>
                <a:cubicBezTo>
                  <a:pt x="2762361" y="7985005"/>
                  <a:pt x="2750185" y="7930341"/>
                  <a:pt x="2738010" y="7887391"/>
                </a:cubicBezTo>
                <a:cubicBezTo>
                  <a:pt x="2718731" y="7845417"/>
                  <a:pt x="2705542" y="7766350"/>
                  <a:pt x="2681191" y="7736090"/>
                </a:cubicBezTo>
                <a:cubicBezTo>
                  <a:pt x="2675103" y="7730234"/>
                  <a:pt x="2661913" y="7730234"/>
                  <a:pt x="2661913" y="7724377"/>
                </a:cubicBezTo>
                <a:cubicBezTo>
                  <a:pt x="2649738" y="7699973"/>
                  <a:pt x="2630461" y="7621883"/>
                  <a:pt x="2612197" y="7597479"/>
                </a:cubicBezTo>
                <a:cubicBezTo>
                  <a:pt x="2605095" y="7584789"/>
                  <a:pt x="2586832" y="7584789"/>
                  <a:pt x="2586832" y="7584789"/>
                </a:cubicBezTo>
                <a:cubicBezTo>
                  <a:pt x="2586832" y="7584789"/>
                  <a:pt x="2585056" y="7581861"/>
                  <a:pt x="2583282" y="7577346"/>
                </a:cubicBezTo>
                <a:lnTo>
                  <a:pt x="2581720" y="7569890"/>
                </a:lnTo>
                <a:lnTo>
                  <a:pt x="2583724" y="7573701"/>
                </a:lnTo>
                <a:cubicBezTo>
                  <a:pt x="2589811" y="7584912"/>
                  <a:pt x="2585056" y="7574296"/>
                  <a:pt x="2579729" y="7560386"/>
                </a:cubicBezTo>
                <a:cubicBezTo>
                  <a:pt x="2567553" y="7548673"/>
                  <a:pt x="2555379" y="7531102"/>
                  <a:pt x="2555379" y="7531102"/>
                </a:cubicBezTo>
                <a:cubicBezTo>
                  <a:pt x="2536100" y="7536959"/>
                  <a:pt x="2599007" y="7609192"/>
                  <a:pt x="2605095" y="7663856"/>
                </a:cubicBezTo>
                <a:cubicBezTo>
                  <a:pt x="2605095" y="7669713"/>
                  <a:pt x="2599007" y="7688260"/>
                  <a:pt x="2599007" y="7694117"/>
                </a:cubicBezTo>
                <a:cubicBezTo>
                  <a:pt x="2605095" y="7730234"/>
                  <a:pt x="2618284" y="7773183"/>
                  <a:pt x="2630461" y="7821014"/>
                </a:cubicBezTo>
                <a:cubicBezTo>
                  <a:pt x="2636548" y="7839560"/>
                  <a:pt x="2693366" y="7990861"/>
                  <a:pt x="2693366" y="7996718"/>
                </a:cubicBezTo>
                <a:cubicBezTo>
                  <a:pt x="2687278" y="8002575"/>
                  <a:pt x="2661913" y="7985005"/>
                  <a:pt x="2655826" y="7978171"/>
                </a:cubicBezTo>
                <a:cubicBezTo>
                  <a:pt x="2649738" y="7966458"/>
                  <a:pt x="2612197" y="7857131"/>
                  <a:pt x="2630461" y="7930341"/>
                </a:cubicBezTo>
                <a:cubicBezTo>
                  <a:pt x="2649738" y="8008432"/>
                  <a:pt x="2599007" y="7869821"/>
                  <a:pt x="2592919" y="7851274"/>
                </a:cubicBezTo>
                <a:cubicBezTo>
                  <a:pt x="2573641" y="7802467"/>
                  <a:pt x="2555379" y="7760494"/>
                  <a:pt x="2549291" y="7742923"/>
                </a:cubicBezTo>
                <a:cubicBezTo>
                  <a:pt x="2467106" y="7548673"/>
                  <a:pt x="2404201" y="7379801"/>
                  <a:pt x="2329119" y="7204096"/>
                </a:cubicBezTo>
                <a:cubicBezTo>
                  <a:pt x="2322016" y="7186526"/>
                  <a:pt x="2297665" y="7095746"/>
                  <a:pt x="2284475" y="7095746"/>
                </a:cubicBezTo>
                <a:cubicBezTo>
                  <a:pt x="2272300" y="7095746"/>
                  <a:pt x="2303753" y="7162123"/>
                  <a:pt x="2303753" y="7168956"/>
                </a:cubicBezTo>
                <a:cubicBezTo>
                  <a:pt x="2360571" y="7300734"/>
                  <a:pt x="2404201" y="7415918"/>
                  <a:pt x="2447829" y="7536959"/>
                </a:cubicBezTo>
                <a:cubicBezTo>
                  <a:pt x="2461019" y="7573075"/>
                  <a:pt x="2504648" y="7658000"/>
                  <a:pt x="2504648" y="7688260"/>
                </a:cubicBezTo>
                <a:cubicBezTo>
                  <a:pt x="2504648" y="7699973"/>
                  <a:pt x="2486384" y="7699973"/>
                  <a:pt x="2479283" y="7718520"/>
                </a:cubicBezTo>
                <a:cubicBezTo>
                  <a:pt x="2473194" y="7742923"/>
                  <a:pt x="2486384" y="7754637"/>
                  <a:pt x="2498559" y="7790754"/>
                </a:cubicBezTo>
                <a:cubicBezTo>
                  <a:pt x="2504648" y="7821014"/>
                  <a:pt x="2504648" y="7845417"/>
                  <a:pt x="2510735" y="7863964"/>
                </a:cubicBezTo>
                <a:cubicBezTo>
                  <a:pt x="2536100" y="7942054"/>
                  <a:pt x="2561465" y="8008432"/>
                  <a:pt x="2586832" y="8093356"/>
                </a:cubicBezTo>
                <a:cubicBezTo>
                  <a:pt x="2586832" y="8093356"/>
                  <a:pt x="2624372" y="8159732"/>
                  <a:pt x="2612197" y="8165590"/>
                </a:cubicBezTo>
                <a:cubicBezTo>
                  <a:pt x="2608647" y="8169006"/>
                  <a:pt x="2599007" y="8148019"/>
                  <a:pt x="2591905" y="8130693"/>
                </a:cubicBezTo>
                <a:lnTo>
                  <a:pt x="2586717" y="8117349"/>
                </a:lnTo>
                <a:lnTo>
                  <a:pt x="2572436" y="8066268"/>
                </a:lnTo>
                <a:cubicBezTo>
                  <a:pt x="2557978" y="8010445"/>
                  <a:pt x="2542950" y="7946935"/>
                  <a:pt x="2523925" y="7923508"/>
                </a:cubicBezTo>
                <a:cubicBezTo>
                  <a:pt x="2517837" y="7911794"/>
                  <a:pt x="2504648" y="7911794"/>
                  <a:pt x="2498559" y="7905938"/>
                </a:cubicBezTo>
                <a:cubicBezTo>
                  <a:pt x="2492471" y="7893248"/>
                  <a:pt x="2486384" y="7863964"/>
                  <a:pt x="2473194" y="7839560"/>
                </a:cubicBezTo>
                <a:cubicBezTo>
                  <a:pt x="2467106" y="7821014"/>
                  <a:pt x="2429566" y="7736090"/>
                  <a:pt x="2441741" y="7796611"/>
                </a:cubicBezTo>
                <a:cubicBezTo>
                  <a:pt x="2447829" y="7833704"/>
                  <a:pt x="2473194" y="7875678"/>
                  <a:pt x="2479283" y="7893248"/>
                </a:cubicBezTo>
                <a:cubicBezTo>
                  <a:pt x="2486384" y="7911794"/>
                  <a:pt x="2479283" y="7930341"/>
                  <a:pt x="2479283" y="7936198"/>
                </a:cubicBezTo>
                <a:cubicBezTo>
                  <a:pt x="2486384" y="7947911"/>
                  <a:pt x="2492471" y="7954745"/>
                  <a:pt x="2498559" y="7972315"/>
                </a:cubicBezTo>
                <a:cubicBezTo>
                  <a:pt x="2498559" y="7978171"/>
                  <a:pt x="2498559" y="8002575"/>
                  <a:pt x="2498559" y="8014289"/>
                </a:cubicBezTo>
                <a:cubicBezTo>
                  <a:pt x="2504648" y="8026979"/>
                  <a:pt x="2517837" y="8075785"/>
                  <a:pt x="2530013" y="8117758"/>
                </a:cubicBezTo>
                <a:cubicBezTo>
                  <a:pt x="2542187" y="8159732"/>
                  <a:pt x="2573641" y="8263203"/>
                  <a:pt x="2542187" y="8189993"/>
                </a:cubicBezTo>
                <a:cubicBezTo>
                  <a:pt x="2510735" y="8123616"/>
                  <a:pt x="2492471" y="8038692"/>
                  <a:pt x="2467106" y="7972315"/>
                </a:cubicBezTo>
                <a:cubicBezTo>
                  <a:pt x="2447829" y="7911794"/>
                  <a:pt x="2416377" y="7851274"/>
                  <a:pt x="2392025" y="7790754"/>
                </a:cubicBezTo>
                <a:cubicBezTo>
                  <a:pt x="2384922" y="7773183"/>
                  <a:pt x="2360571" y="7712663"/>
                  <a:pt x="2366659" y="7742923"/>
                </a:cubicBezTo>
                <a:cubicBezTo>
                  <a:pt x="2392025" y="7821014"/>
                  <a:pt x="2423478" y="7893248"/>
                  <a:pt x="2447829" y="7966458"/>
                </a:cubicBezTo>
                <a:cubicBezTo>
                  <a:pt x="2467106" y="8008432"/>
                  <a:pt x="2492471" y="8075785"/>
                  <a:pt x="2454931" y="8032835"/>
                </a:cubicBezTo>
                <a:cubicBezTo>
                  <a:pt x="2429566" y="7996718"/>
                  <a:pt x="2416377" y="7947911"/>
                  <a:pt x="2398113" y="7911794"/>
                </a:cubicBezTo>
                <a:cubicBezTo>
                  <a:pt x="2297665" y="7658000"/>
                  <a:pt x="2190115" y="7385658"/>
                  <a:pt x="2089668" y="7138696"/>
                </a:cubicBezTo>
                <a:cubicBezTo>
                  <a:pt x="2026762" y="6987395"/>
                  <a:pt x="1957768" y="6847808"/>
                  <a:pt x="1888774" y="6715053"/>
                </a:cubicBezTo>
                <a:cubicBezTo>
                  <a:pt x="1818766" y="6581323"/>
                  <a:pt x="1731508" y="6448568"/>
                  <a:pt x="1643236" y="6333385"/>
                </a:cubicBezTo>
                <a:cubicBezTo>
                  <a:pt x="1749771" y="6551063"/>
                  <a:pt x="1875584" y="6738481"/>
                  <a:pt x="1989221" y="6968848"/>
                </a:cubicBezTo>
                <a:cubicBezTo>
                  <a:pt x="2077493" y="7162123"/>
                  <a:pt x="2158662" y="7367111"/>
                  <a:pt x="2234759" y="7573075"/>
                </a:cubicBezTo>
                <a:cubicBezTo>
                  <a:pt x="2246935" y="7609192"/>
                  <a:pt x="2278388" y="7694117"/>
                  <a:pt x="2253021" y="7663856"/>
                </a:cubicBezTo>
                <a:cubicBezTo>
                  <a:pt x="2234759" y="7633596"/>
                  <a:pt x="2215481" y="7554529"/>
                  <a:pt x="2209393" y="7542815"/>
                </a:cubicBezTo>
                <a:cubicBezTo>
                  <a:pt x="2121121" y="7355398"/>
                  <a:pt x="2064303" y="7186526"/>
                  <a:pt x="1963856" y="6962992"/>
                </a:cubicBezTo>
                <a:cubicBezTo>
                  <a:pt x="1894862" y="6811690"/>
                  <a:pt x="1794414" y="6641843"/>
                  <a:pt x="1706143" y="6496399"/>
                </a:cubicBezTo>
                <a:cubicBezTo>
                  <a:pt x="1706143" y="6490542"/>
                  <a:pt x="1661500" y="6430022"/>
                  <a:pt x="1661500" y="6430022"/>
                </a:cubicBezTo>
                <a:cubicBezTo>
                  <a:pt x="1649324" y="6430022"/>
                  <a:pt x="1680778" y="6478829"/>
                  <a:pt x="1692953" y="6509089"/>
                </a:cubicBezTo>
                <a:cubicBezTo>
                  <a:pt x="1712231" y="6551063"/>
                  <a:pt x="1731508" y="6581323"/>
                  <a:pt x="1737596" y="6599869"/>
                </a:cubicBezTo>
                <a:lnTo>
                  <a:pt x="1731508" y="6599869"/>
                </a:lnTo>
                <a:cubicBezTo>
                  <a:pt x="1731508" y="6611583"/>
                  <a:pt x="1737596" y="6605726"/>
                  <a:pt x="1737596" y="6599869"/>
                </a:cubicBezTo>
                <a:cubicBezTo>
                  <a:pt x="1775137" y="6641843"/>
                  <a:pt x="1787312" y="6684794"/>
                  <a:pt x="1825868" y="6745313"/>
                </a:cubicBezTo>
                <a:cubicBezTo>
                  <a:pt x="1869497" y="6817547"/>
                  <a:pt x="1907037" y="6896614"/>
                  <a:pt x="1944578" y="6974705"/>
                </a:cubicBezTo>
                <a:cubicBezTo>
                  <a:pt x="1957768" y="7004965"/>
                  <a:pt x="2014587" y="7101603"/>
                  <a:pt x="1989221" y="7089889"/>
                </a:cubicBezTo>
                <a:cubicBezTo>
                  <a:pt x="1983134" y="7078176"/>
                  <a:pt x="1976031" y="7089889"/>
                  <a:pt x="1989221" y="7089889"/>
                </a:cubicBezTo>
                <a:cubicBezTo>
                  <a:pt x="1989221" y="7101603"/>
                  <a:pt x="1989221" y="7114292"/>
                  <a:pt x="2001397" y="7120149"/>
                </a:cubicBezTo>
                <a:cubicBezTo>
                  <a:pt x="2058215" y="7270474"/>
                  <a:pt x="2127209" y="7415918"/>
                  <a:pt x="2177941" y="7591622"/>
                </a:cubicBezTo>
                <a:cubicBezTo>
                  <a:pt x="2115034" y="7440322"/>
                  <a:pt x="2038937" y="7258761"/>
                  <a:pt x="1976031" y="7101603"/>
                </a:cubicBezTo>
                <a:cubicBezTo>
                  <a:pt x="1963856" y="7078176"/>
                  <a:pt x="1913125" y="6938588"/>
                  <a:pt x="1900950" y="6938588"/>
                </a:cubicBezTo>
                <a:cubicBezTo>
                  <a:pt x="1857321" y="6932732"/>
                  <a:pt x="2046040" y="7397372"/>
                  <a:pt x="1900950" y="6968848"/>
                </a:cubicBezTo>
                <a:cubicBezTo>
                  <a:pt x="1907037" y="6987395"/>
                  <a:pt x="1913125" y="7004965"/>
                  <a:pt x="1920227" y="7011798"/>
                </a:cubicBezTo>
                <a:cubicBezTo>
                  <a:pt x="2020675" y="7198240"/>
                  <a:pt x="2089668" y="7403228"/>
                  <a:pt x="2146487" y="7597479"/>
                </a:cubicBezTo>
                <a:cubicBezTo>
                  <a:pt x="2046040" y="7379801"/>
                  <a:pt x="1957768" y="7156266"/>
                  <a:pt x="1850219" y="6932732"/>
                </a:cubicBezTo>
                <a:cubicBezTo>
                  <a:pt x="1749771" y="6726767"/>
                  <a:pt x="1637148" y="6545206"/>
                  <a:pt x="1517424" y="6357788"/>
                </a:cubicBezTo>
                <a:cubicBezTo>
                  <a:pt x="1505248" y="6333385"/>
                  <a:pt x="1479883" y="6303125"/>
                  <a:pt x="1498146" y="6346075"/>
                </a:cubicBezTo>
                <a:cubicBezTo>
                  <a:pt x="1523512" y="6388048"/>
                  <a:pt x="1567140" y="6460282"/>
                  <a:pt x="1586418" y="6490542"/>
                </a:cubicBezTo>
                <a:cubicBezTo>
                  <a:pt x="1787312" y="6823405"/>
                  <a:pt x="1963856" y="7180669"/>
                  <a:pt x="2101843" y="7560386"/>
                </a:cubicBezTo>
                <a:cubicBezTo>
                  <a:pt x="2127209" y="7633596"/>
                  <a:pt x="2164750" y="7718520"/>
                  <a:pt x="2158662" y="7773183"/>
                </a:cubicBezTo>
                <a:cubicBezTo>
                  <a:pt x="2158662" y="7760494"/>
                  <a:pt x="2152575" y="7773183"/>
                  <a:pt x="2158662" y="7773183"/>
                </a:cubicBezTo>
                <a:cubicBezTo>
                  <a:pt x="2164750" y="7809300"/>
                  <a:pt x="2171853" y="7809300"/>
                  <a:pt x="2177941" y="7826871"/>
                </a:cubicBezTo>
                <a:cubicBezTo>
                  <a:pt x="2196203" y="7869821"/>
                  <a:pt x="2203306" y="7905938"/>
                  <a:pt x="2177941" y="7863964"/>
                </a:cubicBezTo>
                <a:cubicBezTo>
                  <a:pt x="2140399" y="7784897"/>
                  <a:pt x="2121121" y="7742923"/>
                  <a:pt x="2095756" y="7669713"/>
                </a:cubicBezTo>
                <a:cubicBezTo>
                  <a:pt x="1995309" y="7433488"/>
                  <a:pt x="1920227" y="7228500"/>
                  <a:pt x="1806590" y="6993252"/>
                </a:cubicBezTo>
                <a:cubicBezTo>
                  <a:pt x="1743684" y="6859521"/>
                  <a:pt x="1686865" y="6762884"/>
                  <a:pt x="1611783" y="6630130"/>
                </a:cubicBezTo>
                <a:cubicBezTo>
                  <a:pt x="1574243" y="6563752"/>
                  <a:pt x="1511336" y="6442712"/>
                  <a:pt x="1460605" y="6369502"/>
                </a:cubicBezTo>
                <a:cubicBezTo>
                  <a:pt x="1460605" y="6363645"/>
                  <a:pt x="1403787" y="6291411"/>
                  <a:pt x="1397699" y="6291411"/>
                </a:cubicBezTo>
                <a:cubicBezTo>
                  <a:pt x="1391611" y="6291411"/>
                  <a:pt x="1410889" y="6327528"/>
                  <a:pt x="1410889" y="6333385"/>
                </a:cubicBezTo>
                <a:cubicBezTo>
                  <a:pt x="1536702" y="6551063"/>
                  <a:pt x="1674690" y="6751171"/>
                  <a:pt x="1781224" y="6974705"/>
                </a:cubicBezTo>
                <a:cubicBezTo>
                  <a:pt x="1882687" y="7174813"/>
                  <a:pt x="1976031" y="7421775"/>
                  <a:pt x="2058215" y="7633596"/>
                </a:cubicBezTo>
                <a:cubicBezTo>
                  <a:pt x="2070390" y="7669713"/>
                  <a:pt x="2089668" y="7718520"/>
                  <a:pt x="2095756" y="7736090"/>
                </a:cubicBezTo>
                <a:cubicBezTo>
                  <a:pt x="2095756" y="7760494"/>
                  <a:pt x="2083581" y="7742923"/>
                  <a:pt x="2083581" y="7760494"/>
                </a:cubicBezTo>
                <a:cubicBezTo>
                  <a:pt x="2083581" y="7760494"/>
                  <a:pt x="2083581" y="7790754"/>
                  <a:pt x="2089668" y="7790754"/>
                </a:cubicBezTo>
                <a:cubicBezTo>
                  <a:pt x="2083581" y="7790754"/>
                  <a:pt x="2052128" y="7730234"/>
                  <a:pt x="2026762" y="7675570"/>
                </a:cubicBezTo>
                <a:cubicBezTo>
                  <a:pt x="2026762" y="7669713"/>
                  <a:pt x="2026762" y="7669713"/>
                  <a:pt x="2032850" y="7669713"/>
                </a:cubicBezTo>
                <a:cubicBezTo>
                  <a:pt x="2026762" y="7669713"/>
                  <a:pt x="2064303" y="7742923"/>
                  <a:pt x="2077493" y="7760494"/>
                </a:cubicBezTo>
                <a:cubicBezTo>
                  <a:pt x="1951680" y="7500841"/>
                  <a:pt x="1983134" y="7578933"/>
                  <a:pt x="2026762" y="7675570"/>
                </a:cubicBezTo>
                <a:lnTo>
                  <a:pt x="2023149" y="7682329"/>
                </a:lnTo>
                <a:lnTo>
                  <a:pt x="2002617" y="7648635"/>
                </a:lnTo>
                <a:cubicBezTo>
                  <a:pt x="1981929" y="7606264"/>
                  <a:pt x="1969944" y="7556482"/>
                  <a:pt x="1951680" y="7506699"/>
                </a:cubicBezTo>
                <a:cubicBezTo>
                  <a:pt x="1818766" y="7204096"/>
                  <a:pt x="1686865" y="6902471"/>
                  <a:pt x="1523512" y="6630130"/>
                </a:cubicBezTo>
                <a:cubicBezTo>
                  <a:pt x="1454517" y="6520803"/>
                  <a:pt x="1385524" y="6412452"/>
                  <a:pt x="1322617" y="6308981"/>
                </a:cubicBezTo>
                <a:cubicBezTo>
                  <a:pt x="1202892" y="6097160"/>
                  <a:pt x="1084182" y="5867769"/>
                  <a:pt x="940106" y="5655947"/>
                </a:cubicBezTo>
                <a:cubicBezTo>
                  <a:pt x="838644" y="5504646"/>
                  <a:pt x="744285" y="5347489"/>
                  <a:pt x="631662" y="5177641"/>
                </a:cubicBezTo>
                <a:cubicBezTo>
                  <a:pt x="606296" y="5141524"/>
                  <a:pt x="580931" y="5092718"/>
                  <a:pt x="555565" y="5056600"/>
                </a:cubicBezTo>
                <a:cubicBezTo>
                  <a:pt x="543390" y="5039030"/>
                  <a:pt x="511937" y="5001937"/>
                  <a:pt x="531215" y="5044887"/>
                </a:cubicBezTo>
                <a:cubicBezTo>
                  <a:pt x="555565" y="5092718"/>
                  <a:pt x="594121" y="5147381"/>
                  <a:pt x="612384" y="5177641"/>
                </a:cubicBezTo>
                <a:cubicBezTo>
                  <a:pt x="718919" y="5341632"/>
                  <a:pt x="807191" y="5486100"/>
                  <a:pt x="901550" y="5637401"/>
                </a:cubicBezTo>
                <a:cubicBezTo>
                  <a:pt x="958369" y="5734038"/>
                  <a:pt x="1040553" y="5837509"/>
                  <a:pt x="1096357" y="5934146"/>
                </a:cubicBezTo>
                <a:cubicBezTo>
                  <a:pt x="1128825" y="5994666"/>
                  <a:pt x="1146073" y="6030783"/>
                  <a:pt x="1183614" y="6097160"/>
                </a:cubicBezTo>
                <a:cubicBezTo>
                  <a:pt x="1202892" y="6134253"/>
                  <a:pt x="1228258" y="6176227"/>
                  <a:pt x="1252608" y="6212344"/>
                </a:cubicBezTo>
                <a:cubicBezTo>
                  <a:pt x="1297251" y="6297268"/>
                  <a:pt x="1246521" y="6225034"/>
                  <a:pt x="1234345" y="6200630"/>
                </a:cubicBezTo>
                <a:cubicBezTo>
                  <a:pt x="1134913" y="6036639"/>
                  <a:pt x="1046641" y="5898028"/>
                  <a:pt x="958369" y="5746728"/>
                </a:cubicBezTo>
                <a:cubicBezTo>
                  <a:pt x="844732" y="5571024"/>
                  <a:pt x="738197" y="5408009"/>
                  <a:pt x="631662" y="5250851"/>
                </a:cubicBezTo>
                <a:cubicBezTo>
                  <a:pt x="524112" y="5081004"/>
                  <a:pt x="411490" y="4935560"/>
                  <a:pt x="303940" y="4759855"/>
                </a:cubicBezTo>
                <a:cubicBezTo>
                  <a:pt x="216683" y="4615388"/>
                  <a:pt x="109133" y="4464087"/>
                  <a:pt x="52315" y="4288383"/>
                </a:cubicBezTo>
                <a:cubicBezTo>
                  <a:pt x="52315" y="4282526"/>
                  <a:pt x="34052" y="4215173"/>
                  <a:pt x="27964" y="4209316"/>
                </a:cubicBezTo>
                <a:cubicBezTo>
                  <a:pt x="21876" y="4209316"/>
                  <a:pt x="27964" y="4269836"/>
                  <a:pt x="34052" y="4282526"/>
                </a:cubicBezTo>
                <a:cubicBezTo>
                  <a:pt x="46227" y="4324500"/>
                  <a:pt x="21876" y="4258122"/>
                  <a:pt x="14774" y="4245433"/>
                </a:cubicBezTo>
                <a:cubicBezTo>
                  <a:pt x="-3489" y="4185888"/>
                  <a:pt x="-10591" y="4027755"/>
                  <a:pt x="27964" y="4003351"/>
                </a:cubicBezTo>
                <a:cubicBezTo>
                  <a:pt x="34052" y="4027755"/>
                  <a:pt x="2599" y="4040445"/>
                  <a:pt x="14774" y="4064848"/>
                </a:cubicBezTo>
                <a:cubicBezTo>
                  <a:pt x="27964" y="4076561"/>
                  <a:pt x="46227" y="3991638"/>
                  <a:pt x="40140" y="3997495"/>
                </a:cubicBezTo>
                <a:cubicBezTo>
                  <a:pt x="40140" y="3991638"/>
                  <a:pt x="65505" y="3991638"/>
                  <a:pt x="71593" y="3991638"/>
                </a:cubicBezTo>
                <a:cubicBezTo>
                  <a:pt x="90871" y="3973091"/>
                  <a:pt x="83768" y="3955521"/>
                  <a:pt x="109133" y="3936974"/>
                </a:cubicBezTo>
                <a:cubicBezTo>
                  <a:pt x="134499" y="3913547"/>
                  <a:pt x="159864" y="3906714"/>
                  <a:pt x="191318" y="3889144"/>
                </a:cubicBezTo>
                <a:cubicBezTo>
                  <a:pt x="209581" y="3876453"/>
                  <a:pt x="222771" y="3858884"/>
                  <a:pt x="234946" y="3853026"/>
                </a:cubicBezTo>
                <a:cubicBezTo>
                  <a:pt x="248136" y="3846193"/>
                  <a:pt x="260312" y="3846193"/>
                  <a:pt x="272487" y="3840337"/>
                </a:cubicBezTo>
                <a:cubicBezTo>
                  <a:pt x="291765" y="3822766"/>
                  <a:pt x="285677" y="3815934"/>
                  <a:pt x="303940" y="3810077"/>
                </a:cubicBezTo>
                <a:cubicBezTo>
                  <a:pt x="303940" y="3810077"/>
                  <a:pt x="285677" y="3834479"/>
                  <a:pt x="291765" y="3840337"/>
                </a:cubicBezTo>
                <a:cubicBezTo>
                  <a:pt x="303940" y="3846193"/>
                  <a:pt x="354672" y="3779817"/>
                  <a:pt x="354672" y="3779817"/>
                </a:cubicBezTo>
                <a:cubicBezTo>
                  <a:pt x="372934" y="3768103"/>
                  <a:pt x="360759" y="3792506"/>
                  <a:pt x="386125" y="3773960"/>
                </a:cubicBezTo>
                <a:cubicBezTo>
                  <a:pt x="398300" y="3761270"/>
                  <a:pt x="392212" y="3743700"/>
                  <a:pt x="417578" y="3731987"/>
                </a:cubicBezTo>
                <a:cubicBezTo>
                  <a:pt x="423665" y="3725153"/>
                  <a:pt x="455118" y="3737843"/>
                  <a:pt x="468308" y="3731987"/>
                </a:cubicBezTo>
                <a:cubicBezTo>
                  <a:pt x="480484" y="3725153"/>
                  <a:pt x="480484" y="3719297"/>
                  <a:pt x="492660" y="3707583"/>
                </a:cubicBezTo>
                <a:cubicBezTo>
                  <a:pt x="518025" y="3683180"/>
                  <a:pt x="531215" y="3683180"/>
                  <a:pt x="555565" y="3664633"/>
                </a:cubicBezTo>
                <a:cubicBezTo>
                  <a:pt x="574843" y="3658776"/>
                  <a:pt x="587019" y="3634373"/>
                  <a:pt x="600209" y="3628516"/>
                </a:cubicBezTo>
                <a:cubicBezTo>
                  <a:pt x="618472" y="3622658"/>
                  <a:pt x="637750" y="3622658"/>
                  <a:pt x="643838" y="3616802"/>
                </a:cubicBezTo>
                <a:cubicBezTo>
                  <a:pt x="649925" y="3610946"/>
                  <a:pt x="657028" y="3592399"/>
                  <a:pt x="663115" y="3586542"/>
                </a:cubicBezTo>
                <a:cubicBezTo>
                  <a:pt x="675291" y="3580685"/>
                  <a:pt x="694569" y="3586542"/>
                  <a:pt x="706744" y="3580685"/>
                </a:cubicBezTo>
                <a:cubicBezTo>
                  <a:pt x="726022" y="3573852"/>
                  <a:pt x="738197" y="3550425"/>
                  <a:pt x="757475" y="3531879"/>
                </a:cubicBezTo>
                <a:cubicBezTo>
                  <a:pt x="763562" y="3531879"/>
                  <a:pt x="775738" y="3537735"/>
                  <a:pt x="782840" y="3531879"/>
                </a:cubicBezTo>
                <a:cubicBezTo>
                  <a:pt x="807191" y="3526022"/>
                  <a:pt x="826469" y="3495762"/>
                  <a:pt x="844732" y="3483072"/>
                </a:cubicBezTo>
                <a:cubicBezTo>
                  <a:pt x="864010" y="3477215"/>
                  <a:pt x="889375" y="3477215"/>
                  <a:pt x="901550" y="3465502"/>
                </a:cubicBezTo>
                <a:cubicBezTo>
                  <a:pt x="908653" y="3465502"/>
                  <a:pt x="914740" y="3435241"/>
                  <a:pt x="920828" y="3429384"/>
                </a:cubicBezTo>
                <a:cubicBezTo>
                  <a:pt x="926916" y="3422552"/>
                  <a:pt x="946194" y="3435241"/>
                  <a:pt x="958369" y="3429384"/>
                </a:cubicBezTo>
                <a:cubicBezTo>
                  <a:pt x="970545" y="3429384"/>
                  <a:pt x="964457" y="3416695"/>
                  <a:pt x="970545" y="3410837"/>
                </a:cubicBezTo>
                <a:cubicBezTo>
                  <a:pt x="977647" y="3410837"/>
                  <a:pt x="989822" y="3410837"/>
                  <a:pt x="995910" y="3404981"/>
                </a:cubicBezTo>
                <a:cubicBezTo>
                  <a:pt x="1003013" y="3399125"/>
                  <a:pt x="1003013" y="3386435"/>
                  <a:pt x="1015188" y="3374721"/>
                </a:cubicBezTo>
                <a:cubicBezTo>
                  <a:pt x="1021275" y="3368864"/>
                  <a:pt x="1034466" y="3368864"/>
                  <a:pt x="1046641" y="3362031"/>
                </a:cubicBezTo>
                <a:cubicBezTo>
                  <a:pt x="1078094" y="3344460"/>
                  <a:pt x="1072006" y="3331772"/>
                  <a:pt x="1103459" y="3320057"/>
                </a:cubicBezTo>
                <a:cubicBezTo>
                  <a:pt x="1109547" y="3320057"/>
                  <a:pt x="1115635" y="3308343"/>
                  <a:pt x="1121723" y="3301511"/>
                </a:cubicBezTo>
                <a:cubicBezTo>
                  <a:pt x="1141001" y="3295654"/>
                  <a:pt x="1171439" y="3295654"/>
                  <a:pt x="1183614" y="3289797"/>
                </a:cubicBezTo>
                <a:cubicBezTo>
                  <a:pt x="1183614" y="3289797"/>
                  <a:pt x="1180571" y="3288333"/>
                  <a:pt x="1176766" y="3287601"/>
                </a:cubicBezTo>
                <a:lnTo>
                  <a:pt x="1172822" y="3287420"/>
                </a:lnTo>
                <a:lnTo>
                  <a:pt x="1181459" y="3284673"/>
                </a:lnTo>
                <a:cubicBezTo>
                  <a:pt x="1186912" y="3283940"/>
                  <a:pt x="1193253" y="3283940"/>
                  <a:pt x="1202892" y="3283940"/>
                </a:cubicBezTo>
                <a:cubicBezTo>
                  <a:pt x="1221155" y="3271250"/>
                  <a:pt x="1221155" y="3247824"/>
                  <a:pt x="1246521" y="3229277"/>
                </a:cubicBezTo>
                <a:cubicBezTo>
                  <a:pt x="1252608" y="3223420"/>
                  <a:pt x="1271886" y="3217564"/>
                  <a:pt x="1291164" y="3210730"/>
                </a:cubicBezTo>
                <a:cubicBezTo>
                  <a:pt x="1303339" y="3199017"/>
                  <a:pt x="1315515" y="3187304"/>
                  <a:pt x="1322617" y="3180470"/>
                </a:cubicBezTo>
                <a:cubicBezTo>
                  <a:pt x="1340880" y="3168757"/>
                  <a:pt x="1346968" y="3180470"/>
                  <a:pt x="1360158" y="3174614"/>
                </a:cubicBezTo>
                <a:cubicBezTo>
                  <a:pt x="1372334" y="3168757"/>
                  <a:pt x="1372334" y="3157043"/>
                  <a:pt x="1379436" y="3150211"/>
                </a:cubicBezTo>
                <a:cubicBezTo>
                  <a:pt x="1397699" y="3138496"/>
                  <a:pt x="1416977" y="3144353"/>
                  <a:pt x="1416977" y="3144353"/>
                </a:cubicBezTo>
                <a:cubicBezTo>
                  <a:pt x="1416977" y="3144353"/>
                  <a:pt x="1397699" y="3126783"/>
                  <a:pt x="1416977" y="3119951"/>
                </a:cubicBezTo>
                <a:cubicBezTo>
                  <a:pt x="1423064" y="3114093"/>
                  <a:pt x="1435240" y="3119951"/>
                  <a:pt x="1441327" y="3119951"/>
                </a:cubicBezTo>
                <a:cubicBezTo>
                  <a:pt x="1454517" y="3114093"/>
                  <a:pt x="1454517" y="3096522"/>
                  <a:pt x="1466693" y="3090666"/>
                </a:cubicBezTo>
                <a:cubicBezTo>
                  <a:pt x="1492058" y="3077976"/>
                  <a:pt x="1523512" y="3083833"/>
                  <a:pt x="1536702" y="3072119"/>
                </a:cubicBezTo>
                <a:cubicBezTo>
                  <a:pt x="1548877" y="3059429"/>
                  <a:pt x="1548877" y="3023313"/>
                  <a:pt x="1554965" y="3017456"/>
                </a:cubicBezTo>
                <a:cubicBezTo>
                  <a:pt x="1561053" y="3017456"/>
                  <a:pt x="1668602" y="3017456"/>
                  <a:pt x="1674690" y="3017456"/>
                </a:cubicBezTo>
                <a:cubicBezTo>
                  <a:pt x="1674690" y="3017456"/>
                  <a:pt x="1692953" y="3029169"/>
                  <a:pt x="1700055" y="3023313"/>
                </a:cubicBezTo>
                <a:cubicBezTo>
                  <a:pt x="1700055" y="3017456"/>
                  <a:pt x="1680778" y="3011599"/>
                  <a:pt x="1668602" y="3011599"/>
                </a:cubicBezTo>
                <a:cubicBezTo>
                  <a:pt x="1762961" y="2998909"/>
                  <a:pt x="1857321" y="3083833"/>
                  <a:pt x="1932403" y="3102379"/>
                </a:cubicBezTo>
                <a:cubicBezTo>
                  <a:pt x="1938490" y="3126783"/>
                  <a:pt x="1963856" y="3102379"/>
                  <a:pt x="1932403" y="3102379"/>
                </a:cubicBezTo>
                <a:cubicBezTo>
                  <a:pt x="1932403" y="3096522"/>
                  <a:pt x="1926315" y="3096522"/>
                  <a:pt x="1926315" y="3090666"/>
                </a:cubicBezTo>
                <a:cubicBezTo>
                  <a:pt x="2001397" y="3126783"/>
                  <a:pt x="2077493" y="3168757"/>
                  <a:pt x="2152575" y="3204873"/>
                </a:cubicBezTo>
                <a:cubicBezTo>
                  <a:pt x="2158662" y="3223420"/>
                  <a:pt x="2184028" y="3199017"/>
                  <a:pt x="2152575" y="3204873"/>
                </a:cubicBezTo>
                <a:cubicBezTo>
                  <a:pt x="2140399" y="3180470"/>
                  <a:pt x="2115034" y="3180470"/>
                  <a:pt x="2101843" y="3162900"/>
                </a:cubicBezTo>
                <a:cubicBezTo>
                  <a:pt x="2127209" y="3144353"/>
                  <a:pt x="2158662" y="3204873"/>
                  <a:pt x="2177941" y="3199017"/>
                </a:cubicBezTo>
                <a:cubicBezTo>
                  <a:pt x="2203306" y="3193160"/>
                  <a:pt x="2164750" y="3180470"/>
                  <a:pt x="2158662" y="3157043"/>
                </a:cubicBezTo>
                <a:lnTo>
                  <a:pt x="2177941" y="3157043"/>
                </a:lnTo>
                <a:cubicBezTo>
                  <a:pt x="2190115" y="3150211"/>
                  <a:pt x="2164750" y="3119951"/>
                  <a:pt x="2158662" y="3114093"/>
                </a:cubicBezTo>
                <a:cubicBezTo>
                  <a:pt x="2158662" y="3108237"/>
                  <a:pt x="2164750" y="3102379"/>
                  <a:pt x="2164750" y="3096522"/>
                </a:cubicBezTo>
                <a:cubicBezTo>
                  <a:pt x="2171853" y="3083833"/>
                  <a:pt x="2171853" y="3072119"/>
                  <a:pt x="2164750" y="3059429"/>
                </a:cubicBezTo>
                <a:cubicBezTo>
                  <a:pt x="2158662" y="2987196"/>
                  <a:pt x="2146487" y="2932532"/>
                  <a:pt x="2133297" y="2860298"/>
                </a:cubicBezTo>
                <a:cubicBezTo>
                  <a:pt x="2095756" y="2696307"/>
                  <a:pt x="2070390" y="2508889"/>
                  <a:pt x="2038937" y="2340018"/>
                </a:cubicBezTo>
                <a:cubicBezTo>
                  <a:pt x="2020675" y="2249237"/>
                  <a:pt x="2014587" y="2152600"/>
                  <a:pt x="1995309" y="2073533"/>
                </a:cubicBezTo>
                <a:cubicBezTo>
                  <a:pt x="1983134" y="2043273"/>
                  <a:pt x="1963856" y="2018870"/>
                  <a:pt x="1957768" y="1988610"/>
                </a:cubicBezTo>
                <a:cubicBezTo>
                  <a:pt x="1932403" y="1910519"/>
                  <a:pt x="1932403" y="1801192"/>
                  <a:pt x="1920227" y="1698698"/>
                </a:cubicBezTo>
                <a:cubicBezTo>
                  <a:pt x="1894862" y="1528850"/>
                  <a:pt x="1875584" y="1347289"/>
                  <a:pt x="1863409" y="1178418"/>
                </a:cubicBezTo>
                <a:cubicBezTo>
                  <a:pt x="1857321" y="1093494"/>
                  <a:pt x="1844131" y="1026141"/>
                  <a:pt x="1875584" y="972453"/>
                </a:cubicBezTo>
                <a:cubicBezTo>
                  <a:pt x="1888774" y="948050"/>
                  <a:pt x="1869497" y="959764"/>
                  <a:pt x="1900950" y="942193"/>
                </a:cubicBezTo>
                <a:cubicBezTo>
                  <a:pt x="1920227" y="929503"/>
                  <a:pt x="1932403" y="911932"/>
                  <a:pt x="1944578" y="899243"/>
                </a:cubicBezTo>
                <a:cubicBezTo>
                  <a:pt x="1951680" y="893386"/>
                  <a:pt x="1944578" y="881672"/>
                  <a:pt x="1951680" y="875816"/>
                </a:cubicBezTo>
                <a:cubicBezTo>
                  <a:pt x="1957768" y="875816"/>
                  <a:pt x="1969944" y="887530"/>
                  <a:pt x="1976031" y="881672"/>
                </a:cubicBezTo>
                <a:cubicBezTo>
                  <a:pt x="1989221" y="881672"/>
                  <a:pt x="1976031" y="868983"/>
                  <a:pt x="1989221" y="863126"/>
                </a:cubicBezTo>
                <a:cubicBezTo>
                  <a:pt x="1989221" y="857269"/>
                  <a:pt x="2008499" y="838722"/>
                  <a:pt x="2008499" y="838722"/>
                </a:cubicBezTo>
                <a:cubicBezTo>
                  <a:pt x="2032850" y="832866"/>
                  <a:pt x="2014587" y="863126"/>
                  <a:pt x="2032850" y="863126"/>
                </a:cubicBezTo>
                <a:cubicBezTo>
                  <a:pt x="2052128" y="857269"/>
                  <a:pt x="2038937" y="821152"/>
                  <a:pt x="2058215" y="821152"/>
                </a:cubicBezTo>
                <a:cubicBezTo>
                  <a:pt x="2070390" y="814319"/>
                  <a:pt x="2095756" y="832866"/>
                  <a:pt x="2095756" y="838722"/>
                </a:cubicBezTo>
                <a:cubicBezTo>
                  <a:pt x="2101843" y="827009"/>
                  <a:pt x="2083581" y="790892"/>
                  <a:pt x="2089668" y="790892"/>
                </a:cubicBezTo>
                <a:cubicBezTo>
                  <a:pt x="2115034" y="790892"/>
                  <a:pt x="2095756" y="832866"/>
                  <a:pt x="2115034" y="838722"/>
                </a:cubicBezTo>
                <a:cubicBezTo>
                  <a:pt x="2115034" y="838722"/>
                  <a:pt x="2158662" y="802605"/>
                  <a:pt x="2152575" y="814319"/>
                </a:cubicBezTo>
                <a:cubicBezTo>
                  <a:pt x="2164750" y="796749"/>
                  <a:pt x="2146487" y="785035"/>
                  <a:pt x="2158662" y="778203"/>
                </a:cubicBezTo>
                <a:cubicBezTo>
                  <a:pt x="2171853" y="772345"/>
                  <a:pt x="2196203" y="778203"/>
                  <a:pt x="2196203" y="785035"/>
                </a:cubicBezTo>
                <a:cubicBezTo>
                  <a:pt x="2196203" y="778203"/>
                  <a:pt x="2203306" y="736229"/>
                  <a:pt x="2190115" y="742085"/>
                </a:cubicBezTo>
                <a:cubicBezTo>
                  <a:pt x="2215481" y="724515"/>
                  <a:pt x="2215481" y="747942"/>
                  <a:pt x="2227656" y="747942"/>
                </a:cubicBezTo>
                <a:cubicBezTo>
                  <a:pt x="2246935" y="742085"/>
                  <a:pt x="2253021" y="724515"/>
                  <a:pt x="2266212" y="717682"/>
                </a:cubicBezTo>
                <a:cubicBezTo>
                  <a:pt x="2278388" y="711825"/>
                  <a:pt x="2290563" y="724515"/>
                  <a:pt x="2290563" y="724515"/>
                </a:cubicBezTo>
                <a:cubicBezTo>
                  <a:pt x="2315928" y="717682"/>
                  <a:pt x="2303753" y="694255"/>
                  <a:pt x="2322016" y="730372"/>
                </a:cubicBezTo>
                <a:cubicBezTo>
                  <a:pt x="2384922" y="832866"/>
                  <a:pt x="2309840" y="603474"/>
                  <a:pt x="2384922" y="626902"/>
                </a:cubicBezTo>
                <a:cubicBezTo>
                  <a:pt x="2378835" y="584927"/>
                  <a:pt x="2447829" y="639591"/>
                  <a:pt x="2447829" y="639591"/>
                </a:cubicBezTo>
                <a:cubicBezTo>
                  <a:pt x="2479283" y="609331"/>
                  <a:pt x="2416377" y="596641"/>
                  <a:pt x="2447829" y="590784"/>
                </a:cubicBezTo>
                <a:cubicBezTo>
                  <a:pt x="2510735" y="579071"/>
                  <a:pt x="2504648" y="687422"/>
                  <a:pt x="2530013" y="687422"/>
                </a:cubicBezTo>
                <a:cubicBezTo>
                  <a:pt x="2555379" y="687422"/>
                  <a:pt x="2530013" y="651305"/>
                  <a:pt x="2542187" y="633734"/>
                </a:cubicBezTo>
                <a:lnTo>
                  <a:pt x="2561465" y="639591"/>
                </a:lnTo>
                <a:cubicBezTo>
                  <a:pt x="2561465" y="626902"/>
                  <a:pt x="2536100" y="560524"/>
                  <a:pt x="2536100" y="554667"/>
                </a:cubicBezTo>
                <a:cubicBezTo>
                  <a:pt x="2504648" y="469744"/>
                  <a:pt x="2592919" y="579071"/>
                  <a:pt x="2592919" y="579071"/>
                </a:cubicBezTo>
                <a:cubicBezTo>
                  <a:pt x="2605095" y="573214"/>
                  <a:pt x="2579729" y="500004"/>
                  <a:pt x="2612197" y="488290"/>
                </a:cubicBezTo>
                <a:cubicBezTo>
                  <a:pt x="2630461" y="482434"/>
                  <a:pt x="2681191" y="548811"/>
                  <a:pt x="2668000" y="500004"/>
                </a:cubicBezTo>
                <a:cubicBezTo>
                  <a:pt x="2655826" y="469744"/>
                  <a:pt x="2661913" y="488290"/>
                  <a:pt x="2687278" y="475600"/>
                </a:cubicBezTo>
                <a:cubicBezTo>
                  <a:pt x="2693366" y="469744"/>
                  <a:pt x="2705542" y="427770"/>
                  <a:pt x="2699454" y="433626"/>
                </a:cubicBezTo>
                <a:lnTo>
                  <a:pt x="2712645" y="427770"/>
                </a:lnTo>
                <a:cubicBezTo>
                  <a:pt x="2769462" y="415081"/>
                  <a:pt x="2699454" y="415081"/>
                  <a:pt x="2724819" y="391653"/>
                </a:cubicBezTo>
                <a:cubicBezTo>
                  <a:pt x="2730908" y="384820"/>
                  <a:pt x="2744097" y="409223"/>
                  <a:pt x="2769462" y="391653"/>
                </a:cubicBezTo>
                <a:cubicBezTo>
                  <a:pt x="2781639" y="384820"/>
                  <a:pt x="2762361" y="373106"/>
                  <a:pt x="2769462" y="367249"/>
                </a:cubicBezTo>
                <a:cubicBezTo>
                  <a:pt x="2762361" y="367249"/>
                  <a:pt x="2800916" y="367249"/>
                  <a:pt x="2793813" y="361392"/>
                </a:cubicBezTo>
                <a:cubicBezTo>
                  <a:pt x="2819179" y="373106"/>
                  <a:pt x="2831355" y="427770"/>
                  <a:pt x="2844544" y="445340"/>
                </a:cubicBezTo>
                <a:cubicBezTo>
                  <a:pt x="2856721" y="463887"/>
                  <a:pt x="2882085" y="482434"/>
                  <a:pt x="2895275" y="505861"/>
                </a:cubicBezTo>
                <a:cubicBezTo>
                  <a:pt x="2919625" y="554667"/>
                  <a:pt x="2926729" y="626902"/>
                  <a:pt x="2938904" y="705968"/>
                </a:cubicBezTo>
                <a:cubicBezTo>
                  <a:pt x="2944992" y="772345"/>
                  <a:pt x="2957167" y="851413"/>
                  <a:pt x="2970357" y="917790"/>
                </a:cubicBezTo>
                <a:cubicBezTo>
                  <a:pt x="3007898" y="1195988"/>
                  <a:pt x="3051526" y="1468330"/>
                  <a:pt x="3096170" y="1704554"/>
                </a:cubicBezTo>
                <a:cubicBezTo>
                  <a:pt x="3152988" y="1988610"/>
                  <a:pt x="3202705" y="2309758"/>
                  <a:pt x="3253435" y="2582099"/>
                </a:cubicBezTo>
                <a:cubicBezTo>
                  <a:pt x="3259523" y="2612359"/>
                  <a:pt x="3253435" y="2575266"/>
                  <a:pt x="3259523" y="2624073"/>
                </a:cubicBezTo>
                <a:cubicBezTo>
                  <a:pt x="3272713" y="2708997"/>
                  <a:pt x="3272713" y="2624073"/>
                  <a:pt x="3265611" y="2599670"/>
                </a:cubicBezTo>
                <a:cubicBezTo>
                  <a:pt x="3247348" y="2448369"/>
                  <a:pt x="3202705" y="2224834"/>
                  <a:pt x="3177339" y="2115507"/>
                </a:cubicBezTo>
                <a:cubicBezTo>
                  <a:pt x="3133711" y="1897829"/>
                  <a:pt x="3115447" y="1728957"/>
                  <a:pt x="3082980" y="1559111"/>
                </a:cubicBezTo>
                <a:cubicBezTo>
                  <a:pt x="3058630" y="1389262"/>
                  <a:pt x="3027177" y="1195988"/>
                  <a:pt x="2995722" y="990024"/>
                </a:cubicBezTo>
                <a:cubicBezTo>
                  <a:pt x="2976445" y="863126"/>
                  <a:pt x="2964270" y="694255"/>
                  <a:pt x="2932817" y="573214"/>
                </a:cubicBezTo>
                <a:cubicBezTo>
                  <a:pt x="2919625" y="536121"/>
                  <a:pt x="2882085" y="433626"/>
                  <a:pt x="2901364" y="458030"/>
                </a:cubicBezTo>
                <a:cubicBezTo>
                  <a:pt x="2926729" y="494147"/>
                  <a:pt x="2895275" y="433626"/>
                  <a:pt x="2901364" y="433626"/>
                </a:cubicBezTo>
                <a:cubicBezTo>
                  <a:pt x="2888173" y="409223"/>
                  <a:pt x="2844544" y="342846"/>
                  <a:pt x="2856721" y="318443"/>
                </a:cubicBezTo>
                <a:cubicBezTo>
                  <a:pt x="2863823" y="294039"/>
                  <a:pt x="2875997" y="336989"/>
                  <a:pt x="2895275" y="312586"/>
                </a:cubicBezTo>
                <a:cubicBezTo>
                  <a:pt x="2895275" y="306730"/>
                  <a:pt x="2882085" y="294039"/>
                  <a:pt x="2888173" y="288183"/>
                </a:cubicBezTo>
                <a:cubicBezTo>
                  <a:pt x="2907452" y="276469"/>
                  <a:pt x="2888173" y="312586"/>
                  <a:pt x="2913539" y="300873"/>
                </a:cubicBezTo>
                <a:cubicBezTo>
                  <a:pt x="2913539" y="300873"/>
                  <a:pt x="2919625" y="282326"/>
                  <a:pt x="2913539" y="282326"/>
                </a:cubicBezTo>
                <a:cubicBezTo>
                  <a:pt x="2919625" y="282326"/>
                  <a:pt x="2919625" y="282326"/>
                  <a:pt x="2938904" y="288183"/>
                </a:cubicBezTo>
                <a:cubicBezTo>
                  <a:pt x="3001810" y="331133"/>
                  <a:pt x="2938904" y="282326"/>
                  <a:pt x="2957167" y="252066"/>
                </a:cubicBezTo>
                <a:cubicBezTo>
                  <a:pt x="2957167" y="252066"/>
                  <a:pt x="2976445" y="257922"/>
                  <a:pt x="2982533" y="257922"/>
                </a:cubicBezTo>
                <a:cubicBezTo>
                  <a:pt x="2995722" y="257922"/>
                  <a:pt x="3001810" y="233519"/>
                  <a:pt x="3007898" y="221805"/>
                </a:cubicBezTo>
                <a:cubicBezTo>
                  <a:pt x="3013986" y="215949"/>
                  <a:pt x="3027177" y="215949"/>
                  <a:pt x="3033265" y="210092"/>
                </a:cubicBezTo>
                <a:cubicBezTo>
                  <a:pt x="3045438" y="203259"/>
                  <a:pt x="3058630" y="185688"/>
                  <a:pt x="3076892" y="172999"/>
                </a:cubicBezTo>
                <a:cubicBezTo>
                  <a:pt x="3076892" y="179832"/>
                  <a:pt x="3082980" y="197402"/>
                  <a:pt x="3090083" y="191545"/>
                </a:cubicBezTo>
                <a:cubicBezTo>
                  <a:pt x="3108345" y="191545"/>
                  <a:pt x="3096170" y="172999"/>
                  <a:pt x="3121535" y="155428"/>
                </a:cubicBezTo>
                <a:cubicBezTo>
                  <a:pt x="3146900" y="143715"/>
                  <a:pt x="3152988" y="149572"/>
                  <a:pt x="3152988" y="155428"/>
                </a:cubicBezTo>
                <a:cubicBezTo>
                  <a:pt x="3152988" y="155428"/>
                  <a:pt x="3152988" y="149572"/>
                  <a:pt x="3146900" y="136881"/>
                </a:cubicBezTo>
                <a:cubicBezTo>
                  <a:pt x="3127623" y="94908"/>
                  <a:pt x="3196616" y="149572"/>
                  <a:pt x="3196616" y="143715"/>
                </a:cubicBezTo>
                <a:cubicBezTo>
                  <a:pt x="3196616" y="143715"/>
                  <a:pt x="3208793" y="100765"/>
                  <a:pt x="3202705" y="100765"/>
                </a:cubicBezTo>
                <a:cubicBezTo>
                  <a:pt x="3208793" y="94908"/>
                  <a:pt x="3221981" y="100765"/>
                  <a:pt x="3228070" y="94908"/>
                </a:cubicBezTo>
                <a:cubicBezTo>
                  <a:pt x="3234158" y="94908"/>
                  <a:pt x="3247348" y="76362"/>
                  <a:pt x="3241260" y="76362"/>
                </a:cubicBezTo>
                <a:close/>
                <a:moveTo>
                  <a:pt x="3332158" y="55281"/>
                </a:moveTo>
                <a:cubicBezTo>
                  <a:pt x="3333769" y="55173"/>
                  <a:pt x="3335723" y="56038"/>
                  <a:pt x="3337855" y="57617"/>
                </a:cubicBezTo>
                <a:cubicBezTo>
                  <a:pt x="3350649" y="67088"/>
                  <a:pt x="3369863" y="102229"/>
                  <a:pt x="3359971" y="106622"/>
                </a:cubicBezTo>
                <a:cubicBezTo>
                  <a:pt x="3353883" y="119311"/>
                  <a:pt x="3328518" y="58791"/>
                  <a:pt x="3328518" y="58791"/>
                </a:cubicBezTo>
                <a:cubicBezTo>
                  <a:pt x="3329278" y="56473"/>
                  <a:pt x="3330547" y="55390"/>
                  <a:pt x="3332158" y="55281"/>
                </a:cubicBezTo>
                <a:close/>
                <a:moveTo>
                  <a:pt x="3458166" y="40"/>
                </a:moveTo>
                <a:cubicBezTo>
                  <a:pt x="3475193" y="955"/>
                  <a:pt x="3479948" y="17793"/>
                  <a:pt x="3498973" y="58791"/>
                </a:cubicBezTo>
                <a:cubicBezTo>
                  <a:pt x="3511149" y="89051"/>
                  <a:pt x="3542602" y="161285"/>
                  <a:pt x="3492885" y="172999"/>
                </a:cubicBezTo>
                <a:cubicBezTo>
                  <a:pt x="3454331" y="185688"/>
                  <a:pt x="3485784" y="155428"/>
                  <a:pt x="3460419" y="143715"/>
                </a:cubicBezTo>
                <a:cubicBezTo>
                  <a:pt x="3442155" y="136881"/>
                  <a:pt x="3428964" y="155428"/>
                  <a:pt x="3416789" y="149572"/>
                </a:cubicBezTo>
                <a:cubicBezTo>
                  <a:pt x="3416789" y="149572"/>
                  <a:pt x="3385336" y="131025"/>
                  <a:pt x="3385336" y="113454"/>
                </a:cubicBezTo>
                <a:cubicBezTo>
                  <a:pt x="3385336" y="89051"/>
                  <a:pt x="3404614" y="106622"/>
                  <a:pt x="3379248" y="64647"/>
                </a:cubicBezTo>
                <a:cubicBezTo>
                  <a:pt x="3367073" y="46101"/>
                  <a:pt x="3347794" y="22674"/>
                  <a:pt x="3404614" y="28531"/>
                </a:cubicBezTo>
                <a:cubicBezTo>
                  <a:pt x="3416789" y="28531"/>
                  <a:pt x="3436068" y="40244"/>
                  <a:pt x="3442155" y="40244"/>
                </a:cubicBezTo>
                <a:cubicBezTo>
                  <a:pt x="3442155" y="34388"/>
                  <a:pt x="3442155" y="-1730"/>
                  <a:pt x="3436068" y="4128"/>
                </a:cubicBezTo>
                <a:cubicBezTo>
                  <a:pt x="3445453" y="1199"/>
                  <a:pt x="3452492" y="-265"/>
                  <a:pt x="3458166" y="4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8" name="TextBox 7"/>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10" name="TextBox 9"/>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Tree>
    <p:extLst>
      <p:ext uri="{BB962C8B-B14F-4D97-AF65-F5344CB8AC3E}">
        <p14:creationId xmlns:p14="http://schemas.microsoft.com/office/powerpoint/2010/main" val="262241750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Inhaltsplatzhalter 1"/>
          <p:cNvSpPr>
            <a:spLocks noGrp="1"/>
          </p:cNvSpPr>
          <p:nvPr>
            <p:ph idx="1"/>
          </p:nvPr>
        </p:nvSpPr>
        <p:spPr bwMode="gray">
          <a:xfrm>
            <a:off x="480001" y="1152001"/>
            <a:ext cx="3600000" cy="504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2"/>
          <p:cNvSpPr>
            <a:spLocks noGrp="1"/>
          </p:cNvSpPr>
          <p:nvPr>
            <p:ph idx="13"/>
          </p:nvPr>
        </p:nvSpPr>
        <p:spPr bwMode="gray">
          <a:xfrm>
            <a:off x="4296003" y="1152001"/>
            <a:ext cx="3600000" cy="504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Inhaltsplatzhalter 3"/>
          <p:cNvSpPr>
            <a:spLocks noGrp="1"/>
          </p:cNvSpPr>
          <p:nvPr>
            <p:ph sz="quarter" idx="14"/>
          </p:nvPr>
        </p:nvSpPr>
        <p:spPr>
          <a:xfrm>
            <a:off x="8112003" y="1152001"/>
            <a:ext cx="3600000" cy="504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330382335"/>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3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11" name="Picture Placeholder 187"/>
          <p:cNvSpPr>
            <a:spLocks noGrp="1"/>
          </p:cNvSpPr>
          <p:nvPr>
            <p:ph type="pic" sz="quarter" idx="10"/>
          </p:nvPr>
        </p:nvSpPr>
        <p:spPr>
          <a:xfrm>
            <a:off x="788057" y="1027994"/>
            <a:ext cx="5380459" cy="4981532"/>
          </a:xfrm>
          <a:custGeom>
            <a:avLst/>
            <a:gdLst>
              <a:gd name="connsiteX0" fmla="*/ 2421121 w 5380459"/>
              <a:gd name="connsiteY0" fmla="*/ 4838979 h 4981532"/>
              <a:gd name="connsiteX1" fmla="*/ 2468634 w 5380459"/>
              <a:gd name="connsiteY1" fmla="*/ 4884851 h 4981532"/>
              <a:gd name="connsiteX2" fmla="*/ 2421121 w 5380459"/>
              <a:gd name="connsiteY2" fmla="*/ 4838979 h 4981532"/>
              <a:gd name="connsiteX3" fmla="*/ 3671328 w 5380459"/>
              <a:gd name="connsiteY3" fmla="*/ 4821706 h 4981532"/>
              <a:gd name="connsiteX4" fmla="*/ 3669609 w 5380459"/>
              <a:gd name="connsiteY4" fmla="*/ 4845465 h 4981532"/>
              <a:gd name="connsiteX5" fmla="*/ 3684550 w 5380459"/>
              <a:gd name="connsiteY5" fmla="*/ 4822487 h 4981532"/>
              <a:gd name="connsiteX6" fmla="*/ 3671328 w 5380459"/>
              <a:gd name="connsiteY6" fmla="*/ 4821706 h 4981532"/>
              <a:gd name="connsiteX7" fmla="*/ 2938749 w 5380459"/>
              <a:gd name="connsiteY7" fmla="*/ 4745522 h 4981532"/>
              <a:gd name="connsiteX8" fmla="*/ 2899574 w 5380459"/>
              <a:gd name="connsiteY8" fmla="*/ 4783447 h 4981532"/>
              <a:gd name="connsiteX9" fmla="*/ 2938749 w 5380459"/>
              <a:gd name="connsiteY9" fmla="*/ 4745522 h 4981532"/>
              <a:gd name="connsiteX10" fmla="*/ 3825388 w 5380459"/>
              <a:gd name="connsiteY10" fmla="*/ 4527986 h 4981532"/>
              <a:gd name="connsiteX11" fmla="*/ 3787355 w 5380459"/>
              <a:gd name="connsiteY11" fmla="*/ 4574920 h 4981532"/>
              <a:gd name="connsiteX12" fmla="*/ 3825388 w 5380459"/>
              <a:gd name="connsiteY12" fmla="*/ 4527986 h 4981532"/>
              <a:gd name="connsiteX13" fmla="*/ 2012310 w 5380459"/>
              <a:gd name="connsiteY13" fmla="*/ 4481846 h 4981532"/>
              <a:gd name="connsiteX14" fmla="*/ 1989281 w 5380459"/>
              <a:gd name="connsiteY14" fmla="*/ 4496702 h 4981532"/>
              <a:gd name="connsiteX15" fmla="*/ 2012310 w 5380459"/>
              <a:gd name="connsiteY15" fmla="*/ 4481846 h 4981532"/>
              <a:gd name="connsiteX16" fmla="*/ 1283231 w 5380459"/>
              <a:gd name="connsiteY16" fmla="*/ 4341374 h 4981532"/>
              <a:gd name="connsiteX17" fmla="*/ 1314463 w 5380459"/>
              <a:gd name="connsiteY17" fmla="*/ 4349477 h 4981532"/>
              <a:gd name="connsiteX18" fmla="*/ 1573818 w 5380459"/>
              <a:gd name="connsiteY18" fmla="*/ 4488577 h 4981532"/>
              <a:gd name="connsiteX19" fmla="*/ 1831815 w 5380459"/>
              <a:gd name="connsiteY19" fmla="*/ 4666841 h 4981532"/>
              <a:gd name="connsiteX20" fmla="*/ 2068086 w 5380459"/>
              <a:gd name="connsiteY20" fmla="*/ 4768128 h 4981532"/>
              <a:gd name="connsiteX21" fmla="*/ 2076233 w 5380459"/>
              <a:gd name="connsiteY21" fmla="*/ 4830250 h 4981532"/>
              <a:gd name="connsiteX22" fmla="*/ 1777500 w 5380459"/>
              <a:gd name="connsiteY22" fmla="*/ 4753273 h 4981532"/>
              <a:gd name="connsiteX23" fmla="*/ 1573818 w 5380459"/>
              <a:gd name="connsiteY23" fmla="*/ 4629028 h 4981532"/>
              <a:gd name="connsiteX24" fmla="*/ 1439388 w 5380459"/>
              <a:gd name="connsiteY24" fmla="*/ 4566905 h 4981532"/>
              <a:gd name="connsiteX25" fmla="*/ 1337547 w 5380459"/>
              <a:gd name="connsiteY25" fmla="*/ 4411600 h 4981532"/>
              <a:gd name="connsiteX26" fmla="*/ 1283231 w 5380459"/>
              <a:gd name="connsiteY26" fmla="*/ 4341374 h 4981532"/>
              <a:gd name="connsiteX27" fmla="*/ 3991665 w 5380459"/>
              <a:gd name="connsiteY27" fmla="*/ 4318358 h 4981532"/>
              <a:gd name="connsiteX28" fmla="*/ 3896544 w 5380459"/>
              <a:gd name="connsiteY28" fmla="*/ 4334533 h 4981532"/>
              <a:gd name="connsiteX29" fmla="*/ 3944104 w 5380459"/>
              <a:gd name="connsiteY29" fmla="*/ 4372274 h 4981532"/>
              <a:gd name="connsiteX30" fmla="*/ 3991665 w 5380459"/>
              <a:gd name="connsiteY30" fmla="*/ 4318358 h 4981532"/>
              <a:gd name="connsiteX31" fmla="*/ 1386373 w 5380459"/>
              <a:gd name="connsiteY31" fmla="*/ 4232557 h 4981532"/>
              <a:gd name="connsiteX32" fmla="*/ 1424792 w 5380459"/>
              <a:gd name="connsiteY32" fmla="*/ 4287142 h 4981532"/>
              <a:gd name="connsiteX33" fmla="*/ 1362268 w 5380459"/>
              <a:gd name="connsiteY33" fmla="*/ 4232854 h 4981532"/>
              <a:gd name="connsiteX34" fmla="*/ 1386373 w 5380459"/>
              <a:gd name="connsiteY34" fmla="*/ 4232557 h 4981532"/>
              <a:gd name="connsiteX35" fmla="*/ 3865049 w 5380459"/>
              <a:gd name="connsiteY35" fmla="*/ 4070746 h 4981532"/>
              <a:gd name="connsiteX36" fmla="*/ 3833676 w 5380459"/>
              <a:gd name="connsiteY36" fmla="*/ 4101748 h 4981532"/>
              <a:gd name="connsiteX37" fmla="*/ 3865049 w 5380459"/>
              <a:gd name="connsiteY37" fmla="*/ 4070746 h 4981532"/>
              <a:gd name="connsiteX38" fmla="*/ 1683756 w 5380459"/>
              <a:gd name="connsiteY38" fmla="*/ 4046143 h 4981532"/>
              <a:gd name="connsiteX39" fmla="*/ 1721868 w 5380459"/>
              <a:gd name="connsiteY39" fmla="*/ 4193767 h 4981532"/>
              <a:gd name="connsiteX40" fmla="*/ 1879760 w 5380459"/>
              <a:gd name="connsiteY40" fmla="*/ 4256067 h 4981532"/>
              <a:gd name="connsiteX41" fmla="*/ 1683756 w 5380459"/>
              <a:gd name="connsiteY41" fmla="*/ 4046143 h 4981532"/>
              <a:gd name="connsiteX42" fmla="*/ 4367789 w 5380459"/>
              <a:gd name="connsiteY42" fmla="*/ 3938210 h 4981532"/>
              <a:gd name="connsiteX43" fmla="*/ 4336547 w 5380459"/>
              <a:gd name="connsiteY43" fmla="*/ 4070746 h 4981532"/>
              <a:gd name="connsiteX44" fmla="*/ 4367789 w 5380459"/>
              <a:gd name="connsiteY44" fmla="*/ 3954439 h 4981532"/>
              <a:gd name="connsiteX45" fmla="*/ 4367789 w 5380459"/>
              <a:gd name="connsiteY45" fmla="*/ 3938210 h 4981532"/>
              <a:gd name="connsiteX46" fmla="*/ 4572545 w 5380459"/>
              <a:gd name="connsiteY46" fmla="*/ 3923131 h 4981532"/>
              <a:gd name="connsiteX47" fmla="*/ 4486039 w 5380459"/>
              <a:gd name="connsiteY47" fmla="*/ 4015192 h 4981532"/>
              <a:gd name="connsiteX48" fmla="*/ 4572545 w 5380459"/>
              <a:gd name="connsiteY48" fmla="*/ 3923131 h 4981532"/>
              <a:gd name="connsiteX49" fmla="*/ 1546432 w 5380459"/>
              <a:gd name="connsiteY49" fmla="*/ 3914713 h 4981532"/>
              <a:gd name="connsiteX50" fmla="*/ 1503581 w 5380459"/>
              <a:gd name="connsiteY50" fmla="*/ 3961013 h 4981532"/>
              <a:gd name="connsiteX51" fmla="*/ 1565880 w 5380459"/>
              <a:gd name="connsiteY51" fmla="*/ 3915322 h 4981532"/>
              <a:gd name="connsiteX52" fmla="*/ 1546432 w 5380459"/>
              <a:gd name="connsiteY52" fmla="*/ 3914713 h 4981532"/>
              <a:gd name="connsiteX53" fmla="*/ 2577490 w 5380459"/>
              <a:gd name="connsiteY53" fmla="*/ 3813243 h 4981532"/>
              <a:gd name="connsiteX54" fmla="*/ 2546385 w 5380459"/>
              <a:gd name="connsiteY54" fmla="*/ 3906749 h 4981532"/>
              <a:gd name="connsiteX55" fmla="*/ 2609948 w 5380459"/>
              <a:gd name="connsiteY55" fmla="*/ 4054462 h 4981532"/>
              <a:gd name="connsiteX56" fmla="*/ 2632939 w 5380459"/>
              <a:gd name="connsiteY56" fmla="*/ 3992124 h 4981532"/>
              <a:gd name="connsiteX57" fmla="*/ 2577490 w 5380459"/>
              <a:gd name="connsiteY57" fmla="*/ 3813243 h 4981532"/>
              <a:gd name="connsiteX58" fmla="*/ 2197099 w 5380459"/>
              <a:gd name="connsiteY58" fmla="*/ 3810745 h 4981532"/>
              <a:gd name="connsiteX59" fmla="*/ 2193018 w 5380459"/>
              <a:gd name="connsiteY59" fmla="*/ 3813312 h 4981532"/>
              <a:gd name="connsiteX60" fmla="*/ 2201181 w 5380459"/>
              <a:gd name="connsiteY60" fmla="*/ 3813312 h 4981532"/>
              <a:gd name="connsiteX61" fmla="*/ 2197099 w 5380459"/>
              <a:gd name="connsiteY61" fmla="*/ 3810745 h 4981532"/>
              <a:gd name="connsiteX62" fmla="*/ 2766359 w 5380459"/>
              <a:gd name="connsiteY62" fmla="*/ 3713740 h 4981532"/>
              <a:gd name="connsiteX63" fmla="*/ 2758216 w 5380459"/>
              <a:gd name="connsiteY63" fmla="*/ 3767495 h 4981532"/>
              <a:gd name="connsiteX64" fmla="*/ 2766359 w 5380459"/>
              <a:gd name="connsiteY64" fmla="*/ 3713740 h 4981532"/>
              <a:gd name="connsiteX65" fmla="*/ 3198103 w 5380459"/>
              <a:gd name="connsiteY65" fmla="*/ 3666403 h 4981532"/>
              <a:gd name="connsiteX66" fmla="*/ 3158545 w 5380459"/>
              <a:gd name="connsiteY66" fmla="*/ 3713699 h 4981532"/>
              <a:gd name="connsiteX67" fmla="*/ 3198103 w 5380459"/>
              <a:gd name="connsiteY67" fmla="*/ 3666403 h 4981532"/>
              <a:gd name="connsiteX68" fmla="*/ 1934991 w 5380459"/>
              <a:gd name="connsiteY68" fmla="*/ 3650916 h 4981532"/>
              <a:gd name="connsiteX69" fmla="*/ 2005810 w 5380459"/>
              <a:gd name="connsiteY69" fmla="*/ 3736628 h 4981532"/>
              <a:gd name="connsiteX70" fmla="*/ 1941800 w 5380459"/>
              <a:gd name="connsiteY70" fmla="*/ 3650916 h 4981532"/>
              <a:gd name="connsiteX71" fmla="*/ 1934991 w 5380459"/>
              <a:gd name="connsiteY71" fmla="*/ 3650916 h 4981532"/>
              <a:gd name="connsiteX72" fmla="*/ 2114356 w 5380459"/>
              <a:gd name="connsiteY72" fmla="*/ 3603879 h 4981532"/>
              <a:gd name="connsiteX73" fmla="*/ 2060114 w 5380459"/>
              <a:gd name="connsiteY73" fmla="*/ 3682265 h 4981532"/>
              <a:gd name="connsiteX74" fmla="*/ 2169954 w 5380459"/>
              <a:gd name="connsiteY74" fmla="*/ 3728215 h 4981532"/>
              <a:gd name="connsiteX75" fmla="*/ 2114356 w 5380459"/>
              <a:gd name="connsiteY75" fmla="*/ 3603879 h 4981532"/>
              <a:gd name="connsiteX76" fmla="*/ 1376677 w 5380459"/>
              <a:gd name="connsiteY76" fmla="*/ 3581076 h 4981532"/>
              <a:gd name="connsiteX77" fmla="*/ 1384827 w 5380459"/>
              <a:gd name="connsiteY77" fmla="*/ 3620165 h 4981532"/>
              <a:gd name="connsiteX78" fmla="*/ 1376677 w 5380459"/>
              <a:gd name="connsiteY78" fmla="*/ 3581076 h 4981532"/>
              <a:gd name="connsiteX79" fmla="*/ 1322912 w 5380459"/>
              <a:gd name="connsiteY79" fmla="*/ 3480356 h 4981532"/>
              <a:gd name="connsiteX80" fmla="*/ 1322335 w 5380459"/>
              <a:gd name="connsiteY80" fmla="*/ 3510824 h 4981532"/>
              <a:gd name="connsiteX81" fmla="*/ 1337339 w 5380459"/>
              <a:gd name="connsiteY81" fmla="*/ 3481218 h 4981532"/>
              <a:gd name="connsiteX82" fmla="*/ 1322912 w 5380459"/>
              <a:gd name="connsiteY82" fmla="*/ 3480356 h 4981532"/>
              <a:gd name="connsiteX83" fmla="*/ 1831856 w 5380459"/>
              <a:gd name="connsiteY83" fmla="*/ 3456477 h 4981532"/>
              <a:gd name="connsiteX84" fmla="*/ 1825012 w 5380459"/>
              <a:gd name="connsiteY84" fmla="*/ 3464572 h 4981532"/>
              <a:gd name="connsiteX85" fmla="*/ 1831856 w 5380459"/>
              <a:gd name="connsiteY85" fmla="*/ 3456477 h 4981532"/>
              <a:gd name="connsiteX86" fmla="*/ 4352568 w 5380459"/>
              <a:gd name="connsiteY86" fmla="*/ 3308861 h 4981532"/>
              <a:gd name="connsiteX87" fmla="*/ 4305039 w 5380459"/>
              <a:gd name="connsiteY87" fmla="*/ 3418559 h 4981532"/>
              <a:gd name="connsiteX88" fmla="*/ 4250719 w 5380459"/>
              <a:gd name="connsiteY88" fmla="*/ 3464605 h 4981532"/>
              <a:gd name="connsiteX89" fmla="*/ 4163808 w 5380459"/>
              <a:gd name="connsiteY89" fmla="*/ 3526902 h 4981532"/>
              <a:gd name="connsiteX90" fmla="*/ 4101341 w 5380459"/>
              <a:gd name="connsiteY90" fmla="*/ 3674520 h 4981532"/>
              <a:gd name="connsiteX91" fmla="*/ 4180104 w 5380459"/>
              <a:gd name="connsiteY91" fmla="*/ 3666394 h 4981532"/>
              <a:gd name="connsiteX92" fmla="*/ 4257509 w 5380459"/>
              <a:gd name="connsiteY92" fmla="*/ 3566176 h 4981532"/>
              <a:gd name="connsiteX93" fmla="*/ 4352568 w 5380459"/>
              <a:gd name="connsiteY93" fmla="*/ 3316987 h 4981532"/>
              <a:gd name="connsiteX94" fmla="*/ 4352568 w 5380459"/>
              <a:gd name="connsiteY94" fmla="*/ 3308861 h 4981532"/>
              <a:gd name="connsiteX95" fmla="*/ 1337688 w 5380459"/>
              <a:gd name="connsiteY95" fmla="*/ 3262831 h 4981532"/>
              <a:gd name="connsiteX96" fmla="*/ 1337688 w 5380459"/>
              <a:gd name="connsiteY96" fmla="*/ 3294090 h 4981532"/>
              <a:gd name="connsiteX97" fmla="*/ 1447234 w 5380459"/>
              <a:gd name="connsiteY97" fmla="*/ 3333504 h 4981532"/>
              <a:gd name="connsiteX98" fmla="*/ 1337688 w 5380459"/>
              <a:gd name="connsiteY98" fmla="*/ 3262831 h 4981532"/>
              <a:gd name="connsiteX99" fmla="*/ 4297097 w 5380459"/>
              <a:gd name="connsiteY99" fmla="*/ 3146961 h 4981532"/>
              <a:gd name="connsiteX100" fmla="*/ 4251125 w 5380459"/>
              <a:gd name="connsiteY100" fmla="*/ 3254895 h 4981532"/>
              <a:gd name="connsiteX101" fmla="*/ 4344420 w 5380459"/>
              <a:gd name="connsiteY101" fmla="*/ 3285925 h 4981532"/>
              <a:gd name="connsiteX102" fmla="*/ 4297097 w 5380459"/>
              <a:gd name="connsiteY102" fmla="*/ 3146961 h 4981532"/>
              <a:gd name="connsiteX103" fmla="*/ 952785 w 5380459"/>
              <a:gd name="connsiteY103" fmla="*/ 3061434 h 4981532"/>
              <a:gd name="connsiteX104" fmla="*/ 905254 w 5380459"/>
              <a:gd name="connsiteY104" fmla="*/ 3099330 h 4981532"/>
              <a:gd name="connsiteX105" fmla="*/ 929698 w 5380459"/>
              <a:gd name="connsiteY105" fmla="*/ 3240087 h 4981532"/>
              <a:gd name="connsiteX106" fmla="*/ 944637 w 5380459"/>
              <a:gd name="connsiteY106" fmla="*/ 3317233 h 4981532"/>
              <a:gd name="connsiteX107" fmla="*/ 992165 w 5380459"/>
              <a:gd name="connsiteY107" fmla="*/ 3394379 h 4981532"/>
              <a:gd name="connsiteX108" fmla="*/ 1085867 w 5380459"/>
              <a:gd name="connsiteY108" fmla="*/ 3573033 h 4981532"/>
              <a:gd name="connsiteX109" fmla="*/ 1156482 w 5380459"/>
              <a:gd name="connsiteY109" fmla="*/ 3666420 h 4981532"/>
              <a:gd name="connsiteX110" fmla="*/ 1110311 w 5380459"/>
              <a:gd name="connsiteY110" fmla="*/ 3510775 h 4981532"/>
              <a:gd name="connsiteX111" fmla="*/ 1079077 w 5380459"/>
              <a:gd name="connsiteY111" fmla="*/ 3317233 h 4981532"/>
              <a:gd name="connsiteX112" fmla="*/ 952785 w 5380459"/>
              <a:gd name="connsiteY112" fmla="*/ 3061434 h 4981532"/>
              <a:gd name="connsiteX113" fmla="*/ 4658189 w 5380459"/>
              <a:gd name="connsiteY113" fmla="*/ 3037440 h 4981532"/>
              <a:gd name="connsiteX114" fmla="*/ 4525243 w 5380459"/>
              <a:gd name="connsiteY114" fmla="*/ 3092900 h 4981532"/>
              <a:gd name="connsiteX115" fmla="*/ 4485902 w 5380459"/>
              <a:gd name="connsiteY115" fmla="*/ 3418899 h 4981532"/>
              <a:gd name="connsiteX116" fmla="*/ 4477763 w 5380459"/>
              <a:gd name="connsiteY116" fmla="*/ 3643445 h 4981532"/>
              <a:gd name="connsiteX117" fmla="*/ 4548305 w 5380459"/>
              <a:gd name="connsiteY117" fmla="*/ 3581221 h 4981532"/>
              <a:gd name="connsiteX118" fmla="*/ 4618848 w 5380459"/>
              <a:gd name="connsiteY118" fmla="*/ 3333679 h 4981532"/>
              <a:gd name="connsiteX119" fmla="*/ 4674468 w 5380459"/>
              <a:gd name="connsiteY119" fmla="*/ 3418899 h 4981532"/>
              <a:gd name="connsiteX120" fmla="*/ 4603925 w 5380459"/>
              <a:gd name="connsiteY120" fmla="*/ 3518998 h 4981532"/>
              <a:gd name="connsiteX121" fmla="*/ 4618848 w 5380459"/>
              <a:gd name="connsiteY121" fmla="*/ 3659677 h 4981532"/>
              <a:gd name="connsiteX122" fmla="*/ 4595786 w 5380459"/>
              <a:gd name="connsiteY122" fmla="*/ 3782772 h 4981532"/>
              <a:gd name="connsiteX123" fmla="*/ 4643267 w 5380459"/>
              <a:gd name="connsiteY123" fmla="*/ 3813884 h 4981532"/>
              <a:gd name="connsiteX124" fmla="*/ 4713809 w 5380459"/>
              <a:gd name="connsiteY124" fmla="*/ 3643445 h 4981532"/>
              <a:gd name="connsiteX125" fmla="*/ 4768072 w 5380459"/>
              <a:gd name="connsiteY125" fmla="*/ 3255223 h 4981532"/>
              <a:gd name="connsiteX126" fmla="*/ 4681251 w 5380459"/>
              <a:gd name="connsiteY126" fmla="*/ 3037440 h 4981532"/>
              <a:gd name="connsiteX127" fmla="*/ 4658189 w 5380459"/>
              <a:gd name="connsiteY127" fmla="*/ 3037440 h 4981532"/>
              <a:gd name="connsiteX128" fmla="*/ 4187321 w 5380459"/>
              <a:gd name="connsiteY128" fmla="*/ 3037440 h 4981532"/>
              <a:gd name="connsiteX129" fmla="*/ 4195466 w 5380459"/>
              <a:gd name="connsiteY129" fmla="*/ 3037440 h 4981532"/>
              <a:gd name="connsiteX130" fmla="*/ 4187321 w 5380459"/>
              <a:gd name="connsiteY130" fmla="*/ 3037440 h 4981532"/>
              <a:gd name="connsiteX131" fmla="*/ 301280 w 5380459"/>
              <a:gd name="connsiteY131" fmla="*/ 3014077 h 4981532"/>
              <a:gd name="connsiteX132" fmla="*/ 309465 w 5380459"/>
              <a:gd name="connsiteY132" fmla="*/ 3061645 h 4981532"/>
              <a:gd name="connsiteX133" fmla="*/ 301280 w 5380459"/>
              <a:gd name="connsiteY133" fmla="*/ 3014077 h 4981532"/>
              <a:gd name="connsiteX134" fmla="*/ 247193 w 5380459"/>
              <a:gd name="connsiteY134" fmla="*/ 2928389 h 4981532"/>
              <a:gd name="connsiteX135" fmla="*/ 262116 w 5380459"/>
              <a:gd name="connsiteY135" fmla="*/ 2968279 h 4981532"/>
              <a:gd name="connsiteX136" fmla="*/ 230824 w 5380459"/>
              <a:gd name="connsiteY136" fmla="*/ 2928919 h 4981532"/>
              <a:gd name="connsiteX137" fmla="*/ 247193 w 5380459"/>
              <a:gd name="connsiteY137" fmla="*/ 2928389 h 4981532"/>
              <a:gd name="connsiteX138" fmla="*/ 18679 w 5380459"/>
              <a:gd name="connsiteY138" fmla="*/ 2860460 h 4981532"/>
              <a:gd name="connsiteX139" fmla="*/ 50166 w 5380459"/>
              <a:gd name="connsiteY139" fmla="*/ 2898297 h 4981532"/>
              <a:gd name="connsiteX140" fmla="*/ 18679 w 5380459"/>
              <a:gd name="connsiteY140" fmla="*/ 2860460 h 4981532"/>
              <a:gd name="connsiteX141" fmla="*/ 230460 w 5380459"/>
              <a:gd name="connsiteY141" fmla="*/ 2843793 h 4981532"/>
              <a:gd name="connsiteX142" fmla="*/ 238534 w 5380459"/>
              <a:gd name="connsiteY142" fmla="*/ 2851867 h 4981532"/>
              <a:gd name="connsiteX143" fmla="*/ 230460 w 5380459"/>
              <a:gd name="connsiteY143" fmla="*/ 2843793 h 4981532"/>
              <a:gd name="connsiteX144" fmla="*/ 4757529 w 5380459"/>
              <a:gd name="connsiteY144" fmla="*/ 2829051 h 4981532"/>
              <a:gd name="connsiteX145" fmla="*/ 4720954 w 5380459"/>
              <a:gd name="connsiteY145" fmla="*/ 2875137 h 4981532"/>
              <a:gd name="connsiteX146" fmla="*/ 4768367 w 5380459"/>
              <a:gd name="connsiteY146" fmla="*/ 2983473 h 4981532"/>
              <a:gd name="connsiteX147" fmla="*/ 4776494 w 5380459"/>
              <a:gd name="connsiteY147" fmla="*/ 2835865 h 4981532"/>
              <a:gd name="connsiteX148" fmla="*/ 4757529 w 5380459"/>
              <a:gd name="connsiteY148" fmla="*/ 2829051 h 4981532"/>
              <a:gd name="connsiteX149" fmla="*/ 4305092 w 5380459"/>
              <a:gd name="connsiteY149" fmla="*/ 2812843 h 4981532"/>
              <a:gd name="connsiteX150" fmla="*/ 4288838 w 5380459"/>
              <a:gd name="connsiteY150" fmla="*/ 2820934 h 4981532"/>
              <a:gd name="connsiteX151" fmla="*/ 4242786 w 5380459"/>
              <a:gd name="connsiteY151" fmla="*/ 2951728 h 4981532"/>
              <a:gd name="connsiteX152" fmla="*/ 4305092 w 5380459"/>
              <a:gd name="connsiteY152" fmla="*/ 2812843 h 4981532"/>
              <a:gd name="connsiteX153" fmla="*/ 1210624 w 5380459"/>
              <a:gd name="connsiteY153" fmla="*/ 2745927 h 4981532"/>
              <a:gd name="connsiteX154" fmla="*/ 1220317 w 5380459"/>
              <a:gd name="connsiteY154" fmla="*/ 2797902 h 4981532"/>
              <a:gd name="connsiteX155" fmla="*/ 1220317 w 5380459"/>
              <a:gd name="connsiteY155" fmla="*/ 2750802 h 4981532"/>
              <a:gd name="connsiteX156" fmla="*/ 1210624 w 5380459"/>
              <a:gd name="connsiteY156" fmla="*/ 2745927 h 4981532"/>
              <a:gd name="connsiteX157" fmla="*/ 43075 w 5380459"/>
              <a:gd name="connsiteY157" fmla="*/ 2704908 h 4981532"/>
              <a:gd name="connsiteX158" fmla="*/ 43075 w 5380459"/>
              <a:gd name="connsiteY158" fmla="*/ 2804905 h 4981532"/>
              <a:gd name="connsiteX159" fmla="*/ 43075 w 5380459"/>
              <a:gd name="connsiteY159" fmla="*/ 2704908 h 4981532"/>
              <a:gd name="connsiteX160" fmla="*/ 4703192 w 5380459"/>
              <a:gd name="connsiteY160" fmla="*/ 2702202 h 4981532"/>
              <a:gd name="connsiteX161" fmla="*/ 4697419 w 5380459"/>
              <a:gd name="connsiteY161" fmla="*/ 2727395 h 4981532"/>
              <a:gd name="connsiteX162" fmla="*/ 4713839 w 5380459"/>
              <a:gd name="connsiteY162" fmla="*/ 2704322 h 4981532"/>
              <a:gd name="connsiteX163" fmla="*/ 4703192 w 5380459"/>
              <a:gd name="connsiteY163" fmla="*/ 2702202 h 4981532"/>
              <a:gd name="connsiteX164" fmla="*/ 4336308 w 5380459"/>
              <a:gd name="connsiteY164" fmla="*/ 2673343 h 4981532"/>
              <a:gd name="connsiteX165" fmla="*/ 4273784 w 5380459"/>
              <a:gd name="connsiteY165" fmla="*/ 2758544 h 4981532"/>
              <a:gd name="connsiteX166" fmla="*/ 4336308 w 5380459"/>
              <a:gd name="connsiteY166" fmla="*/ 2673343 h 4981532"/>
              <a:gd name="connsiteX167" fmla="*/ 4367788 w 5380459"/>
              <a:gd name="connsiteY167" fmla="*/ 2557442 h 4981532"/>
              <a:gd name="connsiteX168" fmla="*/ 4321242 w 5380459"/>
              <a:gd name="connsiteY168" fmla="*/ 2619419 h 4981532"/>
              <a:gd name="connsiteX169" fmla="*/ 4367788 w 5380459"/>
              <a:gd name="connsiteY169" fmla="*/ 2557442 h 4981532"/>
              <a:gd name="connsiteX170" fmla="*/ 1518232 w 5380459"/>
              <a:gd name="connsiteY170" fmla="*/ 2549358 h 4981532"/>
              <a:gd name="connsiteX171" fmla="*/ 1495020 w 5380459"/>
              <a:gd name="connsiteY171" fmla="*/ 2557466 h 4981532"/>
              <a:gd name="connsiteX172" fmla="*/ 1455425 w 5380459"/>
              <a:gd name="connsiteY172" fmla="*/ 2742596 h 4981532"/>
              <a:gd name="connsiteX173" fmla="*/ 1534617 w 5380459"/>
              <a:gd name="connsiteY173" fmla="*/ 2976374 h 4981532"/>
              <a:gd name="connsiteX174" fmla="*/ 1574213 w 5380459"/>
              <a:gd name="connsiteY174" fmla="*/ 2991238 h 4981532"/>
              <a:gd name="connsiteX175" fmla="*/ 1574213 w 5380459"/>
              <a:gd name="connsiteY175" fmla="*/ 2920970 h 4981532"/>
              <a:gd name="connsiteX176" fmla="*/ 1526424 w 5380459"/>
              <a:gd name="connsiteY176" fmla="*/ 2835837 h 4981532"/>
              <a:gd name="connsiteX177" fmla="*/ 1518232 w 5380459"/>
              <a:gd name="connsiteY177" fmla="*/ 2549358 h 4981532"/>
              <a:gd name="connsiteX178" fmla="*/ 10475 w 5380459"/>
              <a:gd name="connsiteY178" fmla="*/ 2517612 h 4981532"/>
              <a:gd name="connsiteX179" fmla="*/ 43301 w 5380459"/>
              <a:gd name="connsiteY179" fmla="*/ 2571791 h 4981532"/>
              <a:gd name="connsiteX180" fmla="*/ 10475 w 5380459"/>
              <a:gd name="connsiteY180" fmla="*/ 2517612 h 4981532"/>
              <a:gd name="connsiteX181" fmla="*/ 290064 w 5380459"/>
              <a:gd name="connsiteY181" fmla="*/ 2500530 h 4981532"/>
              <a:gd name="connsiteX182" fmla="*/ 301053 w 5380459"/>
              <a:gd name="connsiteY182" fmla="*/ 2509516 h 4981532"/>
              <a:gd name="connsiteX183" fmla="*/ 278062 w 5380459"/>
              <a:gd name="connsiteY183" fmla="*/ 2696686 h 4981532"/>
              <a:gd name="connsiteX184" fmla="*/ 184745 w 5380459"/>
              <a:gd name="connsiteY184" fmla="*/ 2657353 h 4981532"/>
              <a:gd name="connsiteX185" fmla="*/ 278062 w 5380459"/>
              <a:gd name="connsiteY185" fmla="*/ 2502734 h 4981532"/>
              <a:gd name="connsiteX186" fmla="*/ 290064 w 5380459"/>
              <a:gd name="connsiteY186" fmla="*/ 2500530 h 4981532"/>
              <a:gd name="connsiteX187" fmla="*/ 4533131 w 5380459"/>
              <a:gd name="connsiteY187" fmla="*/ 2378727 h 4981532"/>
              <a:gd name="connsiteX188" fmla="*/ 4548107 w 5380459"/>
              <a:gd name="connsiteY188" fmla="*/ 2486901 h 4981532"/>
              <a:gd name="connsiteX189" fmla="*/ 4485479 w 5380459"/>
              <a:gd name="connsiteY189" fmla="*/ 2563975 h 4981532"/>
              <a:gd name="connsiteX190" fmla="*/ 4477310 w 5380459"/>
              <a:gd name="connsiteY190" fmla="*/ 2696488 h 4981532"/>
              <a:gd name="connsiteX191" fmla="*/ 4524962 w 5380459"/>
              <a:gd name="connsiteY191" fmla="*/ 2889848 h 4981532"/>
              <a:gd name="connsiteX192" fmla="*/ 4595759 w 5380459"/>
              <a:gd name="connsiteY192" fmla="*/ 3022361 h 4981532"/>
              <a:gd name="connsiteX193" fmla="*/ 4579421 w 5380459"/>
              <a:gd name="connsiteY193" fmla="*/ 2874974 h 4981532"/>
              <a:gd name="connsiteX194" fmla="*/ 4572614 w 5380459"/>
              <a:gd name="connsiteY194" fmla="*/ 2735701 h 4981532"/>
              <a:gd name="connsiteX195" fmla="*/ 4572614 w 5380459"/>
              <a:gd name="connsiteY195" fmla="*/ 2611301 h 4981532"/>
              <a:gd name="connsiteX196" fmla="*/ 4539938 w 5380459"/>
              <a:gd name="connsiteY196" fmla="*/ 2393601 h 4981532"/>
              <a:gd name="connsiteX197" fmla="*/ 4539938 w 5380459"/>
              <a:gd name="connsiteY197" fmla="*/ 2385488 h 4981532"/>
              <a:gd name="connsiteX198" fmla="*/ 4533131 w 5380459"/>
              <a:gd name="connsiteY198" fmla="*/ 2378727 h 4981532"/>
              <a:gd name="connsiteX199" fmla="*/ 1574213 w 5380459"/>
              <a:gd name="connsiteY199" fmla="*/ 2262064 h 4981532"/>
              <a:gd name="connsiteX200" fmla="*/ 1526111 w 5380459"/>
              <a:gd name="connsiteY200" fmla="*/ 2409549 h 4981532"/>
              <a:gd name="connsiteX201" fmla="*/ 1565967 w 5380459"/>
              <a:gd name="connsiteY201" fmla="*/ 2494792 h 4981532"/>
              <a:gd name="connsiteX202" fmla="*/ 1574213 w 5380459"/>
              <a:gd name="connsiteY202" fmla="*/ 2478555 h 4981532"/>
              <a:gd name="connsiteX203" fmla="*/ 1574213 w 5380459"/>
              <a:gd name="connsiteY203" fmla="*/ 2262064 h 4981532"/>
              <a:gd name="connsiteX204" fmla="*/ 4406895 w 5380459"/>
              <a:gd name="connsiteY204" fmla="*/ 2098576 h 4981532"/>
              <a:gd name="connsiteX205" fmla="*/ 4398767 w 5380459"/>
              <a:gd name="connsiteY205" fmla="*/ 2262064 h 4981532"/>
              <a:gd name="connsiteX206" fmla="*/ 4406895 w 5380459"/>
              <a:gd name="connsiteY206" fmla="*/ 2106683 h 4981532"/>
              <a:gd name="connsiteX207" fmla="*/ 4406895 w 5380459"/>
              <a:gd name="connsiteY207" fmla="*/ 2098576 h 4981532"/>
              <a:gd name="connsiteX208" fmla="*/ 1424424 w 5380459"/>
              <a:gd name="connsiteY208" fmla="*/ 2021785 h 4981532"/>
              <a:gd name="connsiteX209" fmla="*/ 1401395 w 5380459"/>
              <a:gd name="connsiteY209" fmla="*/ 2061064 h 4981532"/>
              <a:gd name="connsiteX210" fmla="*/ 1424424 w 5380459"/>
              <a:gd name="connsiteY210" fmla="*/ 2021785 h 4981532"/>
              <a:gd name="connsiteX211" fmla="*/ 371988 w 5380459"/>
              <a:gd name="connsiteY211" fmla="*/ 1927945 h 4981532"/>
              <a:gd name="connsiteX212" fmla="*/ 442642 w 5380459"/>
              <a:gd name="connsiteY212" fmla="*/ 1998287 h 4981532"/>
              <a:gd name="connsiteX213" fmla="*/ 427696 w 5380459"/>
              <a:gd name="connsiteY213" fmla="*/ 2106506 h 4981532"/>
              <a:gd name="connsiteX214" fmla="*/ 332585 w 5380459"/>
              <a:gd name="connsiteY214" fmla="*/ 2176848 h 4981532"/>
              <a:gd name="connsiteX215" fmla="*/ 427696 w 5380459"/>
              <a:gd name="connsiteY215" fmla="*/ 2214724 h 4981532"/>
              <a:gd name="connsiteX216" fmla="*/ 371988 w 5380459"/>
              <a:gd name="connsiteY216" fmla="*/ 2285066 h 4981532"/>
              <a:gd name="connsiteX217" fmla="*/ 278236 w 5380459"/>
              <a:gd name="connsiteY217" fmla="*/ 2432514 h 4981532"/>
              <a:gd name="connsiteX218" fmla="*/ 215734 w 5380459"/>
              <a:gd name="connsiteY218" fmla="*/ 2299946 h 4981532"/>
              <a:gd name="connsiteX219" fmla="*/ 286388 w 5380459"/>
              <a:gd name="connsiteY219" fmla="*/ 2075393 h 4981532"/>
              <a:gd name="connsiteX220" fmla="*/ 371988 w 5380459"/>
              <a:gd name="connsiteY220" fmla="*/ 1927945 h 4981532"/>
              <a:gd name="connsiteX221" fmla="*/ 1518286 w 5380459"/>
              <a:gd name="connsiteY221" fmla="*/ 1781124 h 4981532"/>
              <a:gd name="connsiteX222" fmla="*/ 1495134 w 5380459"/>
              <a:gd name="connsiteY222" fmla="*/ 1789219 h 4981532"/>
              <a:gd name="connsiteX223" fmla="*/ 1486963 w 5380459"/>
              <a:gd name="connsiteY223" fmla="*/ 1943024 h 4981532"/>
              <a:gd name="connsiteX224" fmla="*/ 1518286 w 5380459"/>
              <a:gd name="connsiteY224" fmla="*/ 1781124 h 4981532"/>
              <a:gd name="connsiteX225" fmla="*/ 4344319 w 5380459"/>
              <a:gd name="connsiteY225" fmla="*/ 1664461 h 4981532"/>
              <a:gd name="connsiteX226" fmla="*/ 4321191 w 5380459"/>
              <a:gd name="connsiteY226" fmla="*/ 1710607 h 4981532"/>
              <a:gd name="connsiteX227" fmla="*/ 4344319 w 5380459"/>
              <a:gd name="connsiteY227" fmla="*/ 1664461 h 4981532"/>
              <a:gd name="connsiteX228" fmla="*/ 3466073 w 5380459"/>
              <a:gd name="connsiteY228" fmla="*/ 1593828 h 4981532"/>
              <a:gd name="connsiteX229" fmla="*/ 3457923 w 5380459"/>
              <a:gd name="connsiteY229" fmla="*/ 1641229 h 4981532"/>
              <a:gd name="connsiteX230" fmla="*/ 3512256 w 5380459"/>
              <a:gd name="connsiteY230" fmla="*/ 1811871 h 4981532"/>
              <a:gd name="connsiteX231" fmla="*/ 3576097 w 5380459"/>
              <a:gd name="connsiteY231" fmla="*/ 1819997 h 4981532"/>
              <a:gd name="connsiteX232" fmla="*/ 3466073 w 5380459"/>
              <a:gd name="connsiteY232" fmla="*/ 1593828 h 4981532"/>
              <a:gd name="connsiteX233" fmla="*/ 4155760 w 5380459"/>
              <a:gd name="connsiteY233" fmla="*/ 1447133 h 4981532"/>
              <a:gd name="connsiteX234" fmla="*/ 4155760 w 5380459"/>
              <a:gd name="connsiteY234" fmla="*/ 1525078 h 4981532"/>
              <a:gd name="connsiteX235" fmla="*/ 4155760 w 5380459"/>
              <a:gd name="connsiteY235" fmla="*/ 1447133 h 4981532"/>
              <a:gd name="connsiteX236" fmla="*/ 4273818 w 5380459"/>
              <a:gd name="connsiteY236" fmla="*/ 1432118 h 4981532"/>
              <a:gd name="connsiteX237" fmla="*/ 4281961 w 5380459"/>
              <a:gd name="connsiteY237" fmla="*/ 1494423 h 4981532"/>
              <a:gd name="connsiteX238" fmla="*/ 4273818 w 5380459"/>
              <a:gd name="connsiteY238" fmla="*/ 1432118 h 4981532"/>
              <a:gd name="connsiteX239" fmla="*/ 3349998 w 5380459"/>
              <a:gd name="connsiteY239" fmla="*/ 1412550 h 4981532"/>
              <a:gd name="connsiteX240" fmla="*/ 3339464 w 5380459"/>
              <a:gd name="connsiteY240" fmla="*/ 1438421 h 4981532"/>
              <a:gd name="connsiteX241" fmla="*/ 3441405 w 5380459"/>
              <a:gd name="connsiteY241" fmla="*/ 1562877 h 4981532"/>
              <a:gd name="connsiteX242" fmla="*/ 3378881 w 5380459"/>
              <a:gd name="connsiteY242" fmla="*/ 1438421 h 4981532"/>
              <a:gd name="connsiteX243" fmla="*/ 3349998 w 5380459"/>
              <a:gd name="connsiteY243" fmla="*/ 1412550 h 4981532"/>
              <a:gd name="connsiteX244" fmla="*/ 364862 w 5380459"/>
              <a:gd name="connsiteY244" fmla="*/ 1370023 h 4981532"/>
              <a:gd name="connsiteX245" fmla="*/ 371652 w 5380459"/>
              <a:gd name="connsiteY245" fmla="*/ 1378134 h 4981532"/>
              <a:gd name="connsiteX246" fmla="*/ 294243 w 5380459"/>
              <a:gd name="connsiteY246" fmla="*/ 1656626 h 4981532"/>
              <a:gd name="connsiteX247" fmla="*/ 167944 w 5380459"/>
              <a:gd name="connsiteY247" fmla="*/ 1982434 h 4981532"/>
              <a:gd name="connsiteX248" fmla="*/ 128561 w 5380459"/>
              <a:gd name="connsiteY248" fmla="*/ 2083827 h 4981532"/>
              <a:gd name="connsiteX249" fmla="*/ 81029 w 5380459"/>
              <a:gd name="connsiteY249" fmla="*/ 2424505 h 4981532"/>
              <a:gd name="connsiteX250" fmla="*/ 3620 w 5380459"/>
              <a:gd name="connsiteY250" fmla="*/ 2486693 h 4981532"/>
              <a:gd name="connsiteX251" fmla="*/ 49794 w 5380459"/>
              <a:gd name="connsiteY251" fmla="*/ 2146014 h 4981532"/>
              <a:gd name="connsiteX252" fmla="*/ 74239 w 5380459"/>
              <a:gd name="connsiteY252" fmla="*/ 1920246 h 4981532"/>
              <a:gd name="connsiteX253" fmla="*/ 128561 w 5380459"/>
              <a:gd name="connsiteY253" fmla="*/ 1703942 h 4981532"/>
              <a:gd name="connsiteX254" fmla="*/ 364862 w 5380459"/>
              <a:gd name="connsiteY254" fmla="*/ 1370023 h 4981532"/>
              <a:gd name="connsiteX255" fmla="*/ 3642584 w 5380459"/>
              <a:gd name="connsiteY255" fmla="*/ 1362758 h 4981532"/>
              <a:gd name="connsiteX256" fmla="*/ 3613955 w 5380459"/>
              <a:gd name="connsiteY256" fmla="*/ 1369618 h 4981532"/>
              <a:gd name="connsiteX257" fmla="*/ 3646528 w 5380459"/>
              <a:gd name="connsiteY257" fmla="*/ 1369618 h 4981532"/>
              <a:gd name="connsiteX258" fmla="*/ 3642584 w 5380459"/>
              <a:gd name="connsiteY258" fmla="*/ 1362758 h 4981532"/>
              <a:gd name="connsiteX259" fmla="*/ 1785319 w 5380459"/>
              <a:gd name="connsiteY259" fmla="*/ 1353358 h 4981532"/>
              <a:gd name="connsiteX260" fmla="*/ 1769446 w 5380459"/>
              <a:gd name="connsiteY260" fmla="*/ 1370024 h 4981532"/>
              <a:gd name="connsiteX261" fmla="*/ 1785319 w 5380459"/>
              <a:gd name="connsiteY261" fmla="*/ 1370024 h 4981532"/>
              <a:gd name="connsiteX262" fmla="*/ 1785319 w 5380459"/>
              <a:gd name="connsiteY262" fmla="*/ 1353358 h 4981532"/>
              <a:gd name="connsiteX263" fmla="*/ 4082785 w 5380459"/>
              <a:gd name="connsiteY263" fmla="*/ 1352296 h 4981532"/>
              <a:gd name="connsiteX264" fmla="*/ 4070178 w 5380459"/>
              <a:gd name="connsiteY264" fmla="*/ 1369924 h 4981532"/>
              <a:gd name="connsiteX265" fmla="*/ 4093269 w 5380459"/>
              <a:gd name="connsiteY265" fmla="*/ 1353749 h 4981532"/>
              <a:gd name="connsiteX266" fmla="*/ 4082785 w 5380459"/>
              <a:gd name="connsiteY266" fmla="*/ 1352296 h 4981532"/>
              <a:gd name="connsiteX267" fmla="*/ 4190570 w 5380459"/>
              <a:gd name="connsiteY267" fmla="*/ 1306717 h 4981532"/>
              <a:gd name="connsiteX268" fmla="*/ 4203306 w 5380459"/>
              <a:gd name="connsiteY268" fmla="*/ 1409115 h 4981532"/>
              <a:gd name="connsiteX269" fmla="*/ 4211407 w 5380459"/>
              <a:gd name="connsiteY269" fmla="*/ 1307684 h 4981532"/>
              <a:gd name="connsiteX270" fmla="*/ 4190570 w 5380459"/>
              <a:gd name="connsiteY270" fmla="*/ 1306717 h 4981532"/>
              <a:gd name="connsiteX271" fmla="*/ 4610501 w 5380459"/>
              <a:gd name="connsiteY271" fmla="*/ 1299391 h 4981532"/>
              <a:gd name="connsiteX272" fmla="*/ 4610501 w 5380459"/>
              <a:gd name="connsiteY272" fmla="*/ 1322483 h 4981532"/>
              <a:gd name="connsiteX273" fmla="*/ 4610501 w 5380459"/>
              <a:gd name="connsiteY273" fmla="*/ 1299391 h 4981532"/>
              <a:gd name="connsiteX274" fmla="*/ 3260362 w 5380459"/>
              <a:gd name="connsiteY274" fmla="*/ 1284312 h 4981532"/>
              <a:gd name="connsiteX275" fmla="*/ 3284798 w 5380459"/>
              <a:gd name="connsiteY275" fmla="*/ 1370024 h 4981532"/>
              <a:gd name="connsiteX276" fmla="*/ 3260362 w 5380459"/>
              <a:gd name="connsiteY276" fmla="*/ 1284312 h 4981532"/>
              <a:gd name="connsiteX277" fmla="*/ 3825803 w 5380459"/>
              <a:gd name="connsiteY277" fmla="*/ 1253361 h 4981532"/>
              <a:gd name="connsiteX278" fmla="*/ 3825803 w 5380459"/>
              <a:gd name="connsiteY278" fmla="*/ 1261474 h 4981532"/>
              <a:gd name="connsiteX279" fmla="*/ 3896394 w 5380459"/>
              <a:gd name="connsiteY279" fmla="*/ 1423735 h 4981532"/>
              <a:gd name="connsiteX280" fmla="*/ 4062012 w 5380459"/>
              <a:gd name="connsiteY280" fmla="*/ 1803695 h 4981532"/>
              <a:gd name="connsiteX281" fmla="*/ 4101380 w 5380459"/>
              <a:gd name="connsiteY281" fmla="*/ 1865895 h 4981532"/>
              <a:gd name="connsiteX282" fmla="*/ 4053866 w 5380459"/>
              <a:gd name="connsiteY282" fmla="*/ 1579235 h 4981532"/>
              <a:gd name="connsiteX283" fmla="*/ 3833948 w 5380459"/>
              <a:gd name="connsiteY283" fmla="*/ 1261474 h 4981532"/>
              <a:gd name="connsiteX284" fmla="*/ 3825803 w 5380459"/>
              <a:gd name="connsiteY284" fmla="*/ 1253361 h 4981532"/>
              <a:gd name="connsiteX285" fmla="*/ 3150321 w 5380459"/>
              <a:gd name="connsiteY285" fmla="*/ 1230345 h 4981532"/>
              <a:gd name="connsiteX286" fmla="*/ 3166630 w 5380459"/>
              <a:gd name="connsiteY286" fmla="*/ 1268253 h 4981532"/>
              <a:gd name="connsiteX287" fmla="*/ 3150321 w 5380459"/>
              <a:gd name="connsiteY287" fmla="*/ 1230345 h 4981532"/>
              <a:gd name="connsiteX288" fmla="*/ 4590310 w 5380459"/>
              <a:gd name="connsiteY288" fmla="*/ 1173677 h 4981532"/>
              <a:gd name="connsiteX289" fmla="*/ 4572743 w 5380459"/>
              <a:gd name="connsiteY289" fmla="*/ 1174642 h 4981532"/>
              <a:gd name="connsiteX290" fmla="*/ 4572743 w 5380459"/>
              <a:gd name="connsiteY290" fmla="*/ 1222144 h 4981532"/>
              <a:gd name="connsiteX291" fmla="*/ 4590310 w 5380459"/>
              <a:gd name="connsiteY291" fmla="*/ 1173677 h 4981532"/>
              <a:gd name="connsiteX292" fmla="*/ 4494149 w 5380459"/>
              <a:gd name="connsiteY292" fmla="*/ 1120962 h 4981532"/>
              <a:gd name="connsiteX293" fmla="*/ 4502304 w 5380459"/>
              <a:gd name="connsiteY293" fmla="*/ 1199015 h 4981532"/>
              <a:gd name="connsiteX294" fmla="*/ 4494149 w 5380459"/>
              <a:gd name="connsiteY294" fmla="*/ 1120962 h 4981532"/>
              <a:gd name="connsiteX295" fmla="*/ 3896390 w 5380459"/>
              <a:gd name="connsiteY295" fmla="*/ 1120825 h 4981532"/>
              <a:gd name="connsiteX296" fmla="*/ 3943792 w 5380459"/>
              <a:gd name="connsiteY296" fmla="*/ 1230346 h 4981532"/>
              <a:gd name="connsiteX297" fmla="*/ 3904516 w 5380459"/>
              <a:gd name="connsiteY297" fmla="*/ 1128938 h 4981532"/>
              <a:gd name="connsiteX298" fmla="*/ 3896390 w 5380459"/>
              <a:gd name="connsiteY298" fmla="*/ 1120825 h 4981532"/>
              <a:gd name="connsiteX299" fmla="*/ 4040867 w 5380459"/>
              <a:gd name="connsiteY299" fmla="*/ 1100831 h 4981532"/>
              <a:gd name="connsiteX300" fmla="*/ 4031128 w 5380459"/>
              <a:gd name="connsiteY300" fmla="*/ 1159937 h 4981532"/>
              <a:gd name="connsiteX301" fmla="*/ 4132967 w 5380459"/>
              <a:gd name="connsiteY301" fmla="*/ 1261297 h 4981532"/>
              <a:gd name="connsiteX302" fmla="*/ 4085442 w 5380459"/>
              <a:gd name="connsiteY302" fmla="*/ 1128853 h 4981532"/>
              <a:gd name="connsiteX303" fmla="*/ 4062359 w 5380459"/>
              <a:gd name="connsiteY303" fmla="*/ 1112635 h 4981532"/>
              <a:gd name="connsiteX304" fmla="*/ 4040867 w 5380459"/>
              <a:gd name="connsiteY304" fmla="*/ 1100831 h 4981532"/>
              <a:gd name="connsiteX305" fmla="*/ 1274828 w 5380459"/>
              <a:gd name="connsiteY305" fmla="*/ 1074794 h 4981532"/>
              <a:gd name="connsiteX306" fmla="*/ 1306152 w 5380459"/>
              <a:gd name="connsiteY306" fmla="*/ 1089635 h 4981532"/>
              <a:gd name="connsiteX307" fmla="*/ 1274828 w 5380459"/>
              <a:gd name="connsiteY307" fmla="*/ 1074794 h 4981532"/>
              <a:gd name="connsiteX308" fmla="*/ 4643178 w 5380459"/>
              <a:gd name="connsiteY308" fmla="*/ 1043842 h 4981532"/>
              <a:gd name="connsiteX309" fmla="*/ 4784392 w 5380459"/>
              <a:gd name="connsiteY309" fmla="*/ 1284563 h 4981532"/>
              <a:gd name="connsiteX310" fmla="*/ 4878081 w 5380459"/>
              <a:gd name="connsiteY310" fmla="*/ 1469836 h 4981532"/>
              <a:gd name="connsiteX311" fmla="*/ 4948688 w 5380459"/>
              <a:gd name="connsiteY311" fmla="*/ 1625358 h 4981532"/>
              <a:gd name="connsiteX312" fmla="*/ 5019294 w 5380459"/>
              <a:gd name="connsiteY312" fmla="*/ 1857965 h 4981532"/>
              <a:gd name="connsiteX313" fmla="*/ 5058671 w 5380459"/>
              <a:gd name="connsiteY313" fmla="*/ 2005372 h 4981532"/>
              <a:gd name="connsiteX314" fmla="*/ 5121131 w 5380459"/>
              <a:gd name="connsiteY314" fmla="*/ 2378624 h 4981532"/>
              <a:gd name="connsiteX315" fmla="*/ 5112984 w 5380459"/>
              <a:gd name="connsiteY315" fmla="*/ 3030463 h 4981532"/>
              <a:gd name="connsiteX316" fmla="*/ 5035588 w 5380459"/>
              <a:gd name="connsiteY316" fmla="*/ 3309050 h 4981532"/>
              <a:gd name="connsiteX317" fmla="*/ 4956835 w 5380459"/>
              <a:gd name="connsiteY317" fmla="*/ 3597104 h 4981532"/>
              <a:gd name="connsiteX318" fmla="*/ 4861787 w 5380459"/>
              <a:gd name="connsiteY318" fmla="*/ 3821596 h 4981532"/>
              <a:gd name="connsiteX319" fmla="*/ 4932394 w 5380459"/>
              <a:gd name="connsiteY319" fmla="*/ 3836472 h 4981532"/>
              <a:gd name="connsiteX320" fmla="*/ 5121131 w 5380459"/>
              <a:gd name="connsiteY320" fmla="*/ 3418592 h 4981532"/>
              <a:gd name="connsiteX321" fmla="*/ 5168655 w 5380459"/>
              <a:gd name="connsiteY321" fmla="*/ 3177871 h 4981532"/>
              <a:gd name="connsiteX322" fmla="*/ 5216178 w 5380459"/>
              <a:gd name="connsiteY322" fmla="*/ 2812733 h 4981532"/>
              <a:gd name="connsiteX323" fmla="*/ 5199884 w 5380459"/>
              <a:gd name="connsiteY323" fmla="*/ 2231217 h 4981532"/>
              <a:gd name="connsiteX324" fmla="*/ 4988064 w 5380459"/>
              <a:gd name="connsiteY324" fmla="*/ 1633472 h 4981532"/>
              <a:gd name="connsiteX325" fmla="*/ 4861787 w 5380459"/>
              <a:gd name="connsiteY325" fmla="*/ 1338657 h 4981532"/>
              <a:gd name="connsiteX326" fmla="*/ 4643178 w 5380459"/>
              <a:gd name="connsiteY326" fmla="*/ 1043842 h 4981532"/>
              <a:gd name="connsiteX327" fmla="*/ 3566831 w 5380459"/>
              <a:gd name="connsiteY327" fmla="*/ 1003678 h 4981532"/>
              <a:gd name="connsiteX328" fmla="*/ 3536480 w 5380459"/>
              <a:gd name="connsiteY328" fmla="*/ 1035408 h 4981532"/>
              <a:gd name="connsiteX329" fmla="*/ 3630139 w 5380459"/>
              <a:gd name="connsiteY329" fmla="*/ 1120530 h 4981532"/>
              <a:gd name="connsiteX330" fmla="*/ 3669503 w 5380459"/>
              <a:gd name="connsiteY330" fmla="*/ 1097561 h 4981532"/>
              <a:gd name="connsiteX331" fmla="*/ 3582631 w 5380459"/>
              <a:gd name="connsiteY331" fmla="*/ 1004332 h 4981532"/>
              <a:gd name="connsiteX332" fmla="*/ 3566831 w 5380459"/>
              <a:gd name="connsiteY332" fmla="*/ 1003678 h 4981532"/>
              <a:gd name="connsiteX333" fmla="*/ 662755 w 5380459"/>
              <a:gd name="connsiteY333" fmla="*/ 942258 h 4981532"/>
              <a:gd name="connsiteX334" fmla="*/ 670926 w 5380459"/>
              <a:gd name="connsiteY334" fmla="*/ 942258 h 4981532"/>
              <a:gd name="connsiteX335" fmla="*/ 583765 w 5380459"/>
              <a:gd name="connsiteY335" fmla="*/ 1074794 h 4981532"/>
              <a:gd name="connsiteX336" fmla="*/ 662755 w 5380459"/>
              <a:gd name="connsiteY336" fmla="*/ 942258 h 4981532"/>
              <a:gd name="connsiteX337" fmla="*/ 3763281 w 5380459"/>
              <a:gd name="connsiteY337" fmla="*/ 896386 h 4981532"/>
              <a:gd name="connsiteX338" fmla="*/ 3755186 w 5380459"/>
              <a:gd name="connsiteY338" fmla="*/ 965194 h 4981532"/>
              <a:gd name="connsiteX339" fmla="*/ 3763281 w 5380459"/>
              <a:gd name="connsiteY339" fmla="*/ 896386 h 4981532"/>
              <a:gd name="connsiteX340" fmla="*/ 4517005 w 5380459"/>
              <a:gd name="connsiteY340" fmla="*/ 865415 h 4981532"/>
              <a:gd name="connsiteX341" fmla="*/ 4508877 w 5380459"/>
              <a:gd name="connsiteY341" fmla="*/ 911169 h 4981532"/>
              <a:gd name="connsiteX342" fmla="*/ 4517005 w 5380459"/>
              <a:gd name="connsiteY342" fmla="*/ 865415 h 4981532"/>
              <a:gd name="connsiteX343" fmla="*/ 3684610 w 5380459"/>
              <a:gd name="connsiteY343" fmla="*/ 834324 h 4981532"/>
              <a:gd name="connsiteX344" fmla="*/ 3669742 w 5380459"/>
              <a:gd name="connsiteY344" fmla="*/ 865326 h 4981532"/>
              <a:gd name="connsiteX345" fmla="*/ 3684610 w 5380459"/>
              <a:gd name="connsiteY345" fmla="*/ 834324 h 4981532"/>
              <a:gd name="connsiteX346" fmla="*/ 4039260 w 5380459"/>
              <a:gd name="connsiteY346" fmla="*/ 811486 h 4981532"/>
              <a:gd name="connsiteX347" fmla="*/ 4031117 w 5380459"/>
              <a:gd name="connsiteY347" fmla="*/ 849345 h 4981532"/>
              <a:gd name="connsiteX348" fmla="*/ 4155983 w 5380459"/>
              <a:gd name="connsiteY348" fmla="*/ 989967 h 4981532"/>
              <a:gd name="connsiteX349" fmla="*/ 4274063 w 5380459"/>
              <a:gd name="connsiteY349" fmla="*/ 1113011 h 4981532"/>
              <a:gd name="connsiteX350" fmla="*/ 4367712 w 5380459"/>
              <a:gd name="connsiteY350" fmla="*/ 1353690 h 4981532"/>
              <a:gd name="connsiteX351" fmla="*/ 4485792 w 5380459"/>
              <a:gd name="connsiteY351" fmla="*/ 1734991 h 4981532"/>
              <a:gd name="connsiteX352" fmla="*/ 4579441 w 5380459"/>
              <a:gd name="connsiteY352" fmla="*/ 2013530 h 4981532"/>
              <a:gd name="connsiteX353" fmla="*/ 4564512 w 5380459"/>
              <a:gd name="connsiteY353" fmla="*/ 2129813 h 4981532"/>
              <a:gd name="connsiteX354" fmla="*/ 4658162 w 5380459"/>
              <a:gd name="connsiteY354" fmla="*/ 2192011 h 4981532"/>
              <a:gd name="connsiteX355" fmla="*/ 4697521 w 5380459"/>
              <a:gd name="connsiteY355" fmla="*/ 2463790 h 4981532"/>
              <a:gd name="connsiteX356" fmla="*/ 4713808 w 5380459"/>
              <a:gd name="connsiteY356" fmla="*/ 2588186 h 4981532"/>
              <a:gd name="connsiteX357" fmla="*/ 4784385 w 5380459"/>
              <a:gd name="connsiteY357" fmla="*/ 2650384 h 4981532"/>
              <a:gd name="connsiteX358" fmla="*/ 4869891 w 5380459"/>
              <a:gd name="connsiteY358" fmla="*/ 2681483 h 4981532"/>
              <a:gd name="connsiteX359" fmla="*/ 4861747 w 5380459"/>
              <a:gd name="connsiteY359" fmla="*/ 2424578 h 4981532"/>
              <a:gd name="connsiteX360" fmla="*/ 4838674 w 5380459"/>
              <a:gd name="connsiteY360" fmla="*/ 2192011 h 4981532"/>
              <a:gd name="connsiteX361" fmla="*/ 4776241 w 5380459"/>
              <a:gd name="connsiteY361" fmla="*/ 1974318 h 4981532"/>
              <a:gd name="connsiteX362" fmla="*/ 4618801 w 5380459"/>
              <a:gd name="connsiteY362" fmla="*/ 1648455 h 4981532"/>
              <a:gd name="connsiteX363" fmla="*/ 4525152 w 5380459"/>
              <a:gd name="connsiteY363" fmla="*/ 1384789 h 4981532"/>
              <a:gd name="connsiteX364" fmla="*/ 4336496 w 5380459"/>
              <a:gd name="connsiteY364" fmla="*/ 1106250 h 4981532"/>
              <a:gd name="connsiteX365" fmla="*/ 4288992 w 5380459"/>
              <a:gd name="connsiteY365" fmla="*/ 1012953 h 4981532"/>
              <a:gd name="connsiteX366" fmla="*/ 4288992 w 5380459"/>
              <a:gd name="connsiteY366" fmla="*/ 911543 h 4981532"/>
              <a:gd name="connsiteX367" fmla="*/ 4155983 w 5380459"/>
              <a:gd name="connsiteY367" fmla="*/ 927769 h 4981532"/>
              <a:gd name="connsiteX368" fmla="*/ 4039260 w 5380459"/>
              <a:gd name="connsiteY368" fmla="*/ 811486 h 4981532"/>
              <a:gd name="connsiteX369" fmla="*/ 3496951 w 5380459"/>
              <a:gd name="connsiteY369" fmla="*/ 763692 h 4981532"/>
              <a:gd name="connsiteX370" fmla="*/ 3520079 w 5380459"/>
              <a:gd name="connsiteY370" fmla="*/ 904163 h 4981532"/>
              <a:gd name="connsiteX371" fmla="*/ 3496951 w 5380459"/>
              <a:gd name="connsiteY371" fmla="*/ 763692 h 4981532"/>
              <a:gd name="connsiteX372" fmla="*/ 3418041 w 5380459"/>
              <a:gd name="connsiteY372" fmla="*/ 694844 h 4981532"/>
              <a:gd name="connsiteX373" fmla="*/ 3394912 w 5380459"/>
              <a:gd name="connsiteY373" fmla="*/ 757211 h 4981532"/>
              <a:gd name="connsiteX374" fmla="*/ 3449333 w 5380459"/>
              <a:gd name="connsiteY374" fmla="*/ 803307 h 4981532"/>
              <a:gd name="connsiteX375" fmla="*/ 3418041 w 5380459"/>
              <a:gd name="connsiteY375" fmla="*/ 694844 h 4981532"/>
              <a:gd name="connsiteX376" fmla="*/ 866176 w 5380459"/>
              <a:gd name="connsiteY376" fmla="*/ 686879 h 4981532"/>
              <a:gd name="connsiteX377" fmla="*/ 898765 w 5380459"/>
              <a:gd name="connsiteY377" fmla="*/ 717951 h 4981532"/>
              <a:gd name="connsiteX378" fmla="*/ 741251 w 5380459"/>
              <a:gd name="connsiteY378" fmla="*/ 826027 h 4981532"/>
              <a:gd name="connsiteX379" fmla="*/ 686935 w 5380459"/>
              <a:gd name="connsiteY379" fmla="*/ 865205 h 4981532"/>
              <a:gd name="connsiteX380" fmla="*/ 866176 w 5380459"/>
              <a:gd name="connsiteY380" fmla="*/ 686879 h 4981532"/>
              <a:gd name="connsiteX381" fmla="*/ 1806908 w 5380459"/>
              <a:gd name="connsiteY381" fmla="*/ 623646 h 4981532"/>
              <a:gd name="connsiteX382" fmla="*/ 1825227 w 5380459"/>
              <a:gd name="connsiteY382" fmla="*/ 624619 h 4981532"/>
              <a:gd name="connsiteX383" fmla="*/ 1817064 w 5380459"/>
              <a:gd name="connsiteY383" fmla="*/ 695019 h 4981532"/>
              <a:gd name="connsiteX384" fmla="*/ 1806908 w 5380459"/>
              <a:gd name="connsiteY384" fmla="*/ 623646 h 4981532"/>
              <a:gd name="connsiteX385" fmla="*/ 4092954 w 5380459"/>
              <a:gd name="connsiteY385" fmla="*/ 485127 h 4981532"/>
              <a:gd name="connsiteX386" fmla="*/ 4076633 w 5380459"/>
              <a:gd name="connsiteY386" fmla="*/ 539223 h 4981532"/>
              <a:gd name="connsiteX387" fmla="*/ 4352734 w 5380459"/>
              <a:gd name="connsiteY387" fmla="*/ 756954 h 4981532"/>
              <a:gd name="connsiteX388" fmla="*/ 4431620 w 5380459"/>
              <a:gd name="connsiteY388" fmla="*/ 748840 h 4981532"/>
              <a:gd name="connsiteX389" fmla="*/ 4092954 w 5380459"/>
              <a:gd name="connsiteY389" fmla="*/ 485127 h 4981532"/>
              <a:gd name="connsiteX390" fmla="*/ 3135600 w 5380459"/>
              <a:gd name="connsiteY390" fmla="*/ 197445 h 4981532"/>
              <a:gd name="connsiteX391" fmla="*/ 3135600 w 5380459"/>
              <a:gd name="connsiteY391" fmla="*/ 236610 h 4981532"/>
              <a:gd name="connsiteX392" fmla="*/ 3214452 w 5380459"/>
              <a:gd name="connsiteY392" fmla="*/ 329799 h 4981532"/>
              <a:gd name="connsiteX393" fmla="*/ 3245721 w 5380459"/>
              <a:gd name="connsiteY393" fmla="*/ 244714 h 4981532"/>
              <a:gd name="connsiteX394" fmla="*/ 3135600 w 5380459"/>
              <a:gd name="connsiteY394" fmla="*/ 197445 h 4981532"/>
              <a:gd name="connsiteX395" fmla="*/ 3033862 w 5380459"/>
              <a:gd name="connsiteY395" fmla="*/ 197441 h 4981532"/>
              <a:gd name="connsiteX396" fmla="*/ 2899432 w 5380459"/>
              <a:gd name="connsiteY396" fmla="*/ 298691 h 4981532"/>
              <a:gd name="connsiteX397" fmla="*/ 3073241 w 5380459"/>
              <a:gd name="connsiteY397" fmla="*/ 283841 h 4981532"/>
              <a:gd name="connsiteX398" fmla="*/ 3033862 w 5380459"/>
              <a:gd name="connsiteY398" fmla="*/ 197441 h 4981532"/>
              <a:gd name="connsiteX399" fmla="*/ 3370960 w 5380459"/>
              <a:gd name="connsiteY399" fmla="*/ 190291 h 4981532"/>
              <a:gd name="connsiteX400" fmla="*/ 3410335 w 5380459"/>
              <a:gd name="connsiteY400" fmla="*/ 298737 h 4981532"/>
              <a:gd name="connsiteX401" fmla="*/ 3497230 w 5380459"/>
              <a:gd name="connsiteY401" fmla="*/ 252648 h 4981532"/>
              <a:gd name="connsiteX402" fmla="*/ 3622143 w 5380459"/>
              <a:gd name="connsiteY402" fmla="*/ 321782 h 4981532"/>
              <a:gd name="connsiteX403" fmla="*/ 3802724 w 5380459"/>
              <a:gd name="connsiteY403" fmla="*/ 306871 h 4981532"/>
              <a:gd name="connsiteX404" fmla="*/ 3638436 w 5380459"/>
              <a:gd name="connsiteY404" fmla="*/ 221469 h 4981532"/>
              <a:gd name="connsiteX405" fmla="*/ 3370960 w 5380459"/>
              <a:gd name="connsiteY405" fmla="*/ 190291 h 4981532"/>
              <a:gd name="connsiteX406" fmla="*/ 3347272 w 5380459"/>
              <a:gd name="connsiteY406" fmla="*/ 0 h 4981532"/>
              <a:gd name="connsiteX407" fmla="*/ 3747934 w 5380459"/>
              <a:gd name="connsiteY407" fmla="*/ 39221 h 4981532"/>
              <a:gd name="connsiteX408" fmla="*/ 4454184 w 5380459"/>
              <a:gd name="connsiteY408" fmla="*/ 388153 h 4981532"/>
              <a:gd name="connsiteX409" fmla="*/ 4752983 w 5380459"/>
              <a:gd name="connsiteY409" fmla="*/ 699217 h 4981532"/>
              <a:gd name="connsiteX410" fmla="*/ 5106108 w 5380459"/>
              <a:gd name="connsiteY410" fmla="*/ 1264541 h 4981532"/>
              <a:gd name="connsiteX411" fmla="*/ 5278596 w 5380459"/>
              <a:gd name="connsiteY411" fmla="*/ 1668924 h 4981532"/>
              <a:gd name="connsiteX412" fmla="*/ 5380459 w 5380459"/>
              <a:gd name="connsiteY412" fmla="*/ 2677853 h 4981532"/>
              <a:gd name="connsiteX413" fmla="*/ 5301685 w 5380459"/>
              <a:gd name="connsiteY413" fmla="*/ 3267522 h 4981532"/>
              <a:gd name="connsiteX414" fmla="*/ 5216120 w 5380459"/>
              <a:gd name="connsiteY414" fmla="*/ 3546127 h 4981532"/>
              <a:gd name="connsiteX415" fmla="*/ 5160435 w 5380459"/>
              <a:gd name="connsiteY415" fmla="*/ 3732765 h 4981532"/>
              <a:gd name="connsiteX416" fmla="*/ 4736685 w 5380459"/>
              <a:gd name="connsiteY416" fmla="*/ 4283213 h 4981532"/>
              <a:gd name="connsiteX417" fmla="*/ 4618523 w 5380459"/>
              <a:gd name="connsiteY417" fmla="*/ 4322434 h 4981532"/>
              <a:gd name="connsiteX418" fmla="*/ 4477273 w 5380459"/>
              <a:gd name="connsiteY418" fmla="*/ 4477966 h 4981532"/>
              <a:gd name="connsiteX419" fmla="*/ 4234160 w 5380459"/>
              <a:gd name="connsiteY419" fmla="*/ 4671367 h 4981532"/>
              <a:gd name="connsiteX420" fmla="*/ 3920422 w 5380459"/>
              <a:gd name="connsiteY420" fmla="*/ 4835013 h 4981532"/>
              <a:gd name="connsiteX421" fmla="*/ 3472224 w 5380459"/>
              <a:gd name="connsiteY421" fmla="*/ 4974316 h 4981532"/>
              <a:gd name="connsiteX422" fmla="*/ 3449135 w 5380459"/>
              <a:gd name="connsiteY422" fmla="*/ 4943209 h 4981532"/>
              <a:gd name="connsiteX423" fmla="*/ 3527909 w 5380459"/>
              <a:gd name="connsiteY423" fmla="*/ 4849890 h 4981532"/>
              <a:gd name="connsiteX424" fmla="*/ 3276647 w 5380459"/>
              <a:gd name="connsiteY424" fmla="*/ 4912103 h 4981532"/>
              <a:gd name="connsiteX425" fmla="*/ 3151695 w 5380459"/>
              <a:gd name="connsiteY425" fmla="*/ 4897226 h 4981532"/>
              <a:gd name="connsiteX426" fmla="*/ 3041683 w 5380459"/>
              <a:gd name="connsiteY426" fmla="*/ 4905341 h 4981532"/>
              <a:gd name="connsiteX427" fmla="*/ 2971058 w 5380459"/>
              <a:gd name="connsiteY427" fmla="*/ 4843128 h 4981532"/>
              <a:gd name="connsiteX428" fmla="*/ 2884135 w 5380459"/>
              <a:gd name="connsiteY428" fmla="*/ 4905341 h 4981532"/>
              <a:gd name="connsiteX429" fmla="*/ 2765973 w 5380459"/>
              <a:gd name="connsiteY429" fmla="*/ 4905341 h 4981532"/>
              <a:gd name="connsiteX430" fmla="*/ 2688557 w 5380459"/>
              <a:gd name="connsiteY430" fmla="*/ 4943209 h 4981532"/>
              <a:gd name="connsiteX431" fmla="*/ 2734735 w 5380459"/>
              <a:gd name="connsiteY431" fmla="*/ 4849890 h 4981532"/>
              <a:gd name="connsiteX432" fmla="*/ 2703497 w 5380459"/>
              <a:gd name="connsiteY432" fmla="*/ 4749809 h 4981532"/>
              <a:gd name="connsiteX433" fmla="*/ 2632872 w 5380459"/>
              <a:gd name="connsiteY433" fmla="*/ 4656490 h 4981532"/>
              <a:gd name="connsiteX434" fmla="*/ 2514711 w 5380459"/>
              <a:gd name="connsiteY434" fmla="*/ 4664604 h 4981532"/>
              <a:gd name="connsiteX435" fmla="*/ 2256658 w 5380459"/>
              <a:gd name="connsiteY435" fmla="*/ 4633498 h 4981532"/>
              <a:gd name="connsiteX436" fmla="*/ 2099110 w 5380459"/>
              <a:gd name="connsiteY436" fmla="*/ 4579400 h 4981532"/>
              <a:gd name="connsiteX437" fmla="*/ 1903533 w 5380459"/>
              <a:gd name="connsiteY437" fmla="*/ 4509072 h 4981532"/>
              <a:gd name="connsiteX438" fmla="*/ 1816610 w 5380459"/>
              <a:gd name="connsiteY438" fmla="*/ 4384647 h 4981532"/>
              <a:gd name="connsiteX439" fmla="*/ 1714747 w 5380459"/>
              <a:gd name="connsiteY439" fmla="*/ 4283213 h 4981532"/>
              <a:gd name="connsiteX440" fmla="*/ 1619674 w 5380459"/>
              <a:gd name="connsiteY440" fmla="*/ 4206123 h 4981532"/>
              <a:gd name="connsiteX441" fmla="*/ 1486574 w 5380459"/>
              <a:gd name="connsiteY441" fmla="*/ 4066821 h 4981532"/>
              <a:gd name="connsiteX442" fmla="*/ 1401009 w 5380459"/>
              <a:gd name="connsiteY442" fmla="*/ 3973502 h 4981532"/>
              <a:gd name="connsiteX443" fmla="*/ 1322234 w 5380459"/>
              <a:gd name="connsiteY443" fmla="*/ 3872068 h 4981532"/>
              <a:gd name="connsiteX444" fmla="*/ 1220372 w 5380459"/>
              <a:gd name="connsiteY444" fmla="*/ 3724651 h 4981532"/>
              <a:gd name="connsiteX445" fmla="*/ 1149746 w 5380459"/>
              <a:gd name="connsiteY445" fmla="*/ 3709774 h 4981532"/>
              <a:gd name="connsiteX446" fmla="*/ 1133448 w 5380459"/>
              <a:gd name="connsiteY446" fmla="*/ 3786863 h 4981532"/>
              <a:gd name="connsiteX447" fmla="*/ 1164686 w 5380459"/>
              <a:gd name="connsiteY447" fmla="*/ 3919403 h 4981532"/>
              <a:gd name="connsiteX448" fmla="*/ 1243460 w 5380459"/>
              <a:gd name="connsiteY448" fmla="*/ 3927518 h 4981532"/>
              <a:gd name="connsiteX449" fmla="*/ 1282848 w 5380459"/>
              <a:gd name="connsiteY449" fmla="*/ 4019485 h 4981532"/>
              <a:gd name="connsiteX450" fmla="*/ 1274699 w 5380459"/>
              <a:gd name="connsiteY450" fmla="*/ 4089812 h 4981532"/>
              <a:gd name="connsiteX451" fmla="*/ 1195925 w 5380459"/>
              <a:gd name="connsiteY451" fmla="*/ 4089812 h 4981532"/>
              <a:gd name="connsiteX452" fmla="*/ 1149746 w 5380459"/>
              <a:gd name="connsiteY452" fmla="*/ 4089812 h 4981532"/>
              <a:gd name="connsiteX453" fmla="*/ 1172836 w 5380459"/>
              <a:gd name="connsiteY453" fmla="*/ 4191246 h 4981532"/>
              <a:gd name="connsiteX454" fmla="*/ 1243460 w 5380459"/>
              <a:gd name="connsiteY454" fmla="*/ 4276451 h 4981532"/>
              <a:gd name="connsiteX455" fmla="*/ 1125299 w 5380459"/>
              <a:gd name="connsiteY455" fmla="*/ 4245344 h 4981532"/>
              <a:gd name="connsiteX456" fmla="*/ 960960 w 5380459"/>
              <a:gd name="connsiteY456" fmla="*/ 4081698 h 4981532"/>
              <a:gd name="connsiteX457" fmla="*/ 780323 w 5380459"/>
              <a:gd name="connsiteY457" fmla="*/ 3826084 h 4981532"/>
              <a:gd name="connsiteX458" fmla="*/ 693400 w 5380459"/>
              <a:gd name="connsiteY458" fmla="*/ 3662438 h 4981532"/>
              <a:gd name="connsiteX459" fmla="*/ 584745 w 5380459"/>
              <a:gd name="connsiteY459" fmla="*/ 3398710 h 4981532"/>
              <a:gd name="connsiteX460" fmla="*/ 545358 w 5380459"/>
              <a:gd name="connsiteY460" fmla="*/ 3157973 h 4981532"/>
              <a:gd name="connsiteX461" fmla="*/ 497822 w 5380459"/>
              <a:gd name="connsiteY461" fmla="*/ 2949696 h 4981532"/>
              <a:gd name="connsiteX462" fmla="*/ 458435 w 5380459"/>
              <a:gd name="connsiteY462" fmla="*/ 2715722 h 4981532"/>
              <a:gd name="connsiteX463" fmla="*/ 505971 w 5380459"/>
              <a:gd name="connsiteY463" fmla="*/ 2638632 h 4981532"/>
              <a:gd name="connsiteX464" fmla="*/ 505971 w 5380459"/>
              <a:gd name="connsiteY464" fmla="*/ 2476338 h 4981532"/>
              <a:gd name="connsiteX465" fmla="*/ 529060 w 5380459"/>
              <a:gd name="connsiteY465" fmla="*/ 2150397 h 4981532"/>
              <a:gd name="connsiteX466" fmla="*/ 622774 w 5380459"/>
              <a:gd name="connsiteY466" fmla="*/ 2040849 h 4981532"/>
              <a:gd name="connsiteX467" fmla="*/ 662161 w 5380459"/>
              <a:gd name="connsiteY467" fmla="*/ 1831218 h 4981532"/>
              <a:gd name="connsiteX468" fmla="*/ 764024 w 5380459"/>
              <a:gd name="connsiteY468" fmla="*/ 1583720 h 4981532"/>
              <a:gd name="connsiteX469" fmla="*/ 890335 w 5380459"/>
              <a:gd name="connsiteY469" fmla="*/ 1382205 h 4981532"/>
              <a:gd name="connsiteX470" fmla="*/ 1008497 w 5380459"/>
              <a:gd name="connsiteY470" fmla="*/ 1226673 h 4981532"/>
              <a:gd name="connsiteX471" fmla="*/ 1079121 w 5380459"/>
              <a:gd name="connsiteY471" fmla="*/ 1187452 h 4981532"/>
              <a:gd name="connsiteX472" fmla="*/ 1125299 w 5380459"/>
              <a:gd name="connsiteY472" fmla="*/ 1110362 h 4981532"/>
              <a:gd name="connsiteX473" fmla="*/ 1180985 w 5380459"/>
              <a:gd name="connsiteY473" fmla="*/ 1156345 h 4981532"/>
              <a:gd name="connsiteX474" fmla="*/ 1282848 w 5380459"/>
              <a:gd name="connsiteY474" fmla="*/ 1203681 h 4981532"/>
              <a:gd name="connsiteX475" fmla="*/ 1212223 w 5380459"/>
              <a:gd name="connsiteY475" fmla="*/ 1303763 h 4981532"/>
              <a:gd name="connsiteX476" fmla="*/ 1102211 w 5380459"/>
              <a:gd name="connsiteY476" fmla="*/ 1280771 h 4981532"/>
              <a:gd name="connsiteX477" fmla="*/ 1141597 w 5380459"/>
              <a:gd name="connsiteY477" fmla="*/ 1357861 h 4981532"/>
              <a:gd name="connsiteX478" fmla="*/ 1106794 w 5380459"/>
              <a:gd name="connsiteY478" fmla="*/ 1437656 h 4981532"/>
              <a:gd name="connsiteX479" fmla="*/ 1105337 w 5380459"/>
              <a:gd name="connsiteY479" fmla="*/ 1439546 h 4981532"/>
              <a:gd name="connsiteX480" fmla="*/ 1102047 w 5380459"/>
              <a:gd name="connsiteY480" fmla="*/ 1435471 h 4981532"/>
              <a:gd name="connsiteX481" fmla="*/ 1086146 w 5380459"/>
              <a:gd name="connsiteY481" fmla="*/ 1431927 h 4981532"/>
              <a:gd name="connsiteX482" fmla="*/ 1063118 w 5380459"/>
              <a:gd name="connsiteY482" fmla="*/ 1462929 h 4981532"/>
              <a:gd name="connsiteX483" fmla="*/ 1072997 w 5380459"/>
              <a:gd name="connsiteY483" fmla="*/ 1477077 h 4981532"/>
              <a:gd name="connsiteX484" fmla="*/ 1075712 w 5380459"/>
              <a:gd name="connsiteY484" fmla="*/ 1477983 h 4981532"/>
              <a:gd name="connsiteX485" fmla="*/ 1054674 w 5380459"/>
              <a:gd name="connsiteY485" fmla="*/ 1505278 h 4981532"/>
              <a:gd name="connsiteX486" fmla="*/ 1000348 w 5380459"/>
              <a:gd name="connsiteY486" fmla="*/ 1559376 h 4981532"/>
              <a:gd name="connsiteX487" fmla="*/ 952811 w 5380459"/>
              <a:gd name="connsiteY487" fmla="*/ 1668924 h 4981532"/>
              <a:gd name="connsiteX488" fmla="*/ 898484 w 5380459"/>
              <a:gd name="connsiteY488" fmla="*/ 1691916 h 4981532"/>
              <a:gd name="connsiteX489" fmla="*/ 842800 w 5380459"/>
              <a:gd name="connsiteY489" fmla="*/ 1893431 h 4981532"/>
              <a:gd name="connsiteX490" fmla="*/ 796621 w 5380459"/>
              <a:gd name="connsiteY490" fmla="*/ 1971874 h 4981532"/>
              <a:gd name="connsiteX491" fmla="*/ 709697 w 5380459"/>
              <a:gd name="connsiteY491" fmla="*/ 2025972 h 4981532"/>
              <a:gd name="connsiteX492" fmla="*/ 678459 w 5380459"/>
              <a:gd name="connsiteY492" fmla="*/ 2111176 h 4981532"/>
              <a:gd name="connsiteX493" fmla="*/ 686608 w 5380459"/>
              <a:gd name="connsiteY493" fmla="*/ 2304577 h 4981532"/>
              <a:gd name="connsiteX494" fmla="*/ 662161 w 5380459"/>
              <a:gd name="connsiteY494" fmla="*/ 2483100 h 4981532"/>
              <a:gd name="connsiteX495" fmla="*/ 647221 w 5380459"/>
              <a:gd name="connsiteY495" fmla="*/ 2794164 h 4981532"/>
              <a:gd name="connsiteX496" fmla="*/ 693400 w 5380459"/>
              <a:gd name="connsiteY496" fmla="*/ 3097113 h 4981532"/>
              <a:gd name="connsiteX497" fmla="*/ 757235 w 5380459"/>
              <a:gd name="connsiteY497" fmla="*/ 3329735 h 4981532"/>
              <a:gd name="connsiteX498" fmla="*/ 890335 w 5380459"/>
              <a:gd name="connsiteY498" fmla="*/ 3686782 h 4981532"/>
              <a:gd name="connsiteX499" fmla="*/ 977258 w 5380459"/>
              <a:gd name="connsiteY499" fmla="*/ 3911289 h 4981532"/>
              <a:gd name="connsiteX500" fmla="*/ 1102211 w 5380459"/>
              <a:gd name="connsiteY500" fmla="*/ 3988379 h 4981532"/>
              <a:gd name="connsiteX501" fmla="*/ 1000348 w 5380459"/>
              <a:gd name="connsiteY501" fmla="*/ 3771986 h 4981532"/>
              <a:gd name="connsiteX502" fmla="*/ 913425 w 5380459"/>
              <a:gd name="connsiteY502" fmla="*/ 3585348 h 4981532"/>
              <a:gd name="connsiteX503" fmla="*/ 882186 w 5380459"/>
              <a:gd name="connsiteY503" fmla="*/ 3414939 h 4981532"/>
              <a:gd name="connsiteX504" fmla="*/ 834651 w 5380459"/>
              <a:gd name="connsiteY504" fmla="*/ 3166088 h 4981532"/>
              <a:gd name="connsiteX505" fmla="*/ 827860 w 5380459"/>
              <a:gd name="connsiteY505" fmla="*/ 2933467 h 4981532"/>
              <a:gd name="connsiteX506" fmla="*/ 898484 w 5380459"/>
              <a:gd name="connsiteY506" fmla="*/ 2956458 h 4981532"/>
              <a:gd name="connsiteX507" fmla="*/ 952811 w 5380459"/>
              <a:gd name="connsiteY507" fmla="*/ 2630517 h 4981532"/>
              <a:gd name="connsiteX508" fmla="*/ 984049 w 5380459"/>
              <a:gd name="connsiteY508" fmla="*/ 2483100 h 4981532"/>
              <a:gd name="connsiteX509" fmla="*/ 1000348 w 5380459"/>
              <a:gd name="connsiteY509" fmla="*/ 2242364 h 4981532"/>
              <a:gd name="connsiteX510" fmla="*/ 1189134 w 5380459"/>
              <a:gd name="connsiteY510" fmla="*/ 1668924 h 4981532"/>
              <a:gd name="connsiteX511" fmla="*/ 1337174 w 5380459"/>
              <a:gd name="connsiteY511" fmla="*/ 1397082 h 4981532"/>
              <a:gd name="connsiteX512" fmla="*/ 1415948 w 5380459"/>
              <a:gd name="connsiteY512" fmla="*/ 1226673 h 4981532"/>
              <a:gd name="connsiteX513" fmla="*/ 1322234 w 5380459"/>
              <a:gd name="connsiteY513" fmla="*/ 1117124 h 4981532"/>
              <a:gd name="connsiteX514" fmla="*/ 1415948 w 5380459"/>
              <a:gd name="connsiteY514" fmla="*/ 1008928 h 4981532"/>
              <a:gd name="connsiteX515" fmla="*/ 1478425 w 5380459"/>
              <a:gd name="connsiteY515" fmla="*/ 1048149 h 4981532"/>
              <a:gd name="connsiteX516" fmla="*/ 1415948 w 5380459"/>
              <a:gd name="connsiteY516" fmla="*/ 1148231 h 4981532"/>
              <a:gd name="connsiteX517" fmla="*/ 1494723 w 5380459"/>
              <a:gd name="connsiteY517" fmla="*/ 1125239 h 4981532"/>
              <a:gd name="connsiteX518" fmla="*/ 1581645 w 5380459"/>
              <a:gd name="connsiteY518" fmla="*/ 861511 h 4981532"/>
              <a:gd name="connsiteX519" fmla="*/ 1690299 w 5380459"/>
              <a:gd name="connsiteY519" fmla="*/ 799298 h 4981532"/>
              <a:gd name="connsiteX520" fmla="*/ 1879086 w 5380459"/>
              <a:gd name="connsiteY520" fmla="*/ 730323 h 4981532"/>
              <a:gd name="connsiteX521" fmla="*/ 2044783 w 5380459"/>
              <a:gd name="connsiteY521" fmla="*/ 659996 h 4981532"/>
              <a:gd name="connsiteX522" fmla="*/ 2012187 w 5380459"/>
              <a:gd name="connsiteY522" fmla="*/ 582906 h 4981532"/>
              <a:gd name="connsiteX523" fmla="*/ 2051574 w 5380459"/>
              <a:gd name="connsiteY523" fmla="*/ 558562 h 4981532"/>
              <a:gd name="connsiteX524" fmla="*/ 1989098 w 5380459"/>
              <a:gd name="connsiteY524" fmla="*/ 458481 h 4981532"/>
              <a:gd name="connsiteX525" fmla="*/ 2115408 w 5380459"/>
              <a:gd name="connsiteY525" fmla="*/ 404383 h 4981532"/>
              <a:gd name="connsiteX526" fmla="*/ 2319134 w 5380459"/>
              <a:gd name="connsiteY526" fmla="*/ 396268 h 4981532"/>
              <a:gd name="connsiteX527" fmla="*/ 2099110 w 5380459"/>
              <a:gd name="connsiteY527" fmla="*/ 458481 h 4981532"/>
              <a:gd name="connsiteX528" fmla="*/ 2107259 w 5380459"/>
              <a:gd name="connsiteY528" fmla="*/ 582906 h 4981532"/>
              <a:gd name="connsiteX529" fmla="*/ 2192824 w 5380459"/>
              <a:gd name="connsiteY529" fmla="*/ 504464 h 4981532"/>
              <a:gd name="connsiteX530" fmla="*/ 2366670 w 5380459"/>
              <a:gd name="connsiteY530" fmla="*/ 481472 h 4981532"/>
              <a:gd name="connsiteX531" fmla="*/ 2491622 w 5380459"/>
              <a:gd name="connsiteY531" fmla="*/ 427374 h 4981532"/>
              <a:gd name="connsiteX532" fmla="*/ 2688557 w 5380459"/>
              <a:gd name="connsiteY532" fmla="*/ 325941 h 4981532"/>
              <a:gd name="connsiteX533" fmla="*/ 2742884 w 5380459"/>
              <a:gd name="connsiteY533" fmla="*/ 240736 h 4981532"/>
              <a:gd name="connsiteX534" fmla="*/ 2522860 w 5380459"/>
              <a:gd name="connsiteY534" fmla="*/ 209630 h 4981532"/>
              <a:gd name="connsiteX535" fmla="*/ 1926622 w 5380459"/>
              <a:gd name="connsiteY535" fmla="*/ 365162 h 4981532"/>
              <a:gd name="connsiteX536" fmla="*/ 1957860 w 5380459"/>
              <a:gd name="connsiteY536" fmla="*/ 473358 h 4981532"/>
              <a:gd name="connsiteX537" fmla="*/ 1855997 w 5380459"/>
              <a:gd name="connsiteY537" fmla="*/ 520694 h 4981532"/>
              <a:gd name="connsiteX538" fmla="*/ 1675359 w 5380459"/>
              <a:gd name="connsiteY538" fmla="*/ 589669 h 4981532"/>
              <a:gd name="connsiteX539" fmla="*/ 1659061 w 5380459"/>
              <a:gd name="connsiteY539" fmla="*/ 674873 h 4981532"/>
              <a:gd name="connsiteX540" fmla="*/ 1565347 w 5380459"/>
              <a:gd name="connsiteY540" fmla="*/ 705979 h 4981532"/>
              <a:gd name="connsiteX541" fmla="*/ 1314085 w 5380459"/>
              <a:gd name="connsiteY541" fmla="*/ 830405 h 4981532"/>
              <a:gd name="connsiteX542" fmla="*/ 1220372 w 5380459"/>
              <a:gd name="connsiteY542" fmla="*/ 815528 h 4981532"/>
              <a:gd name="connsiteX543" fmla="*/ 1149746 w 5380459"/>
              <a:gd name="connsiteY543" fmla="*/ 900732 h 4981532"/>
              <a:gd name="connsiteX544" fmla="*/ 1102211 w 5380459"/>
              <a:gd name="connsiteY544" fmla="*/ 853396 h 4981532"/>
              <a:gd name="connsiteX545" fmla="*/ 1062823 w 5380459"/>
              <a:gd name="connsiteY545" fmla="*/ 931839 h 4981532"/>
              <a:gd name="connsiteX546" fmla="*/ 1008497 w 5380459"/>
              <a:gd name="connsiteY546" fmla="*/ 969707 h 4981532"/>
              <a:gd name="connsiteX547" fmla="*/ 969109 w 5380459"/>
              <a:gd name="connsiteY547" fmla="*/ 1040035 h 4981532"/>
              <a:gd name="connsiteX548" fmla="*/ 913425 w 5380459"/>
              <a:gd name="connsiteY548" fmla="*/ 1071141 h 4981532"/>
              <a:gd name="connsiteX549" fmla="*/ 725996 w 5380459"/>
              <a:gd name="connsiteY549" fmla="*/ 1382205 h 4981532"/>
              <a:gd name="connsiteX550" fmla="*/ 630923 w 5380459"/>
              <a:gd name="connsiteY550" fmla="*/ 1459294 h 4981532"/>
              <a:gd name="connsiteX551" fmla="*/ 615984 w 5380459"/>
              <a:gd name="connsiteY551" fmla="*/ 1521507 h 4981532"/>
              <a:gd name="connsiteX552" fmla="*/ 576596 w 5380459"/>
              <a:gd name="connsiteY552" fmla="*/ 1606712 h 4981532"/>
              <a:gd name="connsiteX553" fmla="*/ 537209 w 5380459"/>
              <a:gd name="connsiteY553" fmla="*/ 1746014 h 4981532"/>
              <a:gd name="connsiteX554" fmla="*/ 442137 w 5380459"/>
              <a:gd name="connsiteY554" fmla="*/ 1824456 h 4981532"/>
              <a:gd name="connsiteX555" fmla="*/ 379661 w 5380459"/>
              <a:gd name="connsiteY555" fmla="*/ 1769006 h 4981532"/>
              <a:gd name="connsiteX556" fmla="*/ 442137 w 5380459"/>
              <a:gd name="connsiteY556" fmla="*/ 1521507 h 4981532"/>
              <a:gd name="connsiteX557" fmla="*/ 529060 w 5380459"/>
              <a:gd name="connsiteY557" fmla="*/ 1382205 h 4981532"/>
              <a:gd name="connsiteX558" fmla="*/ 584745 w 5380459"/>
              <a:gd name="connsiteY558" fmla="*/ 1218558 h 4981532"/>
              <a:gd name="connsiteX559" fmla="*/ 655370 w 5380459"/>
              <a:gd name="connsiteY559" fmla="*/ 1110362 h 4981532"/>
              <a:gd name="connsiteX560" fmla="*/ 898484 w 5380459"/>
              <a:gd name="connsiteY560" fmla="*/ 815528 h 4981532"/>
              <a:gd name="connsiteX561" fmla="*/ 1008497 w 5380459"/>
              <a:gd name="connsiteY561" fmla="*/ 589669 h 4981532"/>
              <a:gd name="connsiteX562" fmla="*/ 1565347 w 5380459"/>
              <a:gd name="connsiteY562" fmla="*/ 348932 h 4981532"/>
              <a:gd name="connsiteX563" fmla="*/ 1941562 w 5380459"/>
              <a:gd name="connsiteY563" fmla="*/ 248851 h 4981532"/>
              <a:gd name="connsiteX564" fmla="*/ 2507920 w 5380459"/>
              <a:gd name="connsiteY564" fmla="*/ 139302 h 4981532"/>
              <a:gd name="connsiteX565" fmla="*/ 2884135 w 5380459"/>
              <a:gd name="connsiteY565" fmla="*/ 132540 h 4981532"/>
              <a:gd name="connsiteX566" fmla="*/ 2946611 w 5380459"/>
              <a:gd name="connsiteY566" fmla="*/ 54098 h 4981532"/>
              <a:gd name="connsiteX567" fmla="*/ 3347272 w 5380459"/>
              <a:gd name="connsiteY567" fmla="*/ 0 h 498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Lst>
            <a:rect l="l" t="t" r="r" b="b"/>
            <a:pathLst>
              <a:path w="5380459" h="4981532">
                <a:moveTo>
                  <a:pt x="2421121" y="4838979"/>
                </a:moveTo>
                <a:cubicBezTo>
                  <a:pt x="2452344" y="4838979"/>
                  <a:pt x="2468634" y="4861915"/>
                  <a:pt x="2468634" y="4884851"/>
                </a:cubicBezTo>
                <a:cubicBezTo>
                  <a:pt x="2460489" y="4946913"/>
                  <a:pt x="2365462" y="4861915"/>
                  <a:pt x="2421121" y="4838979"/>
                </a:cubicBezTo>
                <a:close/>
                <a:moveTo>
                  <a:pt x="3671328" y="4821706"/>
                </a:moveTo>
                <a:cubicBezTo>
                  <a:pt x="3661968" y="4825444"/>
                  <a:pt x="3663496" y="4840397"/>
                  <a:pt x="3669609" y="4845465"/>
                </a:cubicBezTo>
                <a:cubicBezTo>
                  <a:pt x="3692700" y="4900883"/>
                  <a:pt x="3732092" y="4814377"/>
                  <a:pt x="3684550" y="4822487"/>
                </a:cubicBezTo>
                <a:cubicBezTo>
                  <a:pt x="3678777" y="4820460"/>
                  <a:pt x="3674448" y="4820460"/>
                  <a:pt x="3671328" y="4821706"/>
                </a:cubicBezTo>
                <a:close/>
                <a:moveTo>
                  <a:pt x="2938749" y="4745522"/>
                </a:moveTo>
                <a:cubicBezTo>
                  <a:pt x="2923889" y="4737395"/>
                  <a:pt x="2907679" y="4768548"/>
                  <a:pt x="2899574" y="4783447"/>
                </a:cubicBezTo>
                <a:cubicBezTo>
                  <a:pt x="2899574" y="4838980"/>
                  <a:pt x="2963064" y="4768548"/>
                  <a:pt x="2938749" y="4745522"/>
                </a:cubicBezTo>
                <a:close/>
                <a:moveTo>
                  <a:pt x="3825388" y="4527986"/>
                </a:moveTo>
                <a:cubicBezTo>
                  <a:pt x="3810447" y="4519940"/>
                  <a:pt x="3747964" y="4566874"/>
                  <a:pt x="3787355" y="4574920"/>
                </a:cubicBezTo>
                <a:cubicBezTo>
                  <a:pt x="3825388" y="4597716"/>
                  <a:pt x="3889230" y="4536032"/>
                  <a:pt x="3825388" y="4527986"/>
                </a:cubicBezTo>
                <a:close/>
                <a:moveTo>
                  <a:pt x="2012310" y="4481846"/>
                </a:moveTo>
                <a:cubicBezTo>
                  <a:pt x="1997409" y="4481846"/>
                  <a:pt x="1989281" y="4488599"/>
                  <a:pt x="1989281" y="4496702"/>
                </a:cubicBezTo>
                <a:cubicBezTo>
                  <a:pt x="1989281" y="4558828"/>
                  <a:pt x="2067850" y="4496702"/>
                  <a:pt x="2012310" y="4481846"/>
                </a:cubicBezTo>
                <a:close/>
                <a:moveTo>
                  <a:pt x="1283231" y="4341374"/>
                </a:moveTo>
                <a:cubicBezTo>
                  <a:pt x="1298168" y="4341374"/>
                  <a:pt x="1306315" y="4349477"/>
                  <a:pt x="1314463" y="4349477"/>
                </a:cubicBezTo>
                <a:cubicBezTo>
                  <a:pt x="1393220" y="4411600"/>
                  <a:pt x="1478766" y="4458867"/>
                  <a:pt x="1573818" y="4488577"/>
                </a:cubicBezTo>
                <a:cubicBezTo>
                  <a:pt x="1651217" y="4558803"/>
                  <a:pt x="1746268" y="4606070"/>
                  <a:pt x="1831815" y="4666841"/>
                </a:cubicBezTo>
                <a:cubicBezTo>
                  <a:pt x="1887488" y="4753273"/>
                  <a:pt x="1997476" y="4722211"/>
                  <a:pt x="2068086" y="4768128"/>
                </a:cubicBezTo>
                <a:cubicBezTo>
                  <a:pt x="2099317" y="4782983"/>
                  <a:pt x="2130548" y="4830250"/>
                  <a:pt x="2076233" y="4830250"/>
                </a:cubicBezTo>
                <a:cubicBezTo>
                  <a:pt x="1973034" y="4814044"/>
                  <a:pt x="1864404" y="4807292"/>
                  <a:pt x="1777500" y="4753273"/>
                </a:cubicBezTo>
                <a:cubicBezTo>
                  <a:pt x="1706890" y="4722211"/>
                  <a:pt x="1628133" y="4691150"/>
                  <a:pt x="1573818" y="4629028"/>
                </a:cubicBezTo>
                <a:cubicBezTo>
                  <a:pt x="1542586" y="4581761"/>
                  <a:pt x="1486913" y="4581761"/>
                  <a:pt x="1439388" y="4566905"/>
                </a:cubicBezTo>
                <a:cubicBezTo>
                  <a:pt x="1401367" y="4519638"/>
                  <a:pt x="1385072" y="4458867"/>
                  <a:pt x="1337547" y="4411600"/>
                </a:cubicBezTo>
                <a:cubicBezTo>
                  <a:pt x="1322610" y="4396744"/>
                  <a:pt x="1252000" y="4372435"/>
                  <a:pt x="1283231" y="4341374"/>
                </a:cubicBezTo>
                <a:close/>
                <a:moveTo>
                  <a:pt x="3991665" y="4318358"/>
                </a:moveTo>
                <a:cubicBezTo>
                  <a:pt x="3960411" y="4318358"/>
                  <a:pt x="3929157" y="4326446"/>
                  <a:pt x="3896544" y="4334533"/>
                </a:cubicBezTo>
                <a:cubicBezTo>
                  <a:pt x="3850342" y="4357447"/>
                  <a:pt x="3921003" y="4403276"/>
                  <a:pt x="3944104" y="4372274"/>
                </a:cubicBezTo>
                <a:cubicBezTo>
                  <a:pt x="3975359" y="4372274"/>
                  <a:pt x="4039226" y="4334533"/>
                  <a:pt x="3991665" y="4318358"/>
                </a:cubicBezTo>
                <a:close/>
                <a:moveTo>
                  <a:pt x="1386373" y="4232557"/>
                </a:moveTo>
                <a:cubicBezTo>
                  <a:pt x="1410265" y="4237774"/>
                  <a:pt x="1430908" y="4258641"/>
                  <a:pt x="1424792" y="4287142"/>
                </a:cubicBezTo>
                <a:cubicBezTo>
                  <a:pt x="1401685" y="4318358"/>
                  <a:pt x="1314696" y="4255926"/>
                  <a:pt x="1362268" y="4232854"/>
                </a:cubicBezTo>
                <a:cubicBezTo>
                  <a:pt x="1370084" y="4230818"/>
                  <a:pt x="1378409" y="4230818"/>
                  <a:pt x="1386373" y="4232557"/>
                </a:cubicBezTo>
                <a:close/>
                <a:moveTo>
                  <a:pt x="3865049" y="4070746"/>
                </a:moveTo>
                <a:cubicBezTo>
                  <a:pt x="3850044" y="4070746"/>
                  <a:pt x="3833676" y="4085573"/>
                  <a:pt x="3833676" y="4101748"/>
                </a:cubicBezTo>
                <a:cubicBezTo>
                  <a:pt x="3841860" y="4155664"/>
                  <a:pt x="3920975" y="4077486"/>
                  <a:pt x="3865049" y="4070746"/>
                </a:cubicBezTo>
                <a:close/>
                <a:moveTo>
                  <a:pt x="1683756" y="4046143"/>
                </a:moveTo>
                <a:cubicBezTo>
                  <a:pt x="1636116" y="4085419"/>
                  <a:pt x="1690561" y="4162617"/>
                  <a:pt x="1721868" y="4193767"/>
                </a:cubicBezTo>
                <a:cubicBezTo>
                  <a:pt x="1769508" y="4224917"/>
                  <a:pt x="1825314" y="4295343"/>
                  <a:pt x="1879760" y="4256067"/>
                </a:cubicBezTo>
                <a:cubicBezTo>
                  <a:pt x="1840287" y="4170743"/>
                  <a:pt x="1769508" y="4101672"/>
                  <a:pt x="1683756" y="4046143"/>
                </a:cubicBezTo>
                <a:close/>
                <a:moveTo>
                  <a:pt x="4367789" y="3938210"/>
                </a:moveTo>
                <a:cubicBezTo>
                  <a:pt x="4328397" y="3969316"/>
                  <a:pt x="4297156" y="4031526"/>
                  <a:pt x="4336547" y="4070746"/>
                </a:cubicBezTo>
                <a:cubicBezTo>
                  <a:pt x="4367789" y="4039641"/>
                  <a:pt x="4360997" y="4000421"/>
                  <a:pt x="4367789" y="3954439"/>
                </a:cubicBezTo>
                <a:cubicBezTo>
                  <a:pt x="4367789" y="3954439"/>
                  <a:pt x="4367789" y="3946325"/>
                  <a:pt x="4367789" y="3938210"/>
                </a:cubicBezTo>
                <a:close/>
                <a:moveTo>
                  <a:pt x="4572545" y="3923131"/>
                </a:moveTo>
                <a:cubicBezTo>
                  <a:pt x="4533347" y="3938023"/>
                  <a:pt x="4486039" y="3969162"/>
                  <a:pt x="4486039" y="4015192"/>
                </a:cubicBezTo>
                <a:cubicBezTo>
                  <a:pt x="4533347" y="4008423"/>
                  <a:pt x="4556325" y="3961039"/>
                  <a:pt x="4572545" y="3923131"/>
                </a:cubicBezTo>
                <a:close/>
                <a:moveTo>
                  <a:pt x="1546432" y="3914713"/>
                </a:moveTo>
                <a:cubicBezTo>
                  <a:pt x="1525673" y="3919185"/>
                  <a:pt x="1503581" y="3937831"/>
                  <a:pt x="1503581" y="3961013"/>
                </a:cubicBezTo>
                <a:cubicBezTo>
                  <a:pt x="1526604" y="4008049"/>
                  <a:pt x="1628180" y="3946231"/>
                  <a:pt x="1565880" y="3915322"/>
                </a:cubicBezTo>
                <a:cubicBezTo>
                  <a:pt x="1560124" y="3913306"/>
                  <a:pt x="1553352" y="3913222"/>
                  <a:pt x="1546432" y="3914713"/>
                </a:cubicBezTo>
                <a:close/>
                <a:moveTo>
                  <a:pt x="2577490" y="3813243"/>
                </a:moveTo>
                <a:cubicBezTo>
                  <a:pt x="2523394" y="3806467"/>
                  <a:pt x="2531508" y="3875580"/>
                  <a:pt x="2546385" y="3906749"/>
                </a:cubicBezTo>
                <a:cubicBezTo>
                  <a:pt x="2577490" y="3954180"/>
                  <a:pt x="2577490" y="4015162"/>
                  <a:pt x="2609948" y="4054462"/>
                </a:cubicBezTo>
                <a:cubicBezTo>
                  <a:pt x="2655930" y="4093761"/>
                  <a:pt x="2655930" y="4015162"/>
                  <a:pt x="2632939" y="3992124"/>
                </a:cubicBezTo>
                <a:cubicBezTo>
                  <a:pt x="2593719" y="3937918"/>
                  <a:pt x="2616710" y="3860674"/>
                  <a:pt x="2577490" y="3813243"/>
                </a:cubicBezTo>
                <a:close/>
                <a:moveTo>
                  <a:pt x="2197099" y="3810745"/>
                </a:moveTo>
                <a:cubicBezTo>
                  <a:pt x="2195059" y="3811601"/>
                  <a:pt x="2193018" y="3813312"/>
                  <a:pt x="2193018" y="3813312"/>
                </a:cubicBezTo>
                <a:cubicBezTo>
                  <a:pt x="2153563" y="3861227"/>
                  <a:pt x="2248799" y="3836585"/>
                  <a:pt x="2201181" y="3813312"/>
                </a:cubicBezTo>
                <a:cubicBezTo>
                  <a:pt x="2201181" y="3809890"/>
                  <a:pt x="2199140" y="3809890"/>
                  <a:pt x="2197099" y="3810745"/>
                </a:cubicBezTo>
                <a:close/>
                <a:moveTo>
                  <a:pt x="2766359" y="3713740"/>
                </a:moveTo>
                <a:cubicBezTo>
                  <a:pt x="2720214" y="3705676"/>
                  <a:pt x="2735143" y="3759431"/>
                  <a:pt x="2758216" y="3767495"/>
                </a:cubicBezTo>
                <a:cubicBezTo>
                  <a:pt x="2797575" y="3806467"/>
                  <a:pt x="2813862" y="3705676"/>
                  <a:pt x="2766359" y="3713740"/>
                </a:cubicBezTo>
                <a:close/>
                <a:moveTo>
                  <a:pt x="3198103" y="3666403"/>
                </a:moveTo>
                <a:cubicBezTo>
                  <a:pt x="3166729" y="3659646"/>
                  <a:pt x="3150361" y="3689375"/>
                  <a:pt x="3158545" y="3713699"/>
                </a:cubicBezTo>
                <a:cubicBezTo>
                  <a:pt x="3174914" y="3759643"/>
                  <a:pt x="3237660" y="3682619"/>
                  <a:pt x="3198103" y="3666403"/>
                </a:cubicBezTo>
                <a:close/>
                <a:moveTo>
                  <a:pt x="1934991" y="3650916"/>
                </a:moveTo>
                <a:cubicBezTo>
                  <a:pt x="1918648" y="3689010"/>
                  <a:pt x="1966314" y="3728465"/>
                  <a:pt x="2005810" y="3736628"/>
                </a:cubicBezTo>
                <a:cubicBezTo>
                  <a:pt x="2028962" y="3713500"/>
                  <a:pt x="1973124" y="3665882"/>
                  <a:pt x="1941800" y="3650916"/>
                </a:cubicBezTo>
                <a:cubicBezTo>
                  <a:pt x="1934991" y="3650916"/>
                  <a:pt x="1934991" y="3650916"/>
                  <a:pt x="1934991" y="3650916"/>
                </a:cubicBezTo>
                <a:close/>
                <a:moveTo>
                  <a:pt x="2114356" y="3603879"/>
                </a:moveTo>
                <a:cubicBezTo>
                  <a:pt x="2068250" y="3589013"/>
                  <a:pt x="2060114" y="3651181"/>
                  <a:pt x="2060114" y="3682265"/>
                </a:cubicBezTo>
                <a:cubicBezTo>
                  <a:pt x="2051978" y="3744432"/>
                  <a:pt x="2130629" y="3775516"/>
                  <a:pt x="2169954" y="3728215"/>
                </a:cubicBezTo>
                <a:cubicBezTo>
                  <a:pt x="2224196" y="3682265"/>
                  <a:pt x="2161818" y="3620097"/>
                  <a:pt x="2114356" y="3603879"/>
                </a:cubicBezTo>
                <a:close/>
                <a:moveTo>
                  <a:pt x="1376677" y="3581076"/>
                </a:moveTo>
                <a:cubicBezTo>
                  <a:pt x="1353584" y="3581076"/>
                  <a:pt x="1384827" y="3612078"/>
                  <a:pt x="1384827" y="3620165"/>
                </a:cubicBezTo>
                <a:cubicBezTo>
                  <a:pt x="1424218" y="3665994"/>
                  <a:pt x="1407918" y="3589164"/>
                  <a:pt x="1376677" y="3581076"/>
                </a:cubicBezTo>
                <a:close/>
                <a:moveTo>
                  <a:pt x="1322912" y="3480356"/>
                </a:moveTo>
                <a:cubicBezTo>
                  <a:pt x="1311593" y="3484077"/>
                  <a:pt x="1310059" y="3499722"/>
                  <a:pt x="1322335" y="3510824"/>
                </a:cubicBezTo>
                <a:cubicBezTo>
                  <a:pt x="1345524" y="3565998"/>
                  <a:pt x="1393266" y="3473143"/>
                  <a:pt x="1337339" y="3481218"/>
                </a:cubicBezTo>
                <a:cubicBezTo>
                  <a:pt x="1331542" y="3479199"/>
                  <a:pt x="1326683" y="3479115"/>
                  <a:pt x="1322912" y="3480356"/>
                </a:cubicBezTo>
                <a:close/>
                <a:moveTo>
                  <a:pt x="1831856" y="3456477"/>
                </a:moveTo>
                <a:cubicBezTo>
                  <a:pt x="1831856" y="3456477"/>
                  <a:pt x="1825012" y="3456477"/>
                  <a:pt x="1825012" y="3464572"/>
                </a:cubicBezTo>
                <a:cubicBezTo>
                  <a:pt x="1785319" y="3510444"/>
                  <a:pt x="1879761" y="3487508"/>
                  <a:pt x="1831856" y="3456477"/>
                </a:cubicBezTo>
                <a:close/>
                <a:moveTo>
                  <a:pt x="4352568" y="3308861"/>
                </a:moveTo>
                <a:cubicBezTo>
                  <a:pt x="4296891" y="3325113"/>
                  <a:pt x="4305039" y="3379284"/>
                  <a:pt x="4305039" y="3418559"/>
                </a:cubicBezTo>
                <a:cubicBezTo>
                  <a:pt x="4321335" y="3456479"/>
                  <a:pt x="4281953" y="3503879"/>
                  <a:pt x="4250719" y="3464605"/>
                </a:cubicBezTo>
                <a:cubicBezTo>
                  <a:pt x="4211338" y="3418559"/>
                  <a:pt x="4155660" y="3480856"/>
                  <a:pt x="4163808" y="3526902"/>
                </a:cubicBezTo>
                <a:cubicBezTo>
                  <a:pt x="4171956" y="3589199"/>
                  <a:pt x="4093193" y="3612222"/>
                  <a:pt x="4101341" y="3674520"/>
                </a:cubicBezTo>
                <a:cubicBezTo>
                  <a:pt x="4109489" y="3728691"/>
                  <a:pt x="4163808" y="3697543"/>
                  <a:pt x="4180104" y="3666394"/>
                </a:cubicBezTo>
                <a:cubicBezTo>
                  <a:pt x="4226275" y="3651497"/>
                  <a:pt x="4242571" y="3604097"/>
                  <a:pt x="4257509" y="3566176"/>
                </a:cubicBezTo>
                <a:cubicBezTo>
                  <a:pt x="4336272" y="3510651"/>
                  <a:pt x="4398740" y="3410433"/>
                  <a:pt x="4352568" y="3316987"/>
                </a:cubicBezTo>
                <a:cubicBezTo>
                  <a:pt x="4352568" y="3308861"/>
                  <a:pt x="4352568" y="3308861"/>
                  <a:pt x="4352568" y="3308861"/>
                </a:cubicBezTo>
                <a:close/>
                <a:moveTo>
                  <a:pt x="1337688" y="3262831"/>
                </a:moveTo>
                <a:cubicBezTo>
                  <a:pt x="1314696" y="3262831"/>
                  <a:pt x="1329573" y="3285936"/>
                  <a:pt x="1337688" y="3294090"/>
                </a:cubicBezTo>
                <a:cubicBezTo>
                  <a:pt x="1385022" y="3294090"/>
                  <a:pt x="1401251" y="3371558"/>
                  <a:pt x="1447234" y="3333504"/>
                </a:cubicBezTo>
                <a:cubicBezTo>
                  <a:pt x="1424242" y="3302245"/>
                  <a:pt x="1376908" y="3277781"/>
                  <a:pt x="1337688" y="3262831"/>
                </a:cubicBezTo>
                <a:close/>
                <a:moveTo>
                  <a:pt x="4297097" y="3146961"/>
                </a:moveTo>
                <a:cubicBezTo>
                  <a:pt x="4257885" y="3161802"/>
                  <a:pt x="4251125" y="3215769"/>
                  <a:pt x="4251125" y="3254895"/>
                </a:cubicBezTo>
                <a:cubicBezTo>
                  <a:pt x="4251125" y="3308861"/>
                  <a:pt x="4328195" y="3240054"/>
                  <a:pt x="4344420" y="3285925"/>
                </a:cubicBezTo>
                <a:cubicBezTo>
                  <a:pt x="4360646" y="3240054"/>
                  <a:pt x="4344420" y="3177992"/>
                  <a:pt x="4297097" y="3146961"/>
                </a:cubicBezTo>
                <a:close/>
                <a:moveTo>
                  <a:pt x="952785" y="3061434"/>
                </a:moveTo>
                <a:cubicBezTo>
                  <a:pt x="929698" y="3053313"/>
                  <a:pt x="913402" y="3084442"/>
                  <a:pt x="905254" y="3099330"/>
                </a:cubicBezTo>
                <a:cubicBezTo>
                  <a:pt x="882168" y="3146700"/>
                  <a:pt x="913402" y="3192717"/>
                  <a:pt x="929698" y="3240087"/>
                </a:cubicBezTo>
                <a:cubicBezTo>
                  <a:pt x="929698" y="3271217"/>
                  <a:pt x="890316" y="3317233"/>
                  <a:pt x="944637" y="3317233"/>
                </a:cubicBezTo>
                <a:cubicBezTo>
                  <a:pt x="992165" y="3277984"/>
                  <a:pt x="975869" y="3363250"/>
                  <a:pt x="992165" y="3394379"/>
                </a:cubicBezTo>
                <a:cubicBezTo>
                  <a:pt x="992165" y="3464758"/>
                  <a:pt x="1062781" y="3504008"/>
                  <a:pt x="1085867" y="3573033"/>
                </a:cubicBezTo>
                <a:cubicBezTo>
                  <a:pt x="1079077" y="3612283"/>
                  <a:pt x="1110311" y="3682661"/>
                  <a:pt x="1156482" y="3666420"/>
                </a:cubicBezTo>
                <a:cubicBezTo>
                  <a:pt x="1187717" y="3612283"/>
                  <a:pt x="1133396" y="3558145"/>
                  <a:pt x="1110311" y="3510775"/>
                </a:cubicBezTo>
                <a:cubicBezTo>
                  <a:pt x="1062781" y="3449870"/>
                  <a:pt x="1125250" y="3371371"/>
                  <a:pt x="1079077" y="3317233"/>
                </a:cubicBezTo>
                <a:cubicBezTo>
                  <a:pt x="1015252" y="3240087"/>
                  <a:pt x="1046485" y="3115571"/>
                  <a:pt x="952785" y="3061434"/>
                </a:cubicBezTo>
                <a:close/>
                <a:moveTo>
                  <a:pt x="4658189" y="3037440"/>
                </a:moveTo>
                <a:cubicBezTo>
                  <a:pt x="4610708" y="3061789"/>
                  <a:pt x="4548305" y="3037440"/>
                  <a:pt x="4525243" y="3092900"/>
                </a:cubicBezTo>
                <a:cubicBezTo>
                  <a:pt x="4494042" y="3201116"/>
                  <a:pt x="4502181" y="3309331"/>
                  <a:pt x="4485902" y="3418899"/>
                </a:cubicBezTo>
                <a:cubicBezTo>
                  <a:pt x="4485902" y="3496002"/>
                  <a:pt x="4438422" y="3573105"/>
                  <a:pt x="4477763" y="3643445"/>
                </a:cubicBezTo>
                <a:cubicBezTo>
                  <a:pt x="4517104" y="3682673"/>
                  <a:pt x="4533383" y="3604217"/>
                  <a:pt x="4548305" y="3581221"/>
                </a:cubicBezTo>
                <a:cubicBezTo>
                  <a:pt x="4572724" y="3496002"/>
                  <a:pt x="4556445" y="3394550"/>
                  <a:pt x="4618848" y="3333679"/>
                </a:cubicBezTo>
                <a:cubicBezTo>
                  <a:pt x="4666328" y="3294451"/>
                  <a:pt x="4720592" y="3379671"/>
                  <a:pt x="4674468" y="3418899"/>
                </a:cubicBezTo>
                <a:cubicBezTo>
                  <a:pt x="4658189" y="3456774"/>
                  <a:pt x="4579507" y="3473006"/>
                  <a:pt x="4603925" y="3518998"/>
                </a:cubicBezTo>
                <a:cubicBezTo>
                  <a:pt x="4658189" y="3550110"/>
                  <a:pt x="4626987" y="3612333"/>
                  <a:pt x="4618848" y="3659677"/>
                </a:cubicBezTo>
                <a:cubicBezTo>
                  <a:pt x="4618848" y="3705669"/>
                  <a:pt x="4610708" y="3744897"/>
                  <a:pt x="4595786" y="3782772"/>
                </a:cubicBezTo>
                <a:cubicBezTo>
                  <a:pt x="4572724" y="3830116"/>
                  <a:pt x="4626987" y="3861228"/>
                  <a:pt x="4643267" y="3813884"/>
                </a:cubicBezTo>
                <a:cubicBezTo>
                  <a:pt x="4658189" y="3751660"/>
                  <a:pt x="4689390" y="3705669"/>
                  <a:pt x="4713809" y="3643445"/>
                </a:cubicBezTo>
                <a:cubicBezTo>
                  <a:pt x="4736871" y="3518998"/>
                  <a:pt x="4768072" y="3387787"/>
                  <a:pt x="4768072" y="3255223"/>
                </a:cubicBezTo>
                <a:cubicBezTo>
                  <a:pt x="4830475" y="3184883"/>
                  <a:pt x="4784351" y="3053672"/>
                  <a:pt x="4681251" y="3037440"/>
                </a:cubicBezTo>
                <a:cubicBezTo>
                  <a:pt x="4674468" y="3037440"/>
                  <a:pt x="4666328" y="3037440"/>
                  <a:pt x="4658189" y="3037440"/>
                </a:cubicBezTo>
                <a:close/>
                <a:moveTo>
                  <a:pt x="4187321" y="3037440"/>
                </a:moveTo>
                <a:cubicBezTo>
                  <a:pt x="4147953" y="3076328"/>
                  <a:pt x="4251125" y="3053532"/>
                  <a:pt x="4195466" y="3037440"/>
                </a:cubicBezTo>
                <a:cubicBezTo>
                  <a:pt x="4187321" y="3037440"/>
                  <a:pt x="4187321" y="3037440"/>
                  <a:pt x="4187321" y="3037440"/>
                </a:cubicBezTo>
                <a:close/>
                <a:moveTo>
                  <a:pt x="301280" y="3014077"/>
                </a:moveTo>
                <a:cubicBezTo>
                  <a:pt x="325833" y="3014077"/>
                  <a:pt x="325833" y="3053490"/>
                  <a:pt x="309465" y="3061645"/>
                </a:cubicBezTo>
                <a:cubicBezTo>
                  <a:pt x="278091" y="3116008"/>
                  <a:pt x="238534" y="3007281"/>
                  <a:pt x="301280" y="3014077"/>
                </a:cubicBezTo>
                <a:close/>
                <a:moveTo>
                  <a:pt x="247193" y="2928389"/>
                </a:moveTo>
                <a:cubicBezTo>
                  <a:pt x="261351" y="2932906"/>
                  <a:pt x="268238" y="2950974"/>
                  <a:pt x="262116" y="2968279"/>
                </a:cubicBezTo>
                <a:cubicBezTo>
                  <a:pt x="247150" y="3014424"/>
                  <a:pt x="184567" y="2937063"/>
                  <a:pt x="230824" y="2928919"/>
                </a:cubicBezTo>
                <a:cubicBezTo>
                  <a:pt x="236947" y="2926884"/>
                  <a:pt x="242474" y="2926884"/>
                  <a:pt x="247193" y="2928389"/>
                </a:cubicBezTo>
                <a:close/>
                <a:moveTo>
                  <a:pt x="18679" y="2860460"/>
                </a:moveTo>
                <a:cubicBezTo>
                  <a:pt x="43321" y="2860460"/>
                  <a:pt x="50166" y="2883432"/>
                  <a:pt x="50166" y="2898297"/>
                </a:cubicBezTo>
                <a:cubicBezTo>
                  <a:pt x="58380" y="2960457"/>
                  <a:pt x="3620" y="2883432"/>
                  <a:pt x="18679" y="2860460"/>
                </a:cubicBezTo>
                <a:close/>
                <a:moveTo>
                  <a:pt x="230460" y="2843793"/>
                </a:moveTo>
                <a:cubicBezTo>
                  <a:pt x="230460" y="2843793"/>
                  <a:pt x="238534" y="2843793"/>
                  <a:pt x="238534" y="2851867"/>
                </a:cubicBezTo>
                <a:cubicBezTo>
                  <a:pt x="238534" y="2905696"/>
                  <a:pt x="176631" y="2859942"/>
                  <a:pt x="230460" y="2843793"/>
                </a:cubicBezTo>
                <a:close/>
                <a:moveTo>
                  <a:pt x="4757529" y="2829051"/>
                </a:moveTo>
                <a:cubicBezTo>
                  <a:pt x="4738480" y="2831463"/>
                  <a:pt x="4720954" y="2857871"/>
                  <a:pt x="4720954" y="2875137"/>
                </a:cubicBezTo>
                <a:cubicBezTo>
                  <a:pt x="4729082" y="2906283"/>
                  <a:pt x="4745338" y="2952326"/>
                  <a:pt x="4768367" y="2983473"/>
                </a:cubicBezTo>
                <a:cubicBezTo>
                  <a:pt x="4791395" y="2937430"/>
                  <a:pt x="4799523" y="2883262"/>
                  <a:pt x="4776494" y="2835865"/>
                </a:cubicBezTo>
                <a:cubicBezTo>
                  <a:pt x="4770398" y="2830109"/>
                  <a:pt x="4763879" y="2828247"/>
                  <a:pt x="4757529" y="2829051"/>
                </a:cubicBezTo>
                <a:close/>
                <a:moveTo>
                  <a:pt x="4305092" y="2812843"/>
                </a:moveTo>
                <a:cubicBezTo>
                  <a:pt x="4296965" y="2812843"/>
                  <a:pt x="4296965" y="2820934"/>
                  <a:pt x="4288838" y="2820934"/>
                </a:cubicBezTo>
                <a:cubicBezTo>
                  <a:pt x="4257685" y="2851947"/>
                  <a:pt x="4203507" y="2905883"/>
                  <a:pt x="4242786" y="2951728"/>
                </a:cubicBezTo>
                <a:cubicBezTo>
                  <a:pt x="4282066" y="2920715"/>
                  <a:pt x="4305092" y="2866779"/>
                  <a:pt x="4305092" y="2812843"/>
                </a:cubicBezTo>
                <a:close/>
                <a:moveTo>
                  <a:pt x="1210624" y="2745927"/>
                </a:moveTo>
                <a:cubicBezTo>
                  <a:pt x="1193575" y="2742560"/>
                  <a:pt x="1213186" y="2790837"/>
                  <a:pt x="1220317" y="2797902"/>
                </a:cubicBezTo>
                <a:cubicBezTo>
                  <a:pt x="1258349" y="2851731"/>
                  <a:pt x="1243409" y="2766951"/>
                  <a:pt x="1220317" y="2750802"/>
                </a:cubicBezTo>
                <a:cubicBezTo>
                  <a:pt x="1216242" y="2747943"/>
                  <a:pt x="1213059" y="2746408"/>
                  <a:pt x="1210624" y="2745927"/>
                </a:cubicBezTo>
                <a:close/>
                <a:moveTo>
                  <a:pt x="43075" y="2704908"/>
                </a:moveTo>
                <a:cubicBezTo>
                  <a:pt x="89332" y="2704908"/>
                  <a:pt x="81169" y="2790041"/>
                  <a:pt x="43075" y="2804905"/>
                </a:cubicBezTo>
                <a:cubicBezTo>
                  <a:pt x="3620" y="2804905"/>
                  <a:pt x="3620" y="2719773"/>
                  <a:pt x="43075" y="2704908"/>
                </a:cubicBezTo>
                <a:close/>
                <a:moveTo>
                  <a:pt x="4703192" y="2702202"/>
                </a:moveTo>
                <a:cubicBezTo>
                  <a:pt x="4694341" y="2703729"/>
                  <a:pt x="4691262" y="2715180"/>
                  <a:pt x="4697419" y="2727395"/>
                </a:cubicBezTo>
                <a:cubicBezTo>
                  <a:pt x="4705629" y="2789827"/>
                  <a:pt x="4768572" y="2704322"/>
                  <a:pt x="4713839" y="2704322"/>
                </a:cubicBezTo>
                <a:cubicBezTo>
                  <a:pt x="4709734" y="2702287"/>
                  <a:pt x="4706142" y="2701693"/>
                  <a:pt x="4703192" y="2702202"/>
                </a:cubicBezTo>
                <a:close/>
                <a:moveTo>
                  <a:pt x="4336308" y="2673343"/>
                </a:moveTo>
                <a:cubicBezTo>
                  <a:pt x="4296891" y="2665228"/>
                  <a:pt x="4257474" y="2719324"/>
                  <a:pt x="4273784" y="2758544"/>
                </a:cubicBezTo>
                <a:cubicBezTo>
                  <a:pt x="4313201" y="2797764"/>
                  <a:pt x="4375725" y="2711210"/>
                  <a:pt x="4336308" y="2673343"/>
                </a:cubicBezTo>
                <a:close/>
                <a:moveTo>
                  <a:pt x="4367788" y="2557442"/>
                </a:moveTo>
                <a:cubicBezTo>
                  <a:pt x="4360943" y="2549358"/>
                  <a:pt x="4313028" y="2588431"/>
                  <a:pt x="4321242" y="2619419"/>
                </a:cubicBezTo>
                <a:cubicBezTo>
                  <a:pt x="4344515" y="2665228"/>
                  <a:pt x="4367788" y="2580347"/>
                  <a:pt x="4367788" y="2557442"/>
                </a:cubicBezTo>
                <a:close/>
                <a:moveTo>
                  <a:pt x="1518232" y="2549358"/>
                </a:moveTo>
                <a:cubicBezTo>
                  <a:pt x="1510040" y="2549358"/>
                  <a:pt x="1503213" y="2549358"/>
                  <a:pt x="1495020" y="2557466"/>
                </a:cubicBezTo>
                <a:cubicBezTo>
                  <a:pt x="1447232" y="2603411"/>
                  <a:pt x="1455425" y="2681787"/>
                  <a:pt x="1455425" y="2742596"/>
                </a:cubicBezTo>
                <a:cubicBezTo>
                  <a:pt x="1447232" y="2829080"/>
                  <a:pt x="1495020" y="2897997"/>
                  <a:pt x="1534617" y="2976374"/>
                </a:cubicBezTo>
                <a:cubicBezTo>
                  <a:pt x="1542809" y="2991238"/>
                  <a:pt x="1557828" y="2999346"/>
                  <a:pt x="1574213" y="2991238"/>
                </a:cubicBezTo>
                <a:cubicBezTo>
                  <a:pt x="1574213" y="2920970"/>
                  <a:pt x="1574213" y="2920970"/>
                  <a:pt x="1574213" y="2920970"/>
                </a:cubicBezTo>
                <a:cubicBezTo>
                  <a:pt x="1534617" y="2914213"/>
                  <a:pt x="1526424" y="2875025"/>
                  <a:pt x="1526424" y="2835837"/>
                </a:cubicBezTo>
                <a:cubicBezTo>
                  <a:pt x="1518232" y="2742596"/>
                  <a:pt x="1549636" y="2642599"/>
                  <a:pt x="1518232" y="2549358"/>
                </a:cubicBezTo>
                <a:close/>
                <a:moveTo>
                  <a:pt x="10475" y="2517612"/>
                </a:moveTo>
                <a:cubicBezTo>
                  <a:pt x="43301" y="2517612"/>
                  <a:pt x="43301" y="2548765"/>
                  <a:pt x="43301" y="2571791"/>
                </a:cubicBezTo>
                <a:cubicBezTo>
                  <a:pt x="26888" y="2619197"/>
                  <a:pt x="-20983" y="2533866"/>
                  <a:pt x="10475" y="2517612"/>
                </a:cubicBezTo>
                <a:close/>
                <a:moveTo>
                  <a:pt x="290064" y="2500530"/>
                </a:moveTo>
                <a:cubicBezTo>
                  <a:pt x="293952" y="2502395"/>
                  <a:pt x="297672" y="2506125"/>
                  <a:pt x="301053" y="2509516"/>
                </a:cubicBezTo>
                <a:cubicBezTo>
                  <a:pt x="309167" y="2563768"/>
                  <a:pt x="309167" y="2642434"/>
                  <a:pt x="278062" y="2696686"/>
                </a:cubicBezTo>
                <a:cubicBezTo>
                  <a:pt x="255071" y="2750938"/>
                  <a:pt x="176631" y="2711605"/>
                  <a:pt x="184745" y="2657353"/>
                </a:cubicBezTo>
                <a:cubicBezTo>
                  <a:pt x="230727" y="2611239"/>
                  <a:pt x="230727" y="2540711"/>
                  <a:pt x="278062" y="2502734"/>
                </a:cubicBezTo>
                <a:cubicBezTo>
                  <a:pt x="282119" y="2498665"/>
                  <a:pt x="286176" y="2498665"/>
                  <a:pt x="290064" y="2500530"/>
                </a:cubicBezTo>
                <a:close/>
                <a:moveTo>
                  <a:pt x="4533131" y="2378727"/>
                </a:moveTo>
                <a:cubicBezTo>
                  <a:pt x="4477310" y="2409827"/>
                  <a:pt x="4564445" y="2447688"/>
                  <a:pt x="4548107" y="2486901"/>
                </a:cubicBezTo>
                <a:cubicBezTo>
                  <a:pt x="4516793" y="2495014"/>
                  <a:pt x="4485479" y="2526114"/>
                  <a:pt x="4485479" y="2563975"/>
                </a:cubicBezTo>
                <a:cubicBezTo>
                  <a:pt x="4508624" y="2611301"/>
                  <a:pt x="4485479" y="2650514"/>
                  <a:pt x="4477310" y="2696488"/>
                </a:cubicBezTo>
                <a:cubicBezTo>
                  <a:pt x="4508624" y="2758688"/>
                  <a:pt x="4524962" y="2820887"/>
                  <a:pt x="4524962" y="2889848"/>
                </a:cubicBezTo>
                <a:cubicBezTo>
                  <a:pt x="4524962" y="2937174"/>
                  <a:pt x="4533131" y="3022361"/>
                  <a:pt x="4595759" y="3022361"/>
                </a:cubicBezTo>
                <a:cubicBezTo>
                  <a:pt x="4635242" y="2983148"/>
                  <a:pt x="4579421" y="2920948"/>
                  <a:pt x="4579421" y="2874974"/>
                </a:cubicBezTo>
                <a:cubicBezTo>
                  <a:pt x="4595759" y="2829001"/>
                  <a:pt x="4556276" y="2781674"/>
                  <a:pt x="4572614" y="2735701"/>
                </a:cubicBezTo>
                <a:cubicBezTo>
                  <a:pt x="4603928" y="2696488"/>
                  <a:pt x="4572614" y="2650514"/>
                  <a:pt x="4572614" y="2611301"/>
                </a:cubicBezTo>
                <a:cubicBezTo>
                  <a:pt x="4618904" y="2540988"/>
                  <a:pt x="4595759" y="2447688"/>
                  <a:pt x="4539938" y="2393601"/>
                </a:cubicBezTo>
                <a:cubicBezTo>
                  <a:pt x="4539938" y="2385488"/>
                  <a:pt x="4539938" y="2385488"/>
                  <a:pt x="4539938" y="2385488"/>
                </a:cubicBezTo>
                <a:cubicBezTo>
                  <a:pt x="4533131" y="2378727"/>
                  <a:pt x="4533131" y="2378727"/>
                  <a:pt x="4533131" y="2378727"/>
                </a:cubicBezTo>
                <a:close/>
                <a:moveTo>
                  <a:pt x="1574213" y="2262064"/>
                </a:moveTo>
                <a:cubicBezTo>
                  <a:pt x="1549475" y="2308069"/>
                  <a:pt x="1526111" y="2355426"/>
                  <a:pt x="1526111" y="2409549"/>
                </a:cubicBezTo>
                <a:cubicBezTo>
                  <a:pt x="1534357" y="2440670"/>
                  <a:pt x="1517866" y="2509676"/>
                  <a:pt x="1565967" y="2494792"/>
                </a:cubicBezTo>
                <a:cubicBezTo>
                  <a:pt x="1565967" y="2486674"/>
                  <a:pt x="1574213" y="2486674"/>
                  <a:pt x="1574213" y="2478555"/>
                </a:cubicBezTo>
                <a:cubicBezTo>
                  <a:pt x="1574213" y="2262064"/>
                  <a:pt x="1574213" y="2262064"/>
                  <a:pt x="1574213" y="2262064"/>
                </a:cubicBezTo>
                <a:close/>
                <a:moveTo>
                  <a:pt x="4406895" y="2098576"/>
                </a:moveTo>
                <a:cubicBezTo>
                  <a:pt x="4352710" y="2137759"/>
                  <a:pt x="4375739" y="2214774"/>
                  <a:pt x="4398767" y="2262064"/>
                </a:cubicBezTo>
                <a:cubicBezTo>
                  <a:pt x="4431279" y="2214774"/>
                  <a:pt x="4431279" y="2160729"/>
                  <a:pt x="4406895" y="2106683"/>
                </a:cubicBezTo>
                <a:cubicBezTo>
                  <a:pt x="4406895" y="2098576"/>
                  <a:pt x="4406895" y="2098576"/>
                  <a:pt x="4406895" y="2098576"/>
                </a:cubicBezTo>
                <a:close/>
                <a:moveTo>
                  <a:pt x="1424424" y="2021785"/>
                </a:moveTo>
                <a:cubicBezTo>
                  <a:pt x="1401395" y="2013658"/>
                  <a:pt x="1393267" y="2044811"/>
                  <a:pt x="1401395" y="2061064"/>
                </a:cubicBezTo>
                <a:cubicBezTo>
                  <a:pt x="1408169" y="2115243"/>
                  <a:pt x="1471836" y="2021785"/>
                  <a:pt x="1424424" y="2021785"/>
                </a:cubicBezTo>
                <a:close/>
                <a:moveTo>
                  <a:pt x="371988" y="1927945"/>
                </a:moveTo>
                <a:cubicBezTo>
                  <a:pt x="411391" y="1927945"/>
                  <a:pt x="450794" y="1959058"/>
                  <a:pt x="442642" y="1998287"/>
                </a:cubicBezTo>
                <a:cubicBezTo>
                  <a:pt x="403239" y="2021284"/>
                  <a:pt x="396445" y="2075393"/>
                  <a:pt x="427696" y="2106506"/>
                </a:cubicBezTo>
                <a:cubicBezTo>
                  <a:pt x="442642" y="2160615"/>
                  <a:pt x="348890" y="2129502"/>
                  <a:pt x="332585" y="2176848"/>
                </a:cubicBezTo>
                <a:cubicBezTo>
                  <a:pt x="357042" y="2191728"/>
                  <a:pt x="419544" y="2176848"/>
                  <a:pt x="427696" y="2214724"/>
                </a:cubicBezTo>
                <a:cubicBezTo>
                  <a:pt x="467099" y="2253953"/>
                  <a:pt x="396445" y="2276950"/>
                  <a:pt x="371988" y="2285066"/>
                </a:cubicBezTo>
                <a:cubicBezTo>
                  <a:pt x="357042" y="2339175"/>
                  <a:pt x="340737" y="2416281"/>
                  <a:pt x="278236" y="2432514"/>
                </a:cubicBezTo>
                <a:cubicBezTo>
                  <a:pt x="207582" y="2440630"/>
                  <a:pt x="207582" y="2347292"/>
                  <a:pt x="215734" y="2299946"/>
                </a:cubicBezTo>
                <a:cubicBezTo>
                  <a:pt x="261931" y="2230957"/>
                  <a:pt x="255138" y="2152498"/>
                  <a:pt x="286388" y="2075393"/>
                </a:cubicBezTo>
                <a:cubicBezTo>
                  <a:pt x="325791" y="2036164"/>
                  <a:pt x="309487" y="1950942"/>
                  <a:pt x="371988" y="1927945"/>
                </a:cubicBezTo>
                <a:close/>
                <a:moveTo>
                  <a:pt x="1518286" y="1781124"/>
                </a:moveTo>
                <a:cubicBezTo>
                  <a:pt x="1510116" y="1781124"/>
                  <a:pt x="1503306" y="1781124"/>
                  <a:pt x="1495134" y="1789219"/>
                </a:cubicBezTo>
                <a:cubicBezTo>
                  <a:pt x="1478791" y="1835091"/>
                  <a:pt x="1439297" y="1905247"/>
                  <a:pt x="1486963" y="1943024"/>
                </a:cubicBezTo>
                <a:cubicBezTo>
                  <a:pt x="1526458" y="1905247"/>
                  <a:pt x="1549610" y="1826996"/>
                  <a:pt x="1518286" y="1781124"/>
                </a:cubicBezTo>
                <a:close/>
                <a:moveTo>
                  <a:pt x="4344319" y="1664461"/>
                </a:moveTo>
                <a:cubicBezTo>
                  <a:pt x="4327993" y="1664461"/>
                  <a:pt x="4313028" y="1687534"/>
                  <a:pt x="4321191" y="1710607"/>
                </a:cubicBezTo>
                <a:cubicBezTo>
                  <a:pt x="4336156" y="1758109"/>
                  <a:pt x="4398740" y="1672604"/>
                  <a:pt x="4344319" y="1664461"/>
                </a:cubicBezTo>
                <a:close/>
                <a:moveTo>
                  <a:pt x="3466073" y="1593828"/>
                </a:moveTo>
                <a:cubicBezTo>
                  <a:pt x="3441623" y="1593828"/>
                  <a:pt x="3449773" y="1633103"/>
                  <a:pt x="3457923" y="1641229"/>
                </a:cubicBezTo>
                <a:cubicBezTo>
                  <a:pt x="3489164" y="1695401"/>
                  <a:pt x="3504106" y="1757699"/>
                  <a:pt x="3512256" y="1811871"/>
                </a:cubicBezTo>
                <a:cubicBezTo>
                  <a:pt x="3512256" y="1857917"/>
                  <a:pt x="3582889" y="1866043"/>
                  <a:pt x="3576097" y="1819997"/>
                </a:cubicBezTo>
                <a:cubicBezTo>
                  <a:pt x="3543497" y="1741447"/>
                  <a:pt x="3528556" y="1656126"/>
                  <a:pt x="3466073" y="1593828"/>
                </a:cubicBezTo>
                <a:close/>
                <a:moveTo>
                  <a:pt x="4155760" y="1447133"/>
                </a:moveTo>
                <a:cubicBezTo>
                  <a:pt x="4101129" y="1439070"/>
                  <a:pt x="4132542" y="1508952"/>
                  <a:pt x="4155760" y="1525078"/>
                </a:cubicBezTo>
                <a:cubicBezTo>
                  <a:pt x="4218586" y="1539861"/>
                  <a:pt x="4211757" y="1447133"/>
                  <a:pt x="4155760" y="1447133"/>
                </a:cubicBezTo>
                <a:close/>
                <a:moveTo>
                  <a:pt x="4273818" y="1432118"/>
                </a:moveTo>
                <a:cubicBezTo>
                  <a:pt x="4234459" y="1423991"/>
                  <a:pt x="4257531" y="1486297"/>
                  <a:pt x="4281961" y="1494423"/>
                </a:cubicBezTo>
                <a:cubicBezTo>
                  <a:pt x="4328107" y="1525576"/>
                  <a:pt x="4313177" y="1438890"/>
                  <a:pt x="4273818" y="1432118"/>
                </a:cubicBezTo>
                <a:close/>
                <a:moveTo>
                  <a:pt x="3349998" y="1412550"/>
                </a:moveTo>
                <a:cubicBezTo>
                  <a:pt x="3341163" y="1407646"/>
                  <a:pt x="3335386" y="1411366"/>
                  <a:pt x="3339464" y="1438421"/>
                </a:cubicBezTo>
                <a:cubicBezTo>
                  <a:pt x="3362571" y="1485769"/>
                  <a:pt x="3378881" y="1562877"/>
                  <a:pt x="3441405" y="1562877"/>
                </a:cubicBezTo>
                <a:cubicBezTo>
                  <a:pt x="3449560" y="1508766"/>
                  <a:pt x="3418298" y="1469535"/>
                  <a:pt x="3378881" y="1438421"/>
                </a:cubicBezTo>
                <a:cubicBezTo>
                  <a:pt x="3370726" y="1430981"/>
                  <a:pt x="3358833" y="1417453"/>
                  <a:pt x="3349998" y="1412550"/>
                </a:cubicBezTo>
                <a:close/>
                <a:moveTo>
                  <a:pt x="364862" y="1370023"/>
                </a:moveTo>
                <a:cubicBezTo>
                  <a:pt x="364862" y="1370023"/>
                  <a:pt x="379800" y="1370023"/>
                  <a:pt x="371652" y="1378134"/>
                </a:cubicBezTo>
                <a:cubicBezTo>
                  <a:pt x="348565" y="1470063"/>
                  <a:pt x="340417" y="1571456"/>
                  <a:pt x="294243" y="1656626"/>
                </a:cubicBezTo>
                <a:cubicBezTo>
                  <a:pt x="254859" y="1772889"/>
                  <a:pt x="184241" y="1866170"/>
                  <a:pt x="167944" y="1982434"/>
                </a:cubicBezTo>
                <a:cubicBezTo>
                  <a:pt x="153006" y="2013528"/>
                  <a:pt x="81029" y="2052733"/>
                  <a:pt x="128561" y="2083827"/>
                </a:cubicBezTo>
                <a:cubicBezTo>
                  <a:pt x="128561" y="2200090"/>
                  <a:pt x="113622" y="2316353"/>
                  <a:pt x="81029" y="2424505"/>
                </a:cubicBezTo>
                <a:cubicBezTo>
                  <a:pt x="74239" y="2455599"/>
                  <a:pt x="43003" y="2509675"/>
                  <a:pt x="3620" y="2486693"/>
                </a:cubicBezTo>
                <a:cubicBezTo>
                  <a:pt x="3620" y="2378541"/>
                  <a:pt x="43003" y="2262277"/>
                  <a:pt x="49794" y="2146014"/>
                </a:cubicBezTo>
                <a:cubicBezTo>
                  <a:pt x="66090" y="2067604"/>
                  <a:pt x="43003" y="1990545"/>
                  <a:pt x="74239" y="1920246"/>
                </a:cubicBezTo>
                <a:cubicBezTo>
                  <a:pt x="120412" y="1858059"/>
                  <a:pt x="128561" y="1781001"/>
                  <a:pt x="128561" y="1703942"/>
                </a:cubicBezTo>
                <a:cubicBezTo>
                  <a:pt x="238563" y="1610661"/>
                  <a:pt x="254859" y="1455193"/>
                  <a:pt x="364862" y="1370023"/>
                </a:cubicBezTo>
                <a:close/>
                <a:moveTo>
                  <a:pt x="3642584" y="1362758"/>
                </a:moveTo>
                <a:cubicBezTo>
                  <a:pt x="3635331" y="1360472"/>
                  <a:pt x="3620063" y="1369618"/>
                  <a:pt x="3613955" y="1369618"/>
                </a:cubicBezTo>
                <a:cubicBezTo>
                  <a:pt x="3567810" y="1400782"/>
                  <a:pt x="3661458" y="1408912"/>
                  <a:pt x="3646528" y="1369618"/>
                </a:cubicBezTo>
                <a:cubicBezTo>
                  <a:pt x="3646528" y="1365553"/>
                  <a:pt x="3645001" y="1363521"/>
                  <a:pt x="3642584" y="1362758"/>
                </a:cubicBezTo>
                <a:close/>
                <a:moveTo>
                  <a:pt x="1785319" y="1353358"/>
                </a:moveTo>
                <a:cubicBezTo>
                  <a:pt x="1777382" y="1353358"/>
                  <a:pt x="1777382" y="1361691"/>
                  <a:pt x="1769446" y="1370024"/>
                </a:cubicBezTo>
                <a:cubicBezTo>
                  <a:pt x="1785319" y="1370024"/>
                  <a:pt x="1785319" y="1370024"/>
                  <a:pt x="1785319" y="1370024"/>
                </a:cubicBezTo>
                <a:cubicBezTo>
                  <a:pt x="1785319" y="1353358"/>
                  <a:pt x="1785319" y="1353358"/>
                  <a:pt x="1785319" y="1353358"/>
                </a:cubicBezTo>
                <a:close/>
                <a:moveTo>
                  <a:pt x="4082785" y="1352296"/>
                </a:moveTo>
                <a:cubicBezTo>
                  <a:pt x="4073998" y="1354002"/>
                  <a:pt x="4070178" y="1363858"/>
                  <a:pt x="4070178" y="1369924"/>
                </a:cubicBezTo>
                <a:cubicBezTo>
                  <a:pt x="4076969" y="1431927"/>
                  <a:pt x="4140811" y="1361836"/>
                  <a:pt x="4093269" y="1353749"/>
                </a:cubicBezTo>
                <a:cubicBezTo>
                  <a:pt x="4089194" y="1352064"/>
                  <a:pt x="4085714" y="1351727"/>
                  <a:pt x="4082785" y="1352296"/>
                </a:cubicBezTo>
                <a:close/>
                <a:moveTo>
                  <a:pt x="4190570" y="1306717"/>
                </a:moveTo>
                <a:cubicBezTo>
                  <a:pt x="4148818" y="1315482"/>
                  <a:pt x="4154872" y="1394914"/>
                  <a:pt x="4203306" y="1409115"/>
                </a:cubicBezTo>
                <a:cubicBezTo>
                  <a:pt x="4265410" y="1423991"/>
                  <a:pt x="4250559" y="1322561"/>
                  <a:pt x="4211407" y="1307684"/>
                </a:cubicBezTo>
                <a:cubicBezTo>
                  <a:pt x="4203475" y="1305656"/>
                  <a:pt x="4196535" y="1305465"/>
                  <a:pt x="4190570" y="1306717"/>
                </a:cubicBezTo>
                <a:close/>
                <a:moveTo>
                  <a:pt x="4610501" y="1299391"/>
                </a:moveTo>
                <a:cubicBezTo>
                  <a:pt x="4595560" y="1299391"/>
                  <a:pt x="4595560" y="1315691"/>
                  <a:pt x="4610501" y="1322483"/>
                </a:cubicBezTo>
                <a:cubicBezTo>
                  <a:pt x="4634951" y="1370024"/>
                  <a:pt x="4666193" y="1299391"/>
                  <a:pt x="4610501" y="1299391"/>
                </a:cubicBezTo>
                <a:close/>
                <a:moveTo>
                  <a:pt x="3260362" y="1284312"/>
                </a:moveTo>
                <a:cubicBezTo>
                  <a:pt x="3220994" y="1299278"/>
                  <a:pt x="3245429" y="1361861"/>
                  <a:pt x="3284798" y="1370024"/>
                </a:cubicBezTo>
                <a:cubicBezTo>
                  <a:pt x="3324166" y="1361861"/>
                  <a:pt x="3291585" y="1299278"/>
                  <a:pt x="3260362" y="1284312"/>
                </a:cubicBezTo>
                <a:close/>
                <a:moveTo>
                  <a:pt x="3825803" y="1253361"/>
                </a:moveTo>
                <a:cubicBezTo>
                  <a:pt x="3825803" y="1261474"/>
                  <a:pt x="3825803" y="1261474"/>
                  <a:pt x="3825803" y="1261474"/>
                </a:cubicBezTo>
                <a:cubicBezTo>
                  <a:pt x="3802725" y="1315561"/>
                  <a:pt x="3858383" y="1377761"/>
                  <a:pt x="3896394" y="1423735"/>
                </a:cubicBezTo>
                <a:cubicBezTo>
                  <a:pt x="3983275" y="1531909"/>
                  <a:pt x="4022643" y="1672535"/>
                  <a:pt x="4062012" y="1803695"/>
                </a:cubicBezTo>
                <a:cubicBezTo>
                  <a:pt x="4070157" y="1819921"/>
                  <a:pt x="4062012" y="1896995"/>
                  <a:pt x="4101380" y="1865895"/>
                </a:cubicBezTo>
                <a:cubicBezTo>
                  <a:pt x="4163826" y="1772595"/>
                  <a:pt x="4070157" y="1672535"/>
                  <a:pt x="4053866" y="1579235"/>
                </a:cubicBezTo>
                <a:cubicBezTo>
                  <a:pt x="4006353" y="1454835"/>
                  <a:pt x="3935762" y="1338548"/>
                  <a:pt x="3833948" y="1261474"/>
                </a:cubicBezTo>
                <a:cubicBezTo>
                  <a:pt x="3825803" y="1253361"/>
                  <a:pt x="3825803" y="1253361"/>
                  <a:pt x="3825803" y="1253361"/>
                </a:cubicBezTo>
                <a:close/>
                <a:moveTo>
                  <a:pt x="3150321" y="1230345"/>
                </a:moveTo>
                <a:cubicBezTo>
                  <a:pt x="3112267" y="1230345"/>
                  <a:pt x="3150321" y="1261484"/>
                  <a:pt x="3166630" y="1268253"/>
                </a:cubicBezTo>
                <a:cubicBezTo>
                  <a:pt x="3220994" y="1299391"/>
                  <a:pt x="3189735" y="1230345"/>
                  <a:pt x="3150321" y="1230345"/>
                </a:cubicBezTo>
                <a:close/>
                <a:moveTo>
                  <a:pt x="4590310" y="1173677"/>
                </a:moveTo>
                <a:cubicBezTo>
                  <a:pt x="4585403" y="1172606"/>
                  <a:pt x="4579563" y="1172775"/>
                  <a:pt x="4572743" y="1174642"/>
                </a:cubicBezTo>
                <a:cubicBezTo>
                  <a:pt x="4540006" y="1167855"/>
                  <a:pt x="4548190" y="1214001"/>
                  <a:pt x="4572743" y="1222144"/>
                </a:cubicBezTo>
                <a:cubicBezTo>
                  <a:pt x="4613323" y="1249458"/>
                  <a:pt x="4624662" y="1181173"/>
                  <a:pt x="4590310" y="1173677"/>
                </a:cubicBezTo>
                <a:close/>
                <a:moveTo>
                  <a:pt x="4494149" y="1120962"/>
                </a:moveTo>
                <a:cubicBezTo>
                  <a:pt x="4438422" y="1112888"/>
                  <a:pt x="4469684" y="1182866"/>
                  <a:pt x="4502304" y="1199015"/>
                </a:cubicBezTo>
                <a:cubicBezTo>
                  <a:pt x="4556673" y="1205743"/>
                  <a:pt x="4540362" y="1120962"/>
                  <a:pt x="4494149" y="1120962"/>
                </a:cubicBezTo>
                <a:close/>
                <a:moveTo>
                  <a:pt x="3896390" y="1120825"/>
                </a:moveTo>
                <a:cubicBezTo>
                  <a:pt x="3850342" y="1160036"/>
                  <a:pt x="3889618" y="1230346"/>
                  <a:pt x="3943792" y="1230346"/>
                </a:cubicBezTo>
                <a:cubicBezTo>
                  <a:pt x="3974942" y="1206008"/>
                  <a:pt x="3928894" y="1151924"/>
                  <a:pt x="3904516" y="1128938"/>
                </a:cubicBezTo>
                <a:cubicBezTo>
                  <a:pt x="3896390" y="1120825"/>
                  <a:pt x="3896390" y="1120825"/>
                  <a:pt x="3896390" y="1120825"/>
                </a:cubicBezTo>
                <a:close/>
                <a:moveTo>
                  <a:pt x="4040867" y="1100831"/>
                </a:moveTo>
                <a:cubicBezTo>
                  <a:pt x="4021963" y="1103429"/>
                  <a:pt x="4012797" y="1142706"/>
                  <a:pt x="4031128" y="1159937"/>
                </a:cubicBezTo>
                <a:cubicBezTo>
                  <a:pt x="4054212" y="1199129"/>
                  <a:pt x="4077295" y="1261297"/>
                  <a:pt x="4132967" y="1261297"/>
                </a:cubicBezTo>
                <a:cubicBezTo>
                  <a:pt x="4180492" y="1222104"/>
                  <a:pt x="4124820" y="1151828"/>
                  <a:pt x="4085442" y="1128853"/>
                </a:cubicBezTo>
                <a:cubicBezTo>
                  <a:pt x="4077295" y="1128853"/>
                  <a:pt x="4070506" y="1120744"/>
                  <a:pt x="4062359" y="1112635"/>
                </a:cubicBezTo>
                <a:cubicBezTo>
                  <a:pt x="4054551" y="1103175"/>
                  <a:pt x="4047168" y="1099965"/>
                  <a:pt x="4040867" y="1100831"/>
                </a:cubicBezTo>
                <a:close/>
                <a:moveTo>
                  <a:pt x="1274828" y="1074794"/>
                </a:moveTo>
                <a:cubicBezTo>
                  <a:pt x="1283000" y="1074794"/>
                  <a:pt x="1297981" y="1082889"/>
                  <a:pt x="1306152" y="1089635"/>
                </a:cubicBezTo>
                <a:cubicBezTo>
                  <a:pt x="1345647" y="1128761"/>
                  <a:pt x="1235333" y="1105825"/>
                  <a:pt x="1274828" y="1074794"/>
                </a:cubicBezTo>
                <a:close/>
                <a:moveTo>
                  <a:pt x="4643178" y="1043842"/>
                </a:moveTo>
                <a:cubicBezTo>
                  <a:pt x="4649967" y="1137155"/>
                  <a:pt x="4736868" y="1206126"/>
                  <a:pt x="4784392" y="1284563"/>
                </a:cubicBezTo>
                <a:cubicBezTo>
                  <a:pt x="4823768" y="1346771"/>
                  <a:pt x="4838704" y="1415742"/>
                  <a:pt x="4878081" y="1469836"/>
                </a:cubicBezTo>
                <a:cubicBezTo>
                  <a:pt x="4901164" y="1525283"/>
                  <a:pt x="4925605" y="1579378"/>
                  <a:pt x="4948688" y="1625358"/>
                </a:cubicBezTo>
                <a:cubicBezTo>
                  <a:pt x="4948688" y="1710557"/>
                  <a:pt x="4988064" y="1788994"/>
                  <a:pt x="5019294" y="1857965"/>
                </a:cubicBezTo>
                <a:cubicBezTo>
                  <a:pt x="5081754" y="1882307"/>
                  <a:pt x="5050524" y="1959392"/>
                  <a:pt x="5058671" y="2005372"/>
                </a:cubicBezTo>
                <a:cubicBezTo>
                  <a:pt x="5106195" y="2121676"/>
                  <a:pt x="5121131" y="2254207"/>
                  <a:pt x="5121131" y="2378624"/>
                </a:cubicBezTo>
                <a:cubicBezTo>
                  <a:pt x="5137425" y="2595003"/>
                  <a:pt x="5160508" y="2812733"/>
                  <a:pt x="5112984" y="3030463"/>
                </a:cubicBezTo>
                <a:cubicBezTo>
                  <a:pt x="5106195" y="3130538"/>
                  <a:pt x="5050524" y="3215737"/>
                  <a:pt x="5035588" y="3309050"/>
                </a:cubicBezTo>
                <a:cubicBezTo>
                  <a:pt x="5027441" y="3410477"/>
                  <a:pt x="4996211" y="3503790"/>
                  <a:pt x="4956835" y="3597104"/>
                </a:cubicBezTo>
                <a:cubicBezTo>
                  <a:pt x="4932394" y="3674188"/>
                  <a:pt x="4894375" y="3744511"/>
                  <a:pt x="4861787" y="3821596"/>
                </a:cubicBezTo>
                <a:cubicBezTo>
                  <a:pt x="4846851" y="3867576"/>
                  <a:pt x="4909311" y="3860814"/>
                  <a:pt x="4932394" y="3836472"/>
                </a:cubicBezTo>
                <a:cubicBezTo>
                  <a:pt x="5073607" y="3736397"/>
                  <a:pt x="5058671" y="3557885"/>
                  <a:pt x="5121131" y="3418592"/>
                </a:cubicBezTo>
                <a:cubicBezTo>
                  <a:pt x="5160508" y="3348269"/>
                  <a:pt x="5168655" y="3263070"/>
                  <a:pt x="5168655" y="3177871"/>
                </a:cubicBezTo>
                <a:cubicBezTo>
                  <a:pt x="5191737" y="3061568"/>
                  <a:pt x="5216178" y="2937150"/>
                  <a:pt x="5216178" y="2812733"/>
                </a:cubicBezTo>
                <a:cubicBezTo>
                  <a:pt x="5208031" y="2619345"/>
                  <a:pt x="5216178" y="2424605"/>
                  <a:pt x="5199884" y="2231217"/>
                </a:cubicBezTo>
                <a:cubicBezTo>
                  <a:pt x="5183591" y="2021601"/>
                  <a:pt x="5066818" y="1834975"/>
                  <a:pt x="4988064" y="1633472"/>
                </a:cubicBezTo>
                <a:cubicBezTo>
                  <a:pt x="4964982" y="1525283"/>
                  <a:pt x="4886228" y="1446846"/>
                  <a:pt x="4861787" y="1338657"/>
                </a:cubicBezTo>
                <a:cubicBezTo>
                  <a:pt x="4799328" y="1237230"/>
                  <a:pt x="4745015" y="1112813"/>
                  <a:pt x="4643178" y="1043842"/>
                </a:cubicBezTo>
                <a:close/>
                <a:moveTo>
                  <a:pt x="3566831" y="1003678"/>
                </a:moveTo>
                <a:cubicBezTo>
                  <a:pt x="3547933" y="1003234"/>
                  <a:pt x="3524264" y="1006021"/>
                  <a:pt x="3536480" y="1035408"/>
                </a:cubicBezTo>
                <a:cubicBezTo>
                  <a:pt x="3567700" y="1058378"/>
                  <a:pt x="3607064" y="1089454"/>
                  <a:pt x="3630139" y="1120530"/>
                </a:cubicBezTo>
                <a:cubicBezTo>
                  <a:pt x="3653215" y="1159713"/>
                  <a:pt x="3717012" y="1128637"/>
                  <a:pt x="3669503" y="1097561"/>
                </a:cubicBezTo>
                <a:cubicBezTo>
                  <a:pt x="3630139" y="1074591"/>
                  <a:pt x="3638284" y="1012439"/>
                  <a:pt x="3582631" y="1004332"/>
                </a:cubicBezTo>
                <a:cubicBezTo>
                  <a:pt x="3578899" y="1004332"/>
                  <a:pt x="3573130" y="1003826"/>
                  <a:pt x="3566831" y="1003678"/>
                </a:cubicBezTo>
                <a:close/>
                <a:moveTo>
                  <a:pt x="662755" y="942258"/>
                </a:moveTo>
                <a:cubicBezTo>
                  <a:pt x="662755" y="942258"/>
                  <a:pt x="662755" y="942258"/>
                  <a:pt x="670926" y="942258"/>
                </a:cubicBezTo>
                <a:cubicBezTo>
                  <a:pt x="694079" y="996355"/>
                  <a:pt x="631431" y="1051803"/>
                  <a:pt x="583765" y="1074794"/>
                </a:cubicBezTo>
                <a:cubicBezTo>
                  <a:pt x="591936" y="1020698"/>
                  <a:pt x="616450" y="965249"/>
                  <a:pt x="662755" y="942258"/>
                </a:cubicBezTo>
                <a:close/>
                <a:moveTo>
                  <a:pt x="3763281" y="896386"/>
                </a:moveTo>
                <a:cubicBezTo>
                  <a:pt x="3724155" y="888291"/>
                  <a:pt x="3740345" y="942258"/>
                  <a:pt x="3755186" y="965194"/>
                </a:cubicBezTo>
                <a:cubicBezTo>
                  <a:pt x="3802407" y="996225"/>
                  <a:pt x="3818597" y="896386"/>
                  <a:pt x="3763281" y="896386"/>
                </a:cubicBezTo>
                <a:close/>
                <a:moveTo>
                  <a:pt x="4517005" y="865415"/>
                </a:moveTo>
                <a:cubicBezTo>
                  <a:pt x="4493976" y="865415"/>
                  <a:pt x="4502104" y="896366"/>
                  <a:pt x="4508877" y="911169"/>
                </a:cubicBezTo>
                <a:cubicBezTo>
                  <a:pt x="4548161" y="950196"/>
                  <a:pt x="4572545" y="857340"/>
                  <a:pt x="4517005" y="865415"/>
                </a:cubicBezTo>
                <a:close/>
                <a:moveTo>
                  <a:pt x="3684610" y="834324"/>
                </a:moveTo>
                <a:cubicBezTo>
                  <a:pt x="3669742" y="834324"/>
                  <a:pt x="3653522" y="857238"/>
                  <a:pt x="3669742" y="865326"/>
                </a:cubicBezTo>
                <a:cubicBezTo>
                  <a:pt x="3692720" y="919242"/>
                  <a:pt x="3740028" y="834324"/>
                  <a:pt x="3684610" y="834324"/>
                </a:cubicBezTo>
                <a:close/>
                <a:moveTo>
                  <a:pt x="4039260" y="811486"/>
                </a:moveTo>
                <a:cubicBezTo>
                  <a:pt x="4006687" y="803373"/>
                  <a:pt x="4014830" y="834472"/>
                  <a:pt x="4031117" y="849345"/>
                </a:cubicBezTo>
                <a:cubicBezTo>
                  <a:pt x="4062334" y="911543"/>
                  <a:pt x="4132910" y="935882"/>
                  <a:pt x="4155983" y="989967"/>
                </a:cubicBezTo>
                <a:cubicBezTo>
                  <a:pt x="4172270" y="1052165"/>
                  <a:pt x="4242846" y="1067039"/>
                  <a:pt x="4274063" y="1113011"/>
                </a:cubicBezTo>
                <a:cubicBezTo>
                  <a:pt x="4305279" y="1191435"/>
                  <a:pt x="4344639" y="1268506"/>
                  <a:pt x="4367712" y="1353690"/>
                </a:cubicBezTo>
                <a:cubicBezTo>
                  <a:pt x="4431502" y="1469974"/>
                  <a:pt x="4454575" y="1602482"/>
                  <a:pt x="4485792" y="1734991"/>
                </a:cubicBezTo>
                <a:cubicBezTo>
                  <a:pt x="4493935" y="1835049"/>
                  <a:pt x="4556368" y="1912120"/>
                  <a:pt x="4579441" y="2013530"/>
                </a:cubicBezTo>
                <a:cubicBezTo>
                  <a:pt x="4603872" y="2052742"/>
                  <a:pt x="4533295" y="2090601"/>
                  <a:pt x="4564512" y="2129813"/>
                </a:cubicBezTo>
                <a:cubicBezTo>
                  <a:pt x="4603872" y="2129813"/>
                  <a:pt x="4650018" y="2152799"/>
                  <a:pt x="4658162" y="2192011"/>
                </a:cubicBezTo>
                <a:cubicBezTo>
                  <a:pt x="4674448" y="2285308"/>
                  <a:pt x="4720595" y="2370493"/>
                  <a:pt x="4697521" y="2463790"/>
                </a:cubicBezTo>
                <a:cubicBezTo>
                  <a:pt x="4658162" y="2503001"/>
                  <a:pt x="4697521" y="2557087"/>
                  <a:pt x="4713808" y="2588186"/>
                </a:cubicBezTo>
                <a:cubicBezTo>
                  <a:pt x="4713808" y="2626045"/>
                  <a:pt x="4745025" y="2688243"/>
                  <a:pt x="4784385" y="2650384"/>
                </a:cubicBezTo>
                <a:cubicBezTo>
                  <a:pt x="4815601" y="2603059"/>
                  <a:pt x="4838674" y="2681483"/>
                  <a:pt x="4869891" y="2681483"/>
                </a:cubicBezTo>
                <a:cubicBezTo>
                  <a:pt x="4901107" y="2603059"/>
                  <a:pt x="4869891" y="2509762"/>
                  <a:pt x="4861747" y="2424578"/>
                </a:cubicBezTo>
                <a:cubicBezTo>
                  <a:pt x="4894321" y="2347506"/>
                  <a:pt x="4861747" y="2269083"/>
                  <a:pt x="4838674" y="2192011"/>
                </a:cubicBezTo>
                <a:cubicBezTo>
                  <a:pt x="4838674" y="2114940"/>
                  <a:pt x="4815601" y="2036516"/>
                  <a:pt x="4776241" y="1974318"/>
                </a:cubicBezTo>
                <a:cubicBezTo>
                  <a:pt x="4736881" y="1858035"/>
                  <a:pt x="4658162" y="1757977"/>
                  <a:pt x="4618801" y="1648455"/>
                </a:cubicBezTo>
                <a:cubicBezTo>
                  <a:pt x="4572655" y="1563271"/>
                  <a:pt x="4556368" y="1469974"/>
                  <a:pt x="4525152" y="1384789"/>
                </a:cubicBezTo>
                <a:cubicBezTo>
                  <a:pt x="4493935" y="1268506"/>
                  <a:pt x="4375856" y="1214421"/>
                  <a:pt x="4336496" y="1106250"/>
                </a:cubicBezTo>
                <a:cubicBezTo>
                  <a:pt x="4336496" y="1067039"/>
                  <a:pt x="4328352" y="1027827"/>
                  <a:pt x="4288992" y="1012953"/>
                </a:cubicBezTo>
                <a:cubicBezTo>
                  <a:pt x="4226559" y="989967"/>
                  <a:pt x="4313423" y="942642"/>
                  <a:pt x="4288992" y="911543"/>
                </a:cubicBezTo>
                <a:cubicBezTo>
                  <a:pt x="4250990" y="873684"/>
                  <a:pt x="4203486" y="919656"/>
                  <a:pt x="4155983" y="927769"/>
                </a:cubicBezTo>
                <a:cubicBezTo>
                  <a:pt x="4141053" y="873684"/>
                  <a:pt x="4101693" y="818246"/>
                  <a:pt x="4039260" y="811486"/>
                </a:cubicBezTo>
                <a:close/>
                <a:moveTo>
                  <a:pt x="3496951" y="763692"/>
                </a:moveTo>
                <a:cubicBezTo>
                  <a:pt x="3457496" y="802862"/>
                  <a:pt x="3511916" y="864993"/>
                  <a:pt x="3520079" y="904163"/>
                </a:cubicBezTo>
                <a:cubicBezTo>
                  <a:pt x="3543208" y="856889"/>
                  <a:pt x="3536405" y="794757"/>
                  <a:pt x="3496951" y="763692"/>
                </a:cubicBezTo>
                <a:close/>
                <a:moveTo>
                  <a:pt x="3418041" y="694844"/>
                </a:moveTo>
                <a:cubicBezTo>
                  <a:pt x="3362260" y="686709"/>
                  <a:pt x="3370423" y="726028"/>
                  <a:pt x="3394912" y="757211"/>
                </a:cubicBezTo>
                <a:cubicBezTo>
                  <a:pt x="3394912" y="780258"/>
                  <a:pt x="3418041" y="849404"/>
                  <a:pt x="3449333" y="803307"/>
                </a:cubicBezTo>
                <a:cubicBezTo>
                  <a:pt x="3418041" y="772124"/>
                  <a:pt x="3457496" y="717893"/>
                  <a:pt x="3418041" y="694844"/>
                </a:cubicBezTo>
                <a:close/>
                <a:moveTo>
                  <a:pt x="866176" y="686879"/>
                </a:moveTo>
                <a:cubicBezTo>
                  <a:pt x="874323" y="678773"/>
                  <a:pt x="921849" y="709845"/>
                  <a:pt x="898765" y="717951"/>
                </a:cubicBezTo>
                <a:cubicBezTo>
                  <a:pt x="834945" y="749023"/>
                  <a:pt x="788777" y="786850"/>
                  <a:pt x="741251" y="826027"/>
                </a:cubicBezTo>
                <a:cubicBezTo>
                  <a:pt x="733104" y="848994"/>
                  <a:pt x="693725" y="919243"/>
                  <a:pt x="686935" y="865205"/>
                </a:cubicBezTo>
                <a:cubicBezTo>
                  <a:pt x="710019" y="780095"/>
                  <a:pt x="788777" y="726056"/>
                  <a:pt x="866176" y="686879"/>
                </a:cubicBezTo>
                <a:close/>
                <a:moveTo>
                  <a:pt x="1806908" y="623646"/>
                </a:moveTo>
                <a:cubicBezTo>
                  <a:pt x="1812154" y="622567"/>
                  <a:pt x="1818255" y="622758"/>
                  <a:pt x="1825227" y="624619"/>
                </a:cubicBezTo>
                <a:cubicBezTo>
                  <a:pt x="1864682" y="624619"/>
                  <a:pt x="1848356" y="686896"/>
                  <a:pt x="1817064" y="695019"/>
                </a:cubicBezTo>
                <a:cubicBezTo>
                  <a:pt x="1775398" y="700942"/>
                  <a:pt x="1770190" y="631198"/>
                  <a:pt x="1806908" y="623646"/>
                </a:cubicBezTo>
                <a:close/>
                <a:moveTo>
                  <a:pt x="4092954" y="485127"/>
                </a:moveTo>
                <a:cubicBezTo>
                  <a:pt x="4053511" y="485127"/>
                  <a:pt x="4069832" y="516232"/>
                  <a:pt x="4076633" y="539223"/>
                </a:cubicBezTo>
                <a:cubicBezTo>
                  <a:pt x="4124236" y="655526"/>
                  <a:pt x="4282009" y="663641"/>
                  <a:pt x="4352734" y="756954"/>
                </a:cubicBezTo>
                <a:cubicBezTo>
                  <a:pt x="4367695" y="779945"/>
                  <a:pt x="4438421" y="786706"/>
                  <a:pt x="4431620" y="748840"/>
                </a:cubicBezTo>
                <a:cubicBezTo>
                  <a:pt x="4313291" y="663641"/>
                  <a:pt x="4226244" y="539223"/>
                  <a:pt x="4092954" y="485127"/>
                </a:cubicBezTo>
                <a:close/>
                <a:moveTo>
                  <a:pt x="3135600" y="197445"/>
                </a:moveTo>
                <a:cubicBezTo>
                  <a:pt x="3104331" y="190692"/>
                  <a:pt x="3112488" y="236610"/>
                  <a:pt x="3135600" y="236610"/>
                </a:cubicBezTo>
                <a:cubicBezTo>
                  <a:pt x="3189981" y="236610"/>
                  <a:pt x="3189981" y="290633"/>
                  <a:pt x="3214452" y="329799"/>
                </a:cubicBezTo>
                <a:cubicBezTo>
                  <a:pt x="3260676" y="344656"/>
                  <a:pt x="3260676" y="267674"/>
                  <a:pt x="3245721" y="244714"/>
                </a:cubicBezTo>
                <a:cubicBezTo>
                  <a:pt x="3198138" y="259570"/>
                  <a:pt x="3166869" y="213651"/>
                  <a:pt x="3135600" y="197445"/>
                </a:cubicBezTo>
                <a:close/>
                <a:moveTo>
                  <a:pt x="3033862" y="197441"/>
                </a:moveTo>
                <a:cubicBezTo>
                  <a:pt x="2978189" y="190692"/>
                  <a:pt x="2884495" y="221742"/>
                  <a:pt x="2899432" y="298691"/>
                </a:cubicBezTo>
                <a:cubicBezTo>
                  <a:pt x="2955105" y="321641"/>
                  <a:pt x="3025715" y="313541"/>
                  <a:pt x="3073241" y="283841"/>
                </a:cubicBezTo>
                <a:cubicBezTo>
                  <a:pt x="3119409" y="252791"/>
                  <a:pt x="3073241" y="197441"/>
                  <a:pt x="3033862" y="197441"/>
                </a:cubicBezTo>
                <a:close/>
                <a:moveTo>
                  <a:pt x="3370960" y="190291"/>
                </a:moveTo>
                <a:cubicBezTo>
                  <a:pt x="3300357" y="205202"/>
                  <a:pt x="3356025" y="306871"/>
                  <a:pt x="3410335" y="298737"/>
                </a:cubicBezTo>
                <a:cubicBezTo>
                  <a:pt x="3457856" y="313649"/>
                  <a:pt x="3457856" y="213336"/>
                  <a:pt x="3497230" y="252648"/>
                </a:cubicBezTo>
                <a:cubicBezTo>
                  <a:pt x="3504019" y="313649"/>
                  <a:pt x="3575980" y="306871"/>
                  <a:pt x="3622143" y="321782"/>
                </a:cubicBezTo>
                <a:cubicBezTo>
                  <a:pt x="3661518" y="384139"/>
                  <a:pt x="3787789" y="392272"/>
                  <a:pt x="3802724" y="306871"/>
                </a:cubicBezTo>
                <a:cubicBezTo>
                  <a:pt x="3779642" y="236381"/>
                  <a:pt x="3692746" y="244514"/>
                  <a:pt x="3638436" y="221469"/>
                </a:cubicBezTo>
                <a:cubicBezTo>
                  <a:pt x="3551540" y="174024"/>
                  <a:pt x="3457856" y="228248"/>
                  <a:pt x="3370960" y="190291"/>
                </a:cubicBezTo>
                <a:close/>
                <a:moveTo>
                  <a:pt x="3347272" y="0"/>
                </a:moveTo>
                <a:cubicBezTo>
                  <a:pt x="3480373" y="0"/>
                  <a:pt x="3614832" y="16229"/>
                  <a:pt x="3747934" y="39221"/>
                </a:cubicBezTo>
                <a:cubicBezTo>
                  <a:pt x="4022285" y="62212"/>
                  <a:pt x="4234160" y="248851"/>
                  <a:pt x="4454184" y="388153"/>
                </a:cubicBezTo>
                <a:cubicBezTo>
                  <a:pt x="4579136" y="465243"/>
                  <a:pt x="4682358" y="574792"/>
                  <a:pt x="4752983" y="699217"/>
                </a:cubicBezTo>
                <a:cubicBezTo>
                  <a:pt x="4886084" y="877740"/>
                  <a:pt x="5019185" y="1056264"/>
                  <a:pt x="5106108" y="1264541"/>
                </a:cubicBezTo>
                <a:cubicBezTo>
                  <a:pt x="5176733" y="1397082"/>
                  <a:pt x="5247358" y="1529622"/>
                  <a:pt x="5278596" y="1668924"/>
                </a:cubicBezTo>
                <a:cubicBezTo>
                  <a:pt x="5357370" y="2002980"/>
                  <a:pt x="5380459" y="2343798"/>
                  <a:pt x="5380459" y="2677853"/>
                </a:cubicBezTo>
                <a:cubicBezTo>
                  <a:pt x="5372310" y="2871254"/>
                  <a:pt x="5372310" y="3080884"/>
                  <a:pt x="5301685" y="3267522"/>
                </a:cubicBezTo>
                <a:cubicBezTo>
                  <a:pt x="5262298" y="3352726"/>
                  <a:pt x="5247358" y="3454160"/>
                  <a:pt x="5216120" y="3546127"/>
                </a:cubicBezTo>
                <a:cubicBezTo>
                  <a:pt x="5191673" y="3601577"/>
                  <a:pt x="5191673" y="3670552"/>
                  <a:pt x="5160435" y="3732765"/>
                </a:cubicBezTo>
                <a:cubicBezTo>
                  <a:pt x="5019185" y="3911289"/>
                  <a:pt x="4894233" y="4112804"/>
                  <a:pt x="4736685" y="4283213"/>
                </a:cubicBezTo>
                <a:cubicBezTo>
                  <a:pt x="4705447" y="4322434"/>
                  <a:pt x="4649761" y="4291328"/>
                  <a:pt x="4618523" y="4322434"/>
                </a:cubicBezTo>
                <a:cubicBezTo>
                  <a:pt x="4572345" y="4376532"/>
                  <a:pt x="4541107" y="4446860"/>
                  <a:pt x="4477273" y="4477966"/>
                </a:cubicBezTo>
                <a:cubicBezTo>
                  <a:pt x="4383559" y="4532064"/>
                  <a:pt x="4329232" y="4625383"/>
                  <a:pt x="4234160" y="4671367"/>
                </a:cubicBezTo>
                <a:cubicBezTo>
                  <a:pt x="4124148" y="4718702"/>
                  <a:pt x="4030434" y="4795792"/>
                  <a:pt x="3920422" y="4835013"/>
                </a:cubicBezTo>
                <a:cubicBezTo>
                  <a:pt x="3771022" y="4880996"/>
                  <a:pt x="3629772" y="4943209"/>
                  <a:pt x="3472224" y="4974316"/>
                </a:cubicBezTo>
                <a:cubicBezTo>
                  <a:pt x="3434195" y="4997307"/>
                  <a:pt x="3401599" y="4959439"/>
                  <a:pt x="3449135" y="4943209"/>
                </a:cubicBezTo>
                <a:cubicBezTo>
                  <a:pt x="3472224" y="4912103"/>
                  <a:pt x="3544207" y="4905341"/>
                  <a:pt x="3527909" y="4849890"/>
                </a:cubicBezTo>
                <a:cubicBezTo>
                  <a:pt x="3440986" y="4858005"/>
                  <a:pt x="3363570" y="4905341"/>
                  <a:pt x="3276647" y="4912103"/>
                </a:cubicBezTo>
                <a:cubicBezTo>
                  <a:pt x="3229111" y="4928332"/>
                  <a:pt x="3189724" y="4905341"/>
                  <a:pt x="3151695" y="4897226"/>
                </a:cubicBezTo>
                <a:cubicBezTo>
                  <a:pt x="3112308" y="4905341"/>
                  <a:pt x="3072921" y="4959439"/>
                  <a:pt x="3041683" y="4905341"/>
                </a:cubicBezTo>
                <a:cubicBezTo>
                  <a:pt x="3033534" y="4880996"/>
                  <a:pt x="3009087" y="4812021"/>
                  <a:pt x="2971058" y="4843128"/>
                </a:cubicBezTo>
                <a:cubicBezTo>
                  <a:pt x="2971058" y="4889111"/>
                  <a:pt x="2915373" y="4889111"/>
                  <a:pt x="2884135" y="4905341"/>
                </a:cubicBezTo>
                <a:cubicBezTo>
                  <a:pt x="2852897" y="4943209"/>
                  <a:pt x="2805360" y="4912103"/>
                  <a:pt x="2765973" y="4905341"/>
                </a:cubicBezTo>
                <a:cubicBezTo>
                  <a:pt x="2719796" y="4880996"/>
                  <a:pt x="2719796" y="4943209"/>
                  <a:pt x="2688557" y="4943209"/>
                </a:cubicBezTo>
                <a:cubicBezTo>
                  <a:pt x="2649170" y="4905341"/>
                  <a:pt x="2711646" y="4874234"/>
                  <a:pt x="2734735" y="4849890"/>
                </a:cubicBezTo>
                <a:cubicBezTo>
                  <a:pt x="2782272" y="4812021"/>
                  <a:pt x="2751034" y="4756571"/>
                  <a:pt x="2703497" y="4749809"/>
                </a:cubicBezTo>
                <a:cubicBezTo>
                  <a:pt x="2655961" y="4741694"/>
                  <a:pt x="2641021" y="4695711"/>
                  <a:pt x="2632872" y="4656490"/>
                </a:cubicBezTo>
                <a:cubicBezTo>
                  <a:pt x="2609783" y="4602391"/>
                  <a:pt x="2554098" y="4664604"/>
                  <a:pt x="2514711" y="4664604"/>
                </a:cubicBezTo>
                <a:cubicBezTo>
                  <a:pt x="2429146" y="4702473"/>
                  <a:pt x="2334074" y="4671367"/>
                  <a:pt x="2256658" y="4633498"/>
                </a:cubicBezTo>
                <a:cubicBezTo>
                  <a:pt x="2200973" y="4617268"/>
                  <a:pt x="2146646" y="4594277"/>
                  <a:pt x="2099110" y="4579400"/>
                </a:cubicBezTo>
                <a:cubicBezTo>
                  <a:pt x="2028485" y="4602391"/>
                  <a:pt x="1934771" y="4579400"/>
                  <a:pt x="1903533" y="4509072"/>
                </a:cubicBezTo>
                <a:cubicBezTo>
                  <a:pt x="1903533" y="4454974"/>
                  <a:pt x="1879086" y="4384647"/>
                  <a:pt x="1816610" y="4384647"/>
                </a:cubicBezTo>
                <a:cubicBezTo>
                  <a:pt x="1754134" y="4384647"/>
                  <a:pt x="1754134" y="4307557"/>
                  <a:pt x="1714747" y="4283213"/>
                </a:cubicBezTo>
                <a:cubicBezTo>
                  <a:pt x="1675359" y="4268336"/>
                  <a:pt x="1652271" y="4237230"/>
                  <a:pt x="1619674" y="4206123"/>
                </a:cubicBezTo>
                <a:cubicBezTo>
                  <a:pt x="1557198" y="4183131"/>
                  <a:pt x="1502871" y="4135796"/>
                  <a:pt x="1486574" y="4066821"/>
                </a:cubicBezTo>
                <a:cubicBezTo>
                  <a:pt x="1494723" y="4012723"/>
                  <a:pt x="1440396" y="3996493"/>
                  <a:pt x="1401009" y="3973502"/>
                </a:cubicBezTo>
                <a:cubicBezTo>
                  <a:pt x="1353473" y="3950510"/>
                  <a:pt x="1345324" y="3903174"/>
                  <a:pt x="1322234" y="3872068"/>
                </a:cubicBezTo>
                <a:cubicBezTo>
                  <a:pt x="1266550" y="3840961"/>
                  <a:pt x="1251609" y="3771986"/>
                  <a:pt x="1220372" y="3724651"/>
                </a:cubicBezTo>
                <a:cubicBezTo>
                  <a:pt x="1212223" y="3686782"/>
                  <a:pt x="1149746" y="3655676"/>
                  <a:pt x="1149746" y="3709774"/>
                </a:cubicBezTo>
                <a:cubicBezTo>
                  <a:pt x="1164686" y="3740880"/>
                  <a:pt x="1110360" y="3771986"/>
                  <a:pt x="1133448" y="3786863"/>
                </a:cubicBezTo>
                <a:cubicBezTo>
                  <a:pt x="1180985" y="3826084"/>
                  <a:pt x="1133448" y="3888297"/>
                  <a:pt x="1164686" y="3919403"/>
                </a:cubicBezTo>
                <a:cubicBezTo>
                  <a:pt x="1189134" y="3903174"/>
                  <a:pt x="1235311" y="3880182"/>
                  <a:pt x="1243460" y="3927518"/>
                </a:cubicBezTo>
                <a:cubicBezTo>
                  <a:pt x="1220372" y="3965387"/>
                  <a:pt x="1235311" y="4012723"/>
                  <a:pt x="1282848" y="4019485"/>
                </a:cubicBezTo>
                <a:cubicBezTo>
                  <a:pt x="1337174" y="4027600"/>
                  <a:pt x="1297788" y="4074935"/>
                  <a:pt x="1274699" y="4089812"/>
                </a:cubicBezTo>
                <a:cubicBezTo>
                  <a:pt x="1266550" y="4143910"/>
                  <a:pt x="1212223" y="4120919"/>
                  <a:pt x="1195925" y="4089812"/>
                </a:cubicBezTo>
                <a:cubicBezTo>
                  <a:pt x="1189134" y="4043829"/>
                  <a:pt x="1141597" y="4043829"/>
                  <a:pt x="1149746" y="4089812"/>
                </a:cubicBezTo>
                <a:cubicBezTo>
                  <a:pt x="1156537" y="4120919"/>
                  <a:pt x="1118509" y="4183131"/>
                  <a:pt x="1172836" y="4191246"/>
                </a:cubicBezTo>
                <a:cubicBezTo>
                  <a:pt x="1227162" y="4166902"/>
                  <a:pt x="1266550" y="4237230"/>
                  <a:pt x="1243460" y="4276451"/>
                </a:cubicBezTo>
                <a:cubicBezTo>
                  <a:pt x="1204074" y="4314319"/>
                  <a:pt x="1156537" y="4260221"/>
                  <a:pt x="1125299" y="4245344"/>
                </a:cubicBezTo>
                <a:cubicBezTo>
                  <a:pt x="1054674" y="4206123"/>
                  <a:pt x="1023437" y="4129033"/>
                  <a:pt x="960960" y="4081698"/>
                </a:cubicBezTo>
                <a:cubicBezTo>
                  <a:pt x="905276" y="3988379"/>
                  <a:pt x="859097" y="3896412"/>
                  <a:pt x="780323" y="3826084"/>
                </a:cubicBezTo>
                <a:cubicBezTo>
                  <a:pt x="732786" y="3780101"/>
                  <a:pt x="717847" y="3724651"/>
                  <a:pt x="693400" y="3662438"/>
                </a:cubicBezTo>
                <a:cubicBezTo>
                  <a:pt x="607835" y="3608340"/>
                  <a:pt x="599685" y="3492029"/>
                  <a:pt x="584745" y="3398710"/>
                </a:cubicBezTo>
                <a:cubicBezTo>
                  <a:pt x="552149" y="3321620"/>
                  <a:pt x="552149" y="3236416"/>
                  <a:pt x="545358" y="3157973"/>
                </a:cubicBezTo>
                <a:cubicBezTo>
                  <a:pt x="529060" y="3088998"/>
                  <a:pt x="497822" y="3026786"/>
                  <a:pt x="497822" y="2949696"/>
                </a:cubicBezTo>
                <a:cubicBezTo>
                  <a:pt x="512763" y="2871254"/>
                  <a:pt x="489673" y="2786049"/>
                  <a:pt x="458435" y="2715722"/>
                </a:cubicBezTo>
                <a:cubicBezTo>
                  <a:pt x="427197" y="2669739"/>
                  <a:pt x="474733" y="2646747"/>
                  <a:pt x="505971" y="2638632"/>
                </a:cubicBezTo>
                <a:cubicBezTo>
                  <a:pt x="505971" y="2584534"/>
                  <a:pt x="497822" y="2530436"/>
                  <a:pt x="505971" y="2476338"/>
                </a:cubicBezTo>
                <a:cubicBezTo>
                  <a:pt x="529060" y="2366789"/>
                  <a:pt x="505971" y="2258593"/>
                  <a:pt x="529060" y="2150397"/>
                </a:cubicBezTo>
                <a:cubicBezTo>
                  <a:pt x="537209" y="2094947"/>
                  <a:pt x="591536" y="2080070"/>
                  <a:pt x="622774" y="2040849"/>
                </a:cubicBezTo>
                <a:cubicBezTo>
                  <a:pt x="647221" y="1978636"/>
                  <a:pt x="647221" y="1901546"/>
                  <a:pt x="662161" y="1831218"/>
                </a:cubicBezTo>
                <a:cubicBezTo>
                  <a:pt x="725996" y="1762243"/>
                  <a:pt x="732786" y="1668924"/>
                  <a:pt x="764024" y="1583720"/>
                </a:cubicBezTo>
                <a:cubicBezTo>
                  <a:pt x="780323" y="1498515"/>
                  <a:pt x="859097" y="1459294"/>
                  <a:pt x="890335" y="1382205"/>
                </a:cubicBezTo>
                <a:cubicBezTo>
                  <a:pt x="905276" y="1311877"/>
                  <a:pt x="969109" y="1280771"/>
                  <a:pt x="1008497" y="1226673"/>
                </a:cubicBezTo>
                <a:cubicBezTo>
                  <a:pt x="1015288" y="1195566"/>
                  <a:pt x="1062823" y="1133354"/>
                  <a:pt x="1079121" y="1187452"/>
                </a:cubicBezTo>
                <a:cubicBezTo>
                  <a:pt x="1110360" y="1172575"/>
                  <a:pt x="1110360" y="1141468"/>
                  <a:pt x="1125299" y="1110362"/>
                </a:cubicBezTo>
                <a:cubicBezTo>
                  <a:pt x="1156537" y="1071141"/>
                  <a:pt x="1180985" y="1125239"/>
                  <a:pt x="1180985" y="1156345"/>
                </a:cubicBezTo>
                <a:cubicBezTo>
                  <a:pt x="1195925" y="1203681"/>
                  <a:pt x="1243460" y="1187452"/>
                  <a:pt x="1282848" y="1203681"/>
                </a:cubicBezTo>
                <a:cubicBezTo>
                  <a:pt x="1297788" y="1241550"/>
                  <a:pt x="1251609" y="1288886"/>
                  <a:pt x="1212223" y="1303763"/>
                </a:cubicBezTo>
                <a:cubicBezTo>
                  <a:pt x="1172836" y="1334869"/>
                  <a:pt x="1141597" y="1280771"/>
                  <a:pt x="1102211" y="1280771"/>
                </a:cubicBezTo>
                <a:cubicBezTo>
                  <a:pt x="1054674" y="1319992"/>
                  <a:pt x="1141597" y="1334869"/>
                  <a:pt x="1141597" y="1357861"/>
                </a:cubicBezTo>
                <a:cubicBezTo>
                  <a:pt x="1133448" y="1384910"/>
                  <a:pt x="1121564" y="1412297"/>
                  <a:pt x="1106794" y="1437656"/>
                </a:cubicBezTo>
                <a:lnTo>
                  <a:pt x="1105337" y="1439546"/>
                </a:lnTo>
                <a:lnTo>
                  <a:pt x="1102047" y="1435471"/>
                </a:lnTo>
                <a:cubicBezTo>
                  <a:pt x="1098296" y="1433254"/>
                  <a:pt x="1093089" y="1431927"/>
                  <a:pt x="1086146" y="1431927"/>
                </a:cubicBezTo>
                <a:cubicBezTo>
                  <a:pt x="1071244" y="1431927"/>
                  <a:pt x="1063118" y="1446754"/>
                  <a:pt x="1063118" y="1462929"/>
                </a:cubicBezTo>
                <a:cubicBezTo>
                  <a:pt x="1065997" y="1469669"/>
                  <a:pt x="1069383" y="1474239"/>
                  <a:pt x="1072997" y="1477077"/>
                </a:cubicBezTo>
                <a:lnTo>
                  <a:pt x="1075712" y="1477983"/>
                </a:lnTo>
                <a:lnTo>
                  <a:pt x="1054674" y="1505278"/>
                </a:lnTo>
                <a:cubicBezTo>
                  <a:pt x="1023437" y="1529622"/>
                  <a:pt x="1047883" y="1575605"/>
                  <a:pt x="1000348" y="1559376"/>
                </a:cubicBezTo>
                <a:cubicBezTo>
                  <a:pt x="992198" y="1606712"/>
                  <a:pt x="944662" y="1629703"/>
                  <a:pt x="952811" y="1668924"/>
                </a:cubicBezTo>
                <a:cubicBezTo>
                  <a:pt x="977258" y="1723022"/>
                  <a:pt x="921574" y="1677039"/>
                  <a:pt x="898484" y="1691916"/>
                </a:cubicBezTo>
                <a:cubicBezTo>
                  <a:pt x="827860" y="1731137"/>
                  <a:pt x="811561" y="1824456"/>
                  <a:pt x="842800" y="1893431"/>
                </a:cubicBezTo>
                <a:cubicBezTo>
                  <a:pt x="867246" y="1932653"/>
                  <a:pt x="842800" y="2002980"/>
                  <a:pt x="796621" y="1971874"/>
                </a:cubicBezTo>
                <a:cubicBezTo>
                  <a:pt x="757235" y="1932653"/>
                  <a:pt x="725996" y="1994865"/>
                  <a:pt x="709697" y="2025972"/>
                </a:cubicBezTo>
                <a:cubicBezTo>
                  <a:pt x="670310" y="2034087"/>
                  <a:pt x="662161" y="2080070"/>
                  <a:pt x="678459" y="2111176"/>
                </a:cubicBezTo>
                <a:cubicBezTo>
                  <a:pt x="732786" y="2165274"/>
                  <a:pt x="670310" y="2242364"/>
                  <a:pt x="686608" y="2304577"/>
                </a:cubicBezTo>
                <a:cubicBezTo>
                  <a:pt x="717847" y="2358675"/>
                  <a:pt x="693400" y="2429002"/>
                  <a:pt x="662161" y="2483100"/>
                </a:cubicBezTo>
                <a:cubicBezTo>
                  <a:pt x="647221" y="2584534"/>
                  <a:pt x="647221" y="2684616"/>
                  <a:pt x="647221" y="2794164"/>
                </a:cubicBezTo>
                <a:cubicBezTo>
                  <a:pt x="647221" y="2894245"/>
                  <a:pt x="678459" y="2995679"/>
                  <a:pt x="693400" y="3097113"/>
                </a:cubicBezTo>
                <a:cubicBezTo>
                  <a:pt x="701549" y="3174203"/>
                  <a:pt x="709697" y="3259407"/>
                  <a:pt x="757235" y="3329735"/>
                </a:cubicBezTo>
                <a:cubicBezTo>
                  <a:pt x="780323" y="3454160"/>
                  <a:pt x="842800" y="3570471"/>
                  <a:pt x="890335" y="3686782"/>
                </a:cubicBezTo>
                <a:cubicBezTo>
                  <a:pt x="944662" y="3748995"/>
                  <a:pt x="921574" y="3849076"/>
                  <a:pt x="977258" y="3911289"/>
                </a:cubicBezTo>
                <a:cubicBezTo>
                  <a:pt x="1023437" y="3927518"/>
                  <a:pt x="1047883" y="3996493"/>
                  <a:pt x="1102211" y="3988379"/>
                </a:cubicBezTo>
                <a:cubicBezTo>
                  <a:pt x="1118509" y="3903174"/>
                  <a:pt x="1031586" y="3849076"/>
                  <a:pt x="1000348" y="3771986"/>
                </a:cubicBezTo>
                <a:cubicBezTo>
                  <a:pt x="992198" y="3701659"/>
                  <a:pt x="952811" y="3639446"/>
                  <a:pt x="913425" y="3585348"/>
                </a:cubicBezTo>
                <a:cubicBezTo>
                  <a:pt x="882186" y="3531250"/>
                  <a:pt x="890335" y="3477152"/>
                  <a:pt x="882186" y="3414939"/>
                </a:cubicBezTo>
                <a:cubicBezTo>
                  <a:pt x="859097" y="3336497"/>
                  <a:pt x="834651" y="3251293"/>
                  <a:pt x="834651" y="3166088"/>
                </a:cubicBezTo>
                <a:cubicBezTo>
                  <a:pt x="811561" y="3088998"/>
                  <a:pt x="819710" y="3010556"/>
                  <a:pt x="827860" y="2933467"/>
                </a:cubicBezTo>
                <a:cubicBezTo>
                  <a:pt x="850948" y="2894245"/>
                  <a:pt x="867246" y="2987565"/>
                  <a:pt x="898484" y="2956458"/>
                </a:cubicBezTo>
                <a:cubicBezTo>
                  <a:pt x="937872" y="2856377"/>
                  <a:pt x="944662" y="2740066"/>
                  <a:pt x="952811" y="2630517"/>
                </a:cubicBezTo>
                <a:cubicBezTo>
                  <a:pt x="937872" y="2576419"/>
                  <a:pt x="977258" y="2537198"/>
                  <a:pt x="984049" y="2483100"/>
                </a:cubicBezTo>
                <a:cubicBezTo>
                  <a:pt x="969109" y="2406011"/>
                  <a:pt x="969109" y="2320806"/>
                  <a:pt x="1000348" y="2242364"/>
                </a:cubicBezTo>
                <a:cubicBezTo>
                  <a:pt x="1062823" y="2048964"/>
                  <a:pt x="1102211" y="1855563"/>
                  <a:pt x="1189134" y="1668924"/>
                </a:cubicBezTo>
                <a:cubicBezTo>
                  <a:pt x="1220372" y="1567490"/>
                  <a:pt x="1290997" y="1490401"/>
                  <a:pt x="1337174" y="1397082"/>
                </a:cubicBezTo>
                <a:cubicBezTo>
                  <a:pt x="1353473" y="1334869"/>
                  <a:pt x="1440396" y="1295648"/>
                  <a:pt x="1415948" y="1226673"/>
                </a:cubicBezTo>
                <a:cubicBezTo>
                  <a:pt x="1401009" y="1172575"/>
                  <a:pt x="1330383" y="1172575"/>
                  <a:pt x="1322234" y="1117124"/>
                </a:cubicBezTo>
                <a:cubicBezTo>
                  <a:pt x="1345324" y="1079256"/>
                  <a:pt x="1369771" y="1025158"/>
                  <a:pt x="1415948" y="1008928"/>
                </a:cubicBezTo>
                <a:cubicBezTo>
                  <a:pt x="1440396" y="977822"/>
                  <a:pt x="1517812" y="1008928"/>
                  <a:pt x="1478425" y="1048149"/>
                </a:cubicBezTo>
                <a:cubicBezTo>
                  <a:pt x="1424097" y="1048149"/>
                  <a:pt x="1401009" y="1110362"/>
                  <a:pt x="1415948" y="1148231"/>
                </a:cubicBezTo>
                <a:cubicBezTo>
                  <a:pt x="1432246" y="1203681"/>
                  <a:pt x="1486574" y="1164460"/>
                  <a:pt x="1494723" y="1125239"/>
                </a:cubicBezTo>
                <a:cubicBezTo>
                  <a:pt x="1581645" y="1063026"/>
                  <a:pt x="1525960" y="938601"/>
                  <a:pt x="1581645" y="861511"/>
                </a:cubicBezTo>
                <a:cubicBezTo>
                  <a:pt x="1612883" y="846634"/>
                  <a:pt x="1659061" y="830405"/>
                  <a:pt x="1690299" y="799298"/>
                </a:cubicBezTo>
                <a:cubicBezTo>
                  <a:pt x="1745985" y="745200"/>
                  <a:pt x="1816610" y="760077"/>
                  <a:pt x="1879086" y="730323"/>
                </a:cubicBezTo>
                <a:cubicBezTo>
                  <a:pt x="1926622" y="682987"/>
                  <a:pt x="1997247" y="699217"/>
                  <a:pt x="2044783" y="659996"/>
                </a:cubicBezTo>
                <a:cubicBezTo>
                  <a:pt x="2076021" y="628890"/>
                  <a:pt x="2059723" y="574792"/>
                  <a:pt x="2012187" y="582906"/>
                </a:cubicBezTo>
                <a:cubicBezTo>
                  <a:pt x="1949711" y="551800"/>
                  <a:pt x="2028485" y="558562"/>
                  <a:pt x="2051574" y="558562"/>
                </a:cubicBezTo>
                <a:cubicBezTo>
                  <a:pt x="2076021" y="504464"/>
                  <a:pt x="2005396" y="496349"/>
                  <a:pt x="1989098" y="458481"/>
                </a:cubicBezTo>
                <a:cubicBezTo>
                  <a:pt x="2028485" y="427374"/>
                  <a:pt x="2067872" y="419260"/>
                  <a:pt x="2115408" y="404383"/>
                </a:cubicBezTo>
                <a:cubicBezTo>
                  <a:pt x="2177884" y="388153"/>
                  <a:pt x="2263449" y="334055"/>
                  <a:pt x="2319134" y="396268"/>
                </a:cubicBezTo>
                <a:cubicBezTo>
                  <a:pt x="2263449" y="458481"/>
                  <a:pt x="2177884" y="442251"/>
                  <a:pt x="2099110" y="458481"/>
                </a:cubicBezTo>
                <a:cubicBezTo>
                  <a:pt x="2051574" y="489587"/>
                  <a:pt x="2115408" y="543685"/>
                  <a:pt x="2107259" y="582906"/>
                </a:cubicBezTo>
                <a:cubicBezTo>
                  <a:pt x="2146646" y="574792"/>
                  <a:pt x="2161586" y="527456"/>
                  <a:pt x="2192824" y="504464"/>
                </a:cubicBezTo>
                <a:cubicBezTo>
                  <a:pt x="2248509" y="481472"/>
                  <a:pt x="2310985" y="489587"/>
                  <a:pt x="2366670" y="481472"/>
                </a:cubicBezTo>
                <a:cubicBezTo>
                  <a:pt x="2412848" y="496349"/>
                  <a:pt x="2452235" y="450366"/>
                  <a:pt x="2491622" y="427374"/>
                </a:cubicBezTo>
                <a:cubicBezTo>
                  <a:pt x="2570396" y="427374"/>
                  <a:pt x="2609783" y="325941"/>
                  <a:pt x="2688557" y="325941"/>
                </a:cubicBezTo>
                <a:cubicBezTo>
                  <a:pt x="2742884" y="357047"/>
                  <a:pt x="2782272" y="271842"/>
                  <a:pt x="2742884" y="240736"/>
                </a:cubicBezTo>
                <a:cubicBezTo>
                  <a:pt x="2672259" y="232621"/>
                  <a:pt x="2593485" y="209630"/>
                  <a:pt x="2522860" y="209630"/>
                </a:cubicBezTo>
                <a:cubicBezTo>
                  <a:pt x="2319134" y="256965"/>
                  <a:pt x="2107259" y="263728"/>
                  <a:pt x="1926622" y="365162"/>
                </a:cubicBezTo>
                <a:cubicBezTo>
                  <a:pt x="1887235" y="404383"/>
                  <a:pt x="1941562" y="442251"/>
                  <a:pt x="1957860" y="473358"/>
                </a:cubicBezTo>
                <a:cubicBezTo>
                  <a:pt x="1949711" y="527456"/>
                  <a:pt x="1887235" y="504464"/>
                  <a:pt x="1855997" y="520694"/>
                </a:cubicBezTo>
                <a:cubicBezTo>
                  <a:pt x="1816610" y="582906"/>
                  <a:pt x="1729686" y="558562"/>
                  <a:pt x="1675359" y="589669"/>
                </a:cubicBezTo>
                <a:cubicBezTo>
                  <a:pt x="1619674" y="605898"/>
                  <a:pt x="1667210" y="637004"/>
                  <a:pt x="1659061" y="674873"/>
                </a:cubicBezTo>
                <a:cubicBezTo>
                  <a:pt x="1652271" y="722209"/>
                  <a:pt x="1604734" y="722209"/>
                  <a:pt x="1565347" y="705979"/>
                </a:cubicBezTo>
                <a:cubicBezTo>
                  <a:pt x="1478425" y="730323"/>
                  <a:pt x="1407799" y="807413"/>
                  <a:pt x="1314085" y="830405"/>
                </a:cubicBezTo>
                <a:cubicBezTo>
                  <a:pt x="1274699" y="853396"/>
                  <a:pt x="1251609" y="791184"/>
                  <a:pt x="1220372" y="815528"/>
                </a:cubicBezTo>
                <a:cubicBezTo>
                  <a:pt x="1195925" y="846634"/>
                  <a:pt x="1204074" y="915609"/>
                  <a:pt x="1149746" y="900732"/>
                </a:cubicBezTo>
                <a:cubicBezTo>
                  <a:pt x="1133448" y="877740"/>
                  <a:pt x="1141597" y="791184"/>
                  <a:pt x="1102211" y="853396"/>
                </a:cubicBezTo>
                <a:cubicBezTo>
                  <a:pt x="1102211" y="892617"/>
                  <a:pt x="1141597" y="938601"/>
                  <a:pt x="1062823" y="931839"/>
                </a:cubicBezTo>
                <a:cubicBezTo>
                  <a:pt x="1039734" y="915609"/>
                  <a:pt x="960960" y="938601"/>
                  <a:pt x="1008497" y="969707"/>
                </a:cubicBezTo>
                <a:cubicBezTo>
                  <a:pt x="1062823" y="985937"/>
                  <a:pt x="1000348" y="1048149"/>
                  <a:pt x="969109" y="1040035"/>
                </a:cubicBezTo>
                <a:cubicBezTo>
                  <a:pt x="944662" y="985937"/>
                  <a:pt x="913425" y="1040035"/>
                  <a:pt x="913425" y="1071141"/>
                </a:cubicBezTo>
                <a:cubicBezTo>
                  <a:pt x="867246" y="1187452"/>
                  <a:pt x="788472" y="1280771"/>
                  <a:pt x="725996" y="1382205"/>
                </a:cubicBezTo>
                <a:cubicBezTo>
                  <a:pt x="709697" y="1420073"/>
                  <a:pt x="686608" y="1467409"/>
                  <a:pt x="630923" y="1459294"/>
                </a:cubicBezTo>
                <a:cubicBezTo>
                  <a:pt x="584745" y="1451180"/>
                  <a:pt x="607835" y="1505278"/>
                  <a:pt x="615984" y="1521507"/>
                </a:cubicBezTo>
                <a:cubicBezTo>
                  <a:pt x="639072" y="1567490"/>
                  <a:pt x="568447" y="1567490"/>
                  <a:pt x="576596" y="1606712"/>
                </a:cubicBezTo>
                <a:cubicBezTo>
                  <a:pt x="576596" y="1660810"/>
                  <a:pt x="537209" y="1700031"/>
                  <a:pt x="537209" y="1746014"/>
                </a:cubicBezTo>
                <a:cubicBezTo>
                  <a:pt x="537209" y="1800112"/>
                  <a:pt x="474733" y="1808227"/>
                  <a:pt x="442137" y="1824456"/>
                </a:cubicBezTo>
                <a:cubicBezTo>
                  <a:pt x="404108" y="1870440"/>
                  <a:pt x="364721" y="1808227"/>
                  <a:pt x="379661" y="1769006"/>
                </a:cubicBezTo>
                <a:cubicBezTo>
                  <a:pt x="419048" y="1691916"/>
                  <a:pt x="410899" y="1598597"/>
                  <a:pt x="442137" y="1521507"/>
                </a:cubicBezTo>
                <a:cubicBezTo>
                  <a:pt x="458435" y="1459294"/>
                  <a:pt x="529060" y="1443065"/>
                  <a:pt x="529060" y="1382205"/>
                </a:cubicBezTo>
                <a:cubicBezTo>
                  <a:pt x="520912" y="1319992"/>
                  <a:pt x="529060" y="1249664"/>
                  <a:pt x="584745" y="1218558"/>
                </a:cubicBezTo>
                <a:cubicBezTo>
                  <a:pt x="647221" y="1210443"/>
                  <a:pt x="655370" y="1148231"/>
                  <a:pt x="655370" y="1110362"/>
                </a:cubicBezTo>
                <a:cubicBezTo>
                  <a:pt x="686608" y="977822"/>
                  <a:pt x="811561" y="900732"/>
                  <a:pt x="898484" y="815528"/>
                </a:cubicBezTo>
                <a:cubicBezTo>
                  <a:pt x="944662" y="745200"/>
                  <a:pt x="969109" y="659996"/>
                  <a:pt x="1008497" y="589669"/>
                </a:cubicBezTo>
                <a:cubicBezTo>
                  <a:pt x="1164686" y="465243"/>
                  <a:pt x="1369771" y="411145"/>
                  <a:pt x="1565347" y="348932"/>
                </a:cubicBezTo>
                <a:cubicBezTo>
                  <a:pt x="1683509" y="302949"/>
                  <a:pt x="1808461" y="263728"/>
                  <a:pt x="1941562" y="248851"/>
                </a:cubicBezTo>
                <a:cubicBezTo>
                  <a:pt x="2130348" y="217744"/>
                  <a:pt x="2319134" y="201515"/>
                  <a:pt x="2507920" y="139302"/>
                </a:cubicBezTo>
                <a:cubicBezTo>
                  <a:pt x="2624723" y="109548"/>
                  <a:pt x="2774122" y="39221"/>
                  <a:pt x="2884135" y="132540"/>
                </a:cubicBezTo>
                <a:cubicBezTo>
                  <a:pt x="2931671" y="155532"/>
                  <a:pt x="2931671" y="78442"/>
                  <a:pt x="2946611" y="54098"/>
                </a:cubicBezTo>
                <a:cubicBezTo>
                  <a:pt x="3072921" y="-8115"/>
                  <a:pt x="3214171" y="16229"/>
                  <a:pt x="3347272" y="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6" name="TextBox 5"/>
          <p:cNvSpPr txBox="1"/>
          <p:nvPr userDrawn="1"/>
        </p:nvSpPr>
        <p:spPr>
          <a:xfrm>
            <a:off x="263129"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fld id="{C7C71010-677A-489C-BB3F-CA8EBC4C3264}" type="slidenum">
              <a:rPr lang="id-ID" sz="900" b="0" smtClean="0">
                <a:latin typeface="Montserrat Semi Bold" panose="00000700000000000000" pitchFamily="50" charset="0"/>
              </a:rPr>
              <a:pPr lvl="0"/>
              <a:t>‹Nr.›</a:t>
            </a:fld>
            <a:endParaRPr lang="id-ID" sz="900" b="0" dirty="0">
              <a:latin typeface="Montserrat Semi Bold" panose="00000700000000000000" pitchFamily="50" charset="0"/>
            </a:endParaRPr>
          </a:p>
        </p:txBody>
      </p:sp>
      <p:sp>
        <p:nvSpPr>
          <p:cNvPr id="7" name="TextBox 6"/>
          <p:cNvSpPr txBox="1"/>
          <p:nvPr userDrawn="1"/>
        </p:nvSpPr>
        <p:spPr>
          <a:xfrm rot="5400000" flipH="1">
            <a:off x="10220448"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r"/>
            <a:r>
              <a:rPr lang="en-US" sz="751" dirty="0">
                <a:solidFill>
                  <a:srgbClr val="878787">
                    <a:lumMod val="60000"/>
                    <a:lumOff val="40000"/>
                  </a:srgbClr>
                </a:solidFill>
                <a:latin typeface="+mn-lt"/>
              </a:rPr>
              <a:t>WRITE SOMETHING</a:t>
            </a:r>
          </a:p>
        </p:txBody>
      </p:sp>
    </p:spTree>
    <p:extLst>
      <p:ext uri="{BB962C8B-B14F-4D97-AF65-F5344CB8AC3E}">
        <p14:creationId xmlns:p14="http://schemas.microsoft.com/office/powerpoint/2010/main" val="2611394864"/>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02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2" name="TextBox 1"/>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3" name="TextBox 2"/>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
        <p:nvSpPr>
          <p:cNvPr id="7" name="Picture Placeholder 7"/>
          <p:cNvSpPr>
            <a:spLocks noGrp="1"/>
          </p:cNvSpPr>
          <p:nvPr>
            <p:ph type="pic" sz="quarter" idx="10"/>
          </p:nvPr>
        </p:nvSpPr>
        <p:spPr>
          <a:xfrm>
            <a:off x="709945" y="285040"/>
            <a:ext cx="10435851" cy="4376203"/>
          </a:xfrm>
          <a:custGeom>
            <a:avLst/>
            <a:gdLst>
              <a:gd name="connsiteX0" fmla="*/ 428968 w 10529454"/>
              <a:gd name="connsiteY0" fmla="*/ 4326893 h 4415454"/>
              <a:gd name="connsiteX1" fmla="*/ 435860 w 10529454"/>
              <a:gd name="connsiteY1" fmla="*/ 4338384 h 4415454"/>
              <a:gd name="connsiteX2" fmla="*/ 408291 w 10529454"/>
              <a:gd name="connsiteY2" fmla="*/ 4329190 h 4415454"/>
              <a:gd name="connsiteX3" fmla="*/ 428968 w 10529454"/>
              <a:gd name="connsiteY3" fmla="*/ 4326893 h 4415454"/>
              <a:gd name="connsiteX4" fmla="*/ 366241 w 10529454"/>
              <a:gd name="connsiteY4" fmla="*/ 4221126 h 4415454"/>
              <a:gd name="connsiteX5" fmla="*/ 362204 w 10529454"/>
              <a:gd name="connsiteY5" fmla="*/ 4222096 h 4415454"/>
              <a:gd name="connsiteX6" fmla="*/ 355472 w 10529454"/>
              <a:gd name="connsiteY6" fmla="*/ 4223712 h 4415454"/>
              <a:gd name="connsiteX7" fmla="*/ 350087 w 10529454"/>
              <a:gd name="connsiteY7" fmla="*/ 4225005 h 4415454"/>
              <a:gd name="connsiteX8" fmla="*/ 362204 w 10529454"/>
              <a:gd name="connsiteY8" fmla="*/ 4222096 h 4415454"/>
              <a:gd name="connsiteX9" fmla="*/ 364447 w 10529454"/>
              <a:gd name="connsiteY9" fmla="*/ 4221557 h 4415454"/>
              <a:gd name="connsiteX10" fmla="*/ 366241 w 10529454"/>
              <a:gd name="connsiteY10" fmla="*/ 4221126 h 4415454"/>
              <a:gd name="connsiteX11" fmla="*/ 676712 w 10529454"/>
              <a:gd name="connsiteY11" fmla="*/ 4071024 h 4415454"/>
              <a:gd name="connsiteX12" fmla="*/ 682456 w 10529454"/>
              <a:gd name="connsiteY12" fmla="*/ 4082514 h 4415454"/>
              <a:gd name="connsiteX13" fmla="*/ 664077 w 10529454"/>
              <a:gd name="connsiteY13" fmla="*/ 4073322 h 4415454"/>
              <a:gd name="connsiteX14" fmla="*/ 676712 w 10529454"/>
              <a:gd name="connsiteY14" fmla="*/ 4071024 h 4415454"/>
              <a:gd name="connsiteX15" fmla="*/ 2405519 w 10529454"/>
              <a:gd name="connsiteY15" fmla="*/ 3982709 h 4415454"/>
              <a:gd name="connsiteX16" fmla="*/ 2364212 w 10529454"/>
              <a:gd name="connsiteY16" fmla="*/ 3987521 h 4415454"/>
              <a:gd name="connsiteX17" fmla="*/ 2516060 w 10529454"/>
              <a:gd name="connsiteY17" fmla="*/ 4007559 h 4415454"/>
              <a:gd name="connsiteX18" fmla="*/ 2554137 w 10529454"/>
              <a:gd name="connsiteY18" fmla="*/ 3996714 h 4415454"/>
              <a:gd name="connsiteX19" fmla="*/ 2405519 w 10529454"/>
              <a:gd name="connsiteY19" fmla="*/ 3982709 h 4415454"/>
              <a:gd name="connsiteX20" fmla="*/ 2629188 w 10529454"/>
              <a:gd name="connsiteY20" fmla="*/ 3978328 h 4415454"/>
              <a:gd name="connsiteX21" fmla="*/ 2717448 w 10529454"/>
              <a:gd name="connsiteY21" fmla="*/ 3988671 h 4415454"/>
              <a:gd name="connsiteX22" fmla="*/ 2733340 w 10529454"/>
              <a:gd name="connsiteY22" fmla="*/ 3978328 h 4415454"/>
              <a:gd name="connsiteX23" fmla="*/ 2629188 w 10529454"/>
              <a:gd name="connsiteY23" fmla="*/ 3978328 h 4415454"/>
              <a:gd name="connsiteX24" fmla="*/ 6209652 w 10529454"/>
              <a:gd name="connsiteY24" fmla="*/ 3952716 h 4415454"/>
              <a:gd name="connsiteX25" fmla="*/ 6214072 w 10529454"/>
              <a:gd name="connsiteY25" fmla="*/ 3953258 h 4415454"/>
              <a:gd name="connsiteX26" fmla="*/ 6212753 w 10529454"/>
              <a:gd name="connsiteY26" fmla="*/ 3953096 h 4415454"/>
              <a:gd name="connsiteX27" fmla="*/ 6203118 w 10529454"/>
              <a:gd name="connsiteY27" fmla="*/ 3951916 h 4415454"/>
              <a:gd name="connsiteX28" fmla="*/ 6209235 w 10529454"/>
              <a:gd name="connsiteY28" fmla="*/ 3952665 h 4415454"/>
              <a:gd name="connsiteX29" fmla="*/ 6209652 w 10529454"/>
              <a:gd name="connsiteY29" fmla="*/ 3952716 h 4415454"/>
              <a:gd name="connsiteX30" fmla="*/ 6191814 w 10529454"/>
              <a:gd name="connsiteY30" fmla="*/ 3950531 h 4415454"/>
              <a:gd name="connsiteX31" fmla="*/ 6202639 w 10529454"/>
              <a:gd name="connsiteY31" fmla="*/ 3951857 h 4415454"/>
              <a:gd name="connsiteX32" fmla="*/ 6203118 w 10529454"/>
              <a:gd name="connsiteY32" fmla="*/ 3951916 h 4415454"/>
              <a:gd name="connsiteX33" fmla="*/ 6181090 w 10529454"/>
              <a:gd name="connsiteY33" fmla="*/ 3949217 h 4415454"/>
              <a:gd name="connsiteX34" fmla="*/ 6191644 w 10529454"/>
              <a:gd name="connsiteY34" fmla="*/ 3950510 h 4415454"/>
              <a:gd name="connsiteX35" fmla="*/ 6191814 w 10529454"/>
              <a:gd name="connsiteY35" fmla="*/ 3950531 h 4415454"/>
              <a:gd name="connsiteX36" fmla="*/ 6086128 w 10529454"/>
              <a:gd name="connsiteY36" fmla="*/ 3949217 h 4415454"/>
              <a:gd name="connsiteX37" fmla="*/ 6104221 w 10529454"/>
              <a:gd name="connsiteY37" fmla="*/ 3962792 h 4415454"/>
              <a:gd name="connsiteX38" fmla="*/ 6113698 w 10529454"/>
              <a:gd name="connsiteY38" fmla="*/ 3958411 h 4415454"/>
              <a:gd name="connsiteX39" fmla="*/ 6332724 w 10529454"/>
              <a:gd name="connsiteY39" fmla="*/ 3912446 h 4415454"/>
              <a:gd name="connsiteX40" fmla="*/ 6351104 w 10529454"/>
              <a:gd name="connsiteY40" fmla="*/ 3921639 h 4415454"/>
              <a:gd name="connsiteX41" fmla="*/ 6332724 w 10529454"/>
              <a:gd name="connsiteY41" fmla="*/ 3912446 h 4415454"/>
              <a:gd name="connsiteX42" fmla="*/ 6399108 w 10529454"/>
              <a:gd name="connsiteY42" fmla="*/ 3900329 h 4415454"/>
              <a:gd name="connsiteX43" fmla="*/ 6409307 w 10529454"/>
              <a:gd name="connsiteY43" fmla="*/ 3901721 h 4415454"/>
              <a:gd name="connsiteX44" fmla="*/ 6399830 w 10529454"/>
              <a:gd name="connsiteY44" fmla="*/ 3900428 h 4415454"/>
              <a:gd name="connsiteX45" fmla="*/ 6379444 w 10529454"/>
              <a:gd name="connsiteY45" fmla="*/ 3897648 h 4415454"/>
              <a:gd name="connsiteX46" fmla="*/ 6389958 w 10529454"/>
              <a:gd name="connsiteY46" fmla="*/ 3899081 h 4415454"/>
              <a:gd name="connsiteX47" fmla="*/ 6399108 w 10529454"/>
              <a:gd name="connsiteY47" fmla="*/ 3900329 h 4415454"/>
              <a:gd name="connsiteX48" fmla="*/ 6384035 w 10529454"/>
              <a:gd name="connsiteY48" fmla="*/ 3898274 h 4415454"/>
              <a:gd name="connsiteX49" fmla="*/ 6379444 w 10529454"/>
              <a:gd name="connsiteY49" fmla="*/ 3897648 h 4415454"/>
              <a:gd name="connsiteX50" fmla="*/ 6456788 w 10529454"/>
              <a:gd name="connsiteY50" fmla="*/ 3892528 h 4415454"/>
              <a:gd name="connsiteX51" fmla="*/ 6436493 w 10529454"/>
              <a:gd name="connsiteY51" fmla="*/ 3904594 h 4415454"/>
              <a:gd name="connsiteX52" fmla="*/ 6409307 w 10529454"/>
              <a:gd name="connsiteY52" fmla="*/ 3901721 h 4415454"/>
              <a:gd name="connsiteX53" fmla="*/ 6456788 w 10529454"/>
              <a:gd name="connsiteY53" fmla="*/ 3892528 h 4415454"/>
              <a:gd name="connsiteX54" fmla="*/ 6541029 w 10529454"/>
              <a:gd name="connsiteY54" fmla="*/ 3874143 h 4415454"/>
              <a:gd name="connsiteX55" fmla="*/ 6456788 w 10529454"/>
              <a:gd name="connsiteY55" fmla="*/ 3892528 h 4415454"/>
              <a:gd name="connsiteX56" fmla="*/ 6541029 w 10529454"/>
              <a:gd name="connsiteY56" fmla="*/ 3874143 h 4415454"/>
              <a:gd name="connsiteX57" fmla="*/ 6588510 w 10529454"/>
              <a:gd name="connsiteY57" fmla="*/ 3864949 h 4415454"/>
              <a:gd name="connsiteX58" fmla="*/ 6541029 w 10529454"/>
              <a:gd name="connsiteY58" fmla="*/ 3874143 h 4415454"/>
              <a:gd name="connsiteX59" fmla="*/ 6588510 w 10529454"/>
              <a:gd name="connsiteY59" fmla="*/ 3864949 h 4415454"/>
              <a:gd name="connsiteX60" fmla="*/ 6626802 w 10529454"/>
              <a:gd name="connsiteY60" fmla="*/ 3855756 h 4415454"/>
              <a:gd name="connsiteX61" fmla="*/ 6588510 w 10529454"/>
              <a:gd name="connsiteY61" fmla="*/ 3864949 h 4415454"/>
              <a:gd name="connsiteX62" fmla="*/ 6626802 w 10529454"/>
              <a:gd name="connsiteY62" fmla="*/ 3855756 h 4415454"/>
              <a:gd name="connsiteX63" fmla="*/ 6674282 w 10529454"/>
              <a:gd name="connsiteY63" fmla="*/ 3846564 h 4415454"/>
              <a:gd name="connsiteX64" fmla="*/ 6626802 w 10529454"/>
              <a:gd name="connsiteY64" fmla="*/ 3855756 h 4415454"/>
              <a:gd name="connsiteX65" fmla="*/ 6674282 w 10529454"/>
              <a:gd name="connsiteY65" fmla="*/ 3846564 h 4415454"/>
              <a:gd name="connsiteX66" fmla="*/ 4134802 w 10529454"/>
              <a:gd name="connsiteY66" fmla="*/ 3844265 h 4415454"/>
              <a:gd name="connsiteX67" fmla="*/ 4121016 w 10529454"/>
              <a:gd name="connsiteY67" fmla="*/ 3846564 h 4415454"/>
              <a:gd name="connsiteX68" fmla="*/ 4148586 w 10529454"/>
              <a:gd name="connsiteY68" fmla="*/ 3855756 h 4415454"/>
              <a:gd name="connsiteX69" fmla="*/ 4134802 w 10529454"/>
              <a:gd name="connsiteY69" fmla="*/ 3844265 h 4415454"/>
              <a:gd name="connsiteX70" fmla="*/ 4183431 w 10529454"/>
              <a:gd name="connsiteY70" fmla="*/ 3831051 h 4415454"/>
              <a:gd name="connsiteX71" fmla="*/ 4168498 w 10529454"/>
              <a:gd name="connsiteY71" fmla="*/ 3837371 h 4415454"/>
              <a:gd name="connsiteX72" fmla="*/ 4214448 w 10529454"/>
              <a:gd name="connsiteY72" fmla="*/ 3846564 h 4415454"/>
              <a:gd name="connsiteX73" fmla="*/ 4183431 w 10529454"/>
              <a:gd name="connsiteY73" fmla="*/ 3831051 h 4415454"/>
              <a:gd name="connsiteX74" fmla="*/ 6760056 w 10529454"/>
              <a:gd name="connsiteY74" fmla="*/ 3828178 h 4415454"/>
              <a:gd name="connsiteX75" fmla="*/ 6674282 w 10529454"/>
              <a:gd name="connsiteY75" fmla="*/ 3846564 h 4415454"/>
              <a:gd name="connsiteX76" fmla="*/ 6760056 w 10529454"/>
              <a:gd name="connsiteY76" fmla="*/ 3828178 h 4415454"/>
              <a:gd name="connsiteX77" fmla="*/ 4293328 w 10529454"/>
              <a:gd name="connsiteY77" fmla="*/ 3825879 h 4415454"/>
              <a:gd name="connsiteX78" fmla="*/ 4272651 w 10529454"/>
              <a:gd name="connsiteY78" fmla="*/ 3828178 h 4415454"/>
              <a:gd name="connsiteX79" fmla="*/ 4300220 w 10529454"/>
              <a:gd name="connsiteY79" fmla="*/ 3837371 h 4415454"/>
              <a:gd name="connsiteX80" fmla="*/ 4293328 w 10529454"/>
              <a:gd name="connsiteY80" fmla="*/ 3825879 h 4415454"/>
              <a:gd name="connsiteX81" fmla="*/ 6776903 w 10529454"/>
              <a:gd name="connsiteY81" fmla="*/ 3816112 h 4415454"/>
              <a:gd name="connsiteX82" fmla="*/ 6807536 w 10529454"/>
              <a:gd name="connsiteY82" fmla="*/ 3818985 h 4415454"/>
              <a:gd name="connsiteX83" fmla="*/ 6760056 w 10529454"/>
              <a:gd name="connsiteY83" fmla="*/ 3828178 h 4415454"/>
              <a:gd name="connsiteX84" fmla="*/ 6776903 w 10529454"/>
              <a:gd name="connsiteY84" fmla="*/ 3816112 h 4415454"/>
              <a:gd name="connsiteX85" fmla="*/ 4344495 w 10529454"/>
              <a:gd name="connsiteY85" fmla="*/ 3814604 h 4415454"/>
              <a:gd name="connsiteX86" fmla="*/ 4338511 w 10529454"/>
              <a:gd name="connsiteY86" fmla="*/ 3818985 h 4415454"/>
              <a:gd name="connsiteX87" fmla="*/ 4365650 w 10529454"/>
              <a:gd name="connsiteY87" fmla="*/ 3830620 h 4415454"/>
              <a:gd name="connsiteX88" fmla="*/ 4376803 w 10529454"/>
              <a:gd name="connsiteY88" fmla="*/ 3828178 h 4415454"/>
              <a:gd name="connsiteX89" fmla="*/ 4344495 w 10529454"/>
              <a:gd name="connsiteY89" fmla="*/ 3814604 h 4415454"/>
              <a:gd name="connsiteX90" fmla="*/ 6822661 w 10529454"/>
              <a:gd name="connsiteY90" fmla="*/ 3806153 h 4415454"/>
              <a:gd name="connsiteX91" fmla="*/ 6845827 w 10529454"/>
              <a:gd name="connsiteY91" fmla="*/ 3808260 h 4415454"/>
              <a:gd name="connsiteX92" fmla="*/ 6807536 w 10529454"/>
              <a:gd name="connsiteY92" fmla="*/ 3818985 h 4415454"/>
              <a:gd name="connsiteX93" fmla="*/ 6822661 w 10529454"/>
              <a:gd name="connsiteY93" fmla="*/ 3806153 h 4415454"/>
              <a:gd name="connsiteX94" fmla="*/ 4439314 w 10529454"/>
              <a:gd name="connsiteY94" fmla="*/ 3804549 h 4415454"/>
              <a:gd name="connsiteX95" fmla="*/ 4433474 w 10529454"/>
              <a:gd name="connsiteY95" fmla="*/ 3808260 h 4415454"/>
              <a:gd name="connsiteX96" fmla="*/ 4462576 w 10529454"/>
              <a:gd name="connsiteY96" fmla="*/ 3818985 h 4415454"/>
              <a:gd name="connsiteX97" fmla="*/ 4451471 w 10529454"/>
              <a:gd name="connsiteY97" fmla="*/ 3806153 h 4415454"/>
              <a:gd name="connsiteX98" fmla="*/ 4439314 w 10529454"/>
              <a:gd name="connsiteY98" fmla="*/ 3804549 h 4415454"/>
              <a:gd name="connsiteX99" fmla="*/ 6865548 w 10529454"/>
              <a:gd name="connsiteY99" fmla="*/ 3796769 h 4415454"/>
              <a:gd name="connsiteX100" fmla="*/ 6893309 w 10529454"/>
              <a:gd name="connsiteY100" fmla="*/ 3799067 h 4415454"/>
              <a:gd name="connsiteX101" fmla="*/ 6845827 w 10529454"/>
              <a:gd name="connsiteY101" fmla="*/ 3808260 h 4415454"/>
              <a:gd name="connsiteX102" fmla="*/ 6865548 w 10529454"/>
              <a:gd name="connsiteY102" fmla="*/ 3796769 h 4415454"/>
              <a:gd name="connsiteX103" fmla="*/ 4516040 w 10529454"/>
              <a:gd name="connsiteY103" fmla="*/ 3792747 h 4415454"/>
              <a:gd name="connsiteX104" fmla="*/ 4500867 w 10529454"/>
              <a:gd name="connsiteY104" fmla="*/ 3799067 h 4415454"/>
              <a:gd name="connsiteX105" fmla="*/ 4548348 w 10529454"/>
              <a:gd name="connsiteY105" fmla="*/ 3808260 h 4415454"/>
              <a:gd name="connsiteX106" fmla="*/ 4516040 w 10529454"/>
              <a:gd name="connsiteY106" fmla="*/ 3792747 h 4415454"/>
              <a:gd name="connsiteX107" fmla="*/ 6911880 w 10529454"/>
              <a:gd name="connsiteY107" fmla="*/ 3787575 h 4415454"/>
              <a:gd name="connsiteX108" fmla="*/ 6931601 w 10529454"/>
              <a:gd name="connsiteY108" fmla="*/ 3789874 h 4415454"/>
              <a:gd name="connsiteX109" fmla="*/ 6893309 w 10529454"/>
              <a:gd name="connsiteY109" fmla="*/ 3799067 h 4415454"/>
              <a:gd name="connsiteX110" fmla="*/ 6911880 w 10529454"/>
              <a:gd name="connsiteY110" fmla="*/ 3787575 h 4415454"/>
              <a:gd name="connsiteX111" fmla="*/ 4582811 w 10529454"/>
              <a:gd name="connsiteY111" fmla="*/ 3787575 h 4415454"/>
              <a:gd name="connsiteX112" fmla="*/ 4566728 w 10529454"/>
              <a:gd name="connsiteY112" fmla="*/ 3789874 h 4415454"/>
              <a:gd name="connsiteX113" fmla="*/ 4585108 w 10529454"/>
              <a:gd name="connsiteY113" fmla="*/ 3799067 h 4415454"/>
              <a:gd name="connsiteX114" fmla="*/ 4582811 w 10529454"/>
              <a:gd name="connsiteY114" fmla="*/ 3787575 h 4415454"/>
              <a:gd name="connsiteX115" fmla="*/ 6951321 w 10529454"/>
              <a:gd name="connsiteY115" fmla="*/ 3778383 h 4415454"/>
              <a:gd name="connsiteX116" fmla="*/ 6979082 w 10529454"/>
              <a:gd name="connsiteY116" fmla="*/ 3780681 h 4415454"/>
              <a:gd name="connsiteX117" fmla="*/ 6931601 w 10529454"/>
              <a:gd name="connsiteY117" fmla="*/ 3789874 h 4415454"/>
              <a:gd name="connsiteX118" fmla="*/ 6951321 w 10529454"/>
              <a:gd name="connsiteY118" fmla="*/ 3778383 h 4415454"/>
              <a:gd name="connsiteX119" fmla="*/ 4730663 w 10529454"/>
              <a:gd name="connsiteY119" fmla="*/ 3767108 h 4415454"/>
              <a:gd name="connsiteX120" fmla="*/ 4727552 w 10529454"/>
              <a:gd name="connsiteY120" fmla="*/ 3771489 h 4415454"/>
              <a:gd name="connsiteX121" fmla="*/ 4747463 w 10529454"/>
              <a:gd name="connsiteY121" fmla="*/ 3780681 h 4415454"/>
              <a:gd name="connsiteX122" fmla="*/ 4730663 w 10529454"/>
              <a:gd name="connsiteY122" fmla="*/ 3767108 h 4415454"/>
              <a:gd name="connsiteX123" fmla="*/ 7070000 w 10529454"/>
              <a:gd name="connsiteY123" fmla="*/ 3762272 h 4415454"/>
              <a:gd name="connsiteX124" fmla="*/ 7083353 w 10529454"/>
              <a:gd name="connsiteY124" fmla="*/ 3765288 h 4415454"/>
              <a:gd name="connsiteX125" fmla="*/ 7063323 w 10529454"/>
              <a:gd name="connsiteY125" fmla="*/ 3760764 h 4415454"/>
              <a:gd name="connsiteX126" fmla="*/ 6979082 w 10529454"/>
              <a:gd name="connsiteY126" fmla="*/ 3780681 h 4415454"/>
              <a:gd name="connsiteX127" fmla="*/ 7063323 w 10529454"/>
              <a:gd name="connsiteY127" fmla="*/ 3760764 h 4415454"/>
              <a:gd name="connsiteX128" fmla="*/ 7115016 w 10529454"/>
              <a:gd name="connsiteY128" fmla="*/ 3740079 h 4415454"/>
              <a:gd name="connsiteX129" fmla="*/ 7121525 w 10529454"/>
              <a:gd name="connsiteY129" fmla="*/ 3751571 h 4415454"/>
              <a:gd name="connsiteX130" fmla="*/ 7101614 w 10529454"/>
              <a:gd name="connsiteY130" fmla="*/ 3742377 h 4415454"/>
              <a:gd name="connsiteX131" fmla="*/ 7115016 w 10529454"/>
              <a:gd name="connsiteY131" fmla="*/ 3740079 h 4415454"/>
              <a:gd name="connsiteX132" fmla="*/ 143642 w 10529454"/>
              <a:gd name="connsiteY132" fmla="*/ 3665328 h 4415454"/>
              <a:gd name="connsiteX133" fmla="*/ 148099 w 10529454"/>
              <a:gd name="connsiteY133" fmla="*/ 3668858 h 4415454"/>
              <a:gd name="connsiteX134" fmla="*/ 146377 w 10529454"/>
              <a:gd name="connsiteY134" fmla="*/ 3667494 h 4415454"/>
              <a:gd name="connsiteX135" fmla="*/ 142599 w 10529454"/>
              <a:gd name="connsiteY135" fmla="*/ 3664502 h 4415454"/>
              <a:gd name="connsiteX136" fmla="*/ 143642 w 10529454"/>
              <a:gd name="connsiteY136" fmla="*/ 3665328 h 4415454"/>
              <a:gd name="connsiteX137" fmla="*/ 143146 w 10529454"/>
              <a:gd name="connsiteY137" fmla="*/ 3664935 h 4415454"/>
              <a:gd name="connsiteX138" fmla="*/ 5512237 w 10529454"/>
              <a:gd name="connsiteY138" fmla="*/ 3659690 h 4415454"/>
              <a:gd name="connsiteX139" fmla="*/ 5335618 w 10529454"/>
              <a:gd name="connsiteY139" fmla="*/ 3676495 h 4415454"/>
              <a:gd name="connsiteX140" fmla="*/ 4964957 w 10529454"/>
              <a:gd name="connsiteY140" fmla="*/ 3742377 h 4415454"/>
              <a:gd name="connsiteX141" fmla="*/ 4775033 w 10529454"/>
              <a:gd name="connsiteY141" fmla="*/ 3760764 h 4415454"/>
              <a:gd name="connsiteX142" fmla="*/ 4794944 w 10529454"/>
              <a:gd name="connsiteY142" fmla="*/ 3771489 h 4415454"/>
              <a:gd name="connsiteX143" fmla="*/ 5468871 w 10529454"/>
              <a:gd name="connsiteY143" fmla="*/ 3665770 h 4415454"/>
              <a:gd name="connsiteX144" fmla="*/ 5512237 w 10529454"/>
              <a:gd name="connsiteY144" fmla="*/ 3659690 h 4415454"/>
              <a:gd name="connsiteX145" fmla="*/ 132592 w 10529454"/>
              <a:gd name="connsiteY145" fmla="*/ 3656577 h 4415454"/>
              <a:gd name="connsiteX146" fmla="*/ 142599 w 10529454"/>
              <a:gd name="connsiteY146" fmla="*/ 3664502 h 4415454"/>
              <a:gd name="connsiteX147" fmla="*/ 137762 w 10529454"/>
              <a:gd name="connsiteY147" fmla="*/ 3660672 h 4415454"/>
              <a:gd name="connsiteX148" fmla="*/ 132592 w 10529454"/>
              <a:gd name="connsiteY148" fmla="*/ 3656577 h 4415454"/>
              <a:gd name="connsiteX149" fmla="*/ 85112 w 10529454"/>
              <a:gd name="connsiteY149" fmla="*/ 3647384 h 4415454"/>
              <a:gd name="connsiteX150" fmla="*/ 132592 w 10529454"/>
              <a:gd name="connsiteY150" fmla="*/ 3656577 h 4415454"/>
              <a:gd name="connsiteX151" fmla="*/ 105406 w 10529454"/>
              <a:gd name="connsiteY151" fmla="*/ 3658876 h 4415454"/>
              <a:gd name="connsiteX152" fmla="*/ 85112 w 10529454"/>
              <a:gd name="connsiteY152" fmla="*/ 3647384 h 4415454"/>
              <a:gd name="connsiteX153" fmla="*/ 61746 w 10529454"/>
              <a:gd name="connsiteY153" fmla="*/ 3631593 h 4415454"/>
              <a:gd name="connsiteX154" fmla="*/ 63860 w 10529454"/>
              <a:gd name="connsiteY154" fmla="*/ 3633020 h 4415454"/>
              <a:gd name="connsiteX155" fmla="*/ 85112 w 10529454"/>
              <a:gd name="connsiteY155" fmla="*/ 3647384 h 4415454"/>
              <a:gd name="connsiteX156" fmla="*/ 68840 w 10529454"/>
              <a:gd name="connsiteY156" fmla="*/ 3636387 h 4415454"/>
              <a:gd name="connsiteX157" fmla="*/ 60207 w 10529454"/>
              <a:gd name="connsiteY157" fmla="*/ 3630552 h 4415454"/>
              <a:gd name="connsiteX158" fmla="*/ 61203 w 10529454"/>
              <a:gd name="connsiteY158" fmla="*/ 3631224 h 4415454"/>
              <a:gd name="connsiteX159" fmla="*/ 61746 w 10529454"/>
              <a:gd name="connsiteY159" fmla="*/ 3631593 h 4415454"/>
              <a:gd name="connsiteX160" fmla="*/ 251090 w 10529454"/>
              <a:gd name="connsiteY160" fmla="*/ 3624738 h 4415454"/>
              <a:gd name="connsiteX161" fmla="*/ 251247 w 10529454"/>
              <a:gd name="connsiteY161" fmla="*/ 3624904 h 4415454"/>
              <a:gd name="connsiteX162" fmla="*/ 255125 w 10529454"/>
              <a:gd name="connsiteY162" fmla="*/ 3628999 h 4415454"/>
              <a:gd name="connsiteX163" fmla="*/ 242908 w 10529454"/>
              <a:gd name="connsiteY163" fmla="*/ 3616099 h 4415454"/>
              <a:gd name="connsiteX164" fmla="*/ 244786 w 10529454"/>
              <a:gd name="connsiteY164" fmla="*/ 3618081 h 4415454"/>
              <a:gd name="connsiteX165" fmla="*/ 251090 w 10529454"/>
              <a:gd name="connsiteY165" fmla="*/ 3624738 h 4415454"/>
              <a:gd name="connsiteX166" fmla="*/ 247209 w 10529454"/>
              <a:gd name="connsiteY166" fmla="*/ 3620641 h 4415454"/>
              <a:gd name="connsiteX167" fmla="*/ 242908 w 10529454"/>
              <a:gd name="connsiteY167" fmla="*/ 3616099 h 4415454"/>
              <a:gd name="connsiteX168" fmla="*/ 342555 w 10529454"/>
              <a:gd name="connsiteY168" fmla="*/ 3459382 h 4415454"/>
              <a:gd name="connsiteX169" fmla="*/ 360809 w 10529454"/>
              <a:gd name="connsiteY169" fmla="*/ 3475784 h 4415454"/>
              <a:gd name="connsiteX170" fmla="*/ 474151 w 10529454"/>
              <a:gd name="connsiteY170" fmla="*/ 3486509 h 4415454"/>
              <a:gd name="connsiteX171" fmla="*/ 342555 w 10529454"/>
              <a:gd name="connsiteY171" fmla="*/ 3459382 h 4415454"/>
              <a:gd name="connsiteX172" fmla="*/ 3849603 w 10529454"/>
              <a:gd name="connsiteY172" fmla="*/ 3096841 h 4415454"/>
              <a:gd name="connsiteX173" fmla="*/ 3816218 w 10529454"/>
              <a:gd name="connsiteY173" fmla="*/ 3106536 h 4415454"/>
              <a:gd name="connsiteX174" fmla="*/ 3018227 w 10529454"/>
              <a:gd name="connsiteY174" fmla="*/ 3181611 h 4415454"/>
              <a:gd name="connsiteX175" fmla="*/ 2145185 w 10529454"/>
              <a:gd name="connsiteY175" fmla="*/ 3229108 h 4415454"/>
              <a:gd name="connsiteX176" fmla="*/ 2192667 w 10529454"/>
              <a:gd name="connsiteY176" fmla="*/ 3238301 h 4415454"/>
              <a:gd name="connsiteX177" fmla="*/ 3816218 w 10529454"/>
              <a:gd name="connsiteY177" fmla="*/ 3106536 h 4415454"/>
              <a:gd name="connsiteX178" fmla="*/ 3849603 w 10529454"/>
              <a:gd name="connsiteY178" fmla="*/ 3096841 h 4415454"/>
              <a:gd name="connsiteX179" fmla="*/ 4150238 w 10529454"/>
              <a:gd name="connsiteY179" fmla="*/ 3055951 h 4415454"/>
              <a:gd name="connsiteX180" fmla="*/ 4148012 w 10529454"/>
              <a:gd name="connsiteY180" fmla="*/ 3057315 h 4415454"/>
              <a:gd name="connsiteX181" fmla="*/ 4146062 w 10529454"/>
              <a:gd name="connsiteY181" fmla="*/ 3058512 h 4415454"/>
              <a:gd name="connsiteX182" fmla="*/ 4143839 w 10529454"/>
              <a:gd name="connsiteY182" fmla="*/ 3059874 h 4415454"/>
              <a:gd name="connsiteX183" fmla="*/ 4141249 w 10529454"/>
              <a:gd name="connsiteY183" fmla="*/ 3061462 h 4415454"/>
              <a:gd name="connsiteX184" fmla="*/ 4136883 w 10529454"/>
              <a:gd name="connsiteY184" fmla="*/ 3064138 h 4415454"/>
              <a:gd name="connsiteX185" fmla="*/ 4130206 w 10529454"/>
              <a:gd name="connsiteY185" fmla="*/ 3068232 h 4415454"/>
              <a:gd name="connsiteX186" fmla="*/ 4141249 w 10529454"/>
              <a:gd name="connsiteY186" fmla="*/ 3061462 h 4415454"/>
              <a:gd name="connsiteX187" fmla="*/ 4146062 w 10529454"/>
              <a:gd name="connsiteY187" fmla="*/ 3058512 h 4415454"/>
              <a:gd name="connsiteX188" fmla="*/ 4205258 w 10529454"/>
              <a:gd name="connsiteY188" fmla="*/ 3048314 h 4415454"/>
              <a:gd name="connsiteX189" fmla="*/ 4256568 w 10529454"/>
              <a:gd name="connsiteY189" fmla="*/ 3056358 h 4415454"/>
              <a:gd name="connsiteX190" fmla="*/ 4243549 w 10529454"/>
              <a:gd name="connsiteY190" fmla="*/ 3048314 h 4415454"/>
              <a:gd name="connsiteX191" fmla="*/ 9918030 w 10529454"/>
              <a:gd name="connsiteY191" fmla="*/ 2900024 h 4415454"/>
              <a:gd name="connsiteX192" fmla="*/ 9920815 w 10529454"/>
              <a:gd name="connsiteY192" fmla="*/ 2900653 h 4415454"/>
              <a:gd name="connsiteX193" fmla="*/ 9923039 w 10529454"/>
              <a:gd name="connsiteY193" fmla="*/ 2901156 h 4415454"/>
              <a:gd name="connsiteX194" fmla="*/ 9903007 w 10529454"/>
              <a:gd name="connsiteY194" fmla="*/ 2896632 h 4415454"/>
              <a:gd name="connsiteX195" fmla="*/ 9918030 w 10529454"/>
              <a:gd name="connsiteY195" fmla="*/ 2900024 h 4415454"/>
              <a:gd name="connsiteX196" fmla="*/ 9909685 w 10529454"/>
              <a:gd name="connsiteY196" fmla="*/ 2898140 h 4415454"/>
              <a:gd name="connsiteX197" fmla="*/ 9903007 w 10529454"/>
              <a:gd name="connsiteY197" fmla="*/ 2896632 h 4415454"/>
              <a:gd name="connsiteX198" fmla="*/ 9238269 w 10529454"/>
              <a:gd name="connsiteY198" fmla="*/ 2830750 h 4415454"/>
              <a:gd name="connsiteX199" fmla="*/ 9234299 w 10529454"/>
              <a:gd name="connsiteY199" fmla="*/ 2833727 h 4415454"/>
              <a:gd name="connsiteX200" fmla="*/ 9232899 w 10529454"/>
              <a:gd name="connsiteY200" fmla="*/ 2833990 h 4415454"/>
              <a:gd name="connsiteX201" fmla="*/ 9941298 w 10529454"/>
              <a:gd name="connsiteY201" fmla="*/ 2821557 h 4415454"/>
              <a:gd name="connsiteX202" fmla="*/ 9722271 w 10529454"/>
              <a:gd name="connsiteY202" fmla="*/ 2925742 h 4415454"/>
              <a:gd name="connsiteX203" fmla="*/ 9798854 w 10529454"/>
              <a:gd name="connsiteY203" fmla="*/ 2916550 h 4415454"/>
              <a:gd name="connsiteX204" fmla="*/ 9903007 w 10529454"/>
              <a:gd name="connsiteY204" fmla="*/ 2896632 h 4415454"/>
              <a:gd name="connsiteX205" fmla="*/ 6789157 w 10529454"/>
              <a:gd name="connsiteY205" fmla="*/ 3760764 h 4415454"/>
              <a:gd name="connsiteX206" fmla="*/ 6171900 w 10529454"/>
              <a:gd name="connsiteY206" fmla="*/ 3892528 h 4415454"/>
              <a:gd name="connsiteX207" fmla="*/ 6124420 w 10529454"/>
              <a:gd name="connsiteY207" fmla="*/ 3901721 h 4415454"/>
              <a:gd name="connsiteX208" fmla="*/ 6086128 w 10529454"/>
              <a:gd name="connsiteY208" fmla="*/ 3912446 h 4415454"/>
              <a:gd name="connsiteX209" fmla="*/ 6029456 w 10529454"/>
              <a:gd name="connsiteY209" fmla="*/ 3921639 h 4415454"/>
              <a:gd name="connsiteX210" fmla="*/ 5981975 w 10529454"/>
              <a:gd name="connsiteY210" fmla="*/ 3930832 h 4415454"/>
              <a:gd name="connsiteX211" fmla="*/ 5981975 w 10529454"/>
              <a:gd name="connsiteY211" fmla="*/ 3930832 h 4415454"/>
              <a:gd name="connsiteX212" fmla="*/ 6029456 w 10529454"/>
              <a:gd name="connsiteY212" fmla="*/ 3921639 h 4415454"/>
              <a:gd name="connsiteX213" fmla="*/ 6086128 w 10529454"/>
              <a:gd name="connsiteY213" fmla="*/ 3912446 h 4415454"/>
              <a:gd name="connsiteX214" fmla="*/ 6124420 w 10529454"/>
              <a:gd name="connsiteY214" fmla="*/ 3901721 h 4415454"/>
              <a:gd name="connsiteX215" fmla="*/ 6171900 w 10529454"/>
              <a:gd name="connsiteY215" fmla="*/ 3892528 h 4415454"/>
              <a:gd name="connsiteX216" fmla="*/ 6789157 w 10529454"/>
              <a:gd name="connsiteY216" fmla="*/ 3760764 h 4415454"/>
              <a:gd name="connsiteX217" fmla="*/ 8962572 w 10529454"/>
              <a:gd name="connsiteY217" fmla="*/ 3201530 h 4415454"/>
              <a:gd name="connsiteX218" fmla="*/ 9039154 w 10529454"/>
              <a:gd name="connsiteY218" fmla="*/ 3201530 h 4415454"/>
              <a:gd name="connsiteX219" fmla="*/ 7671389 w 10529454"/>
              <a:gd name="connsiteY219" fmla="*/ 3561584 h 4415454"/>
              <a:gd name="connsiteX220" fmla="*/ 7633098 w 10529454"/>
              <a:gd name="connsiteY220" fmla="*/ 3581502 h 4415454"/>
              <a:gd name="connsiteX221" fmla="*/ 7614718 w 10529454"/>
              <a:gd name="connsiteY221" fmla="*/ 3570776 h 4415454"/>
              <a:gd name="connsiteX222" fmla="*/ 7605528 w 10529454"/>
              <a:gd name="connsiteY222" fmla="*/ 3590695 h 4415454"/>
              <a:gd name="connsiteX223" fmla="*/ 7528945 w 10529454"/>
              <a:gd name="connsiteY223" fmla="*/ 3590695 h 4415454"/>
              <a:gd name="connsiteX224" fmla="*/ 7538135 w 10529454"/>
              <a:gd name="connsiteY224" fmla="*/ 3609080 h 4415454"/>
              <a:gd name="connsiteX225" fmla="*/ 7490653 w 10529454"/>
              <a:gd name="connsiteY225" fmla="*/ 3599888 h 4415454"/>
              <a:gd name="connsiteX226" fmla="*/ 7358931 w 10529454"/>
              <a:gd name="connsiteY226" fmla="*/ 3638192 h 4415454"/>
              <a:gd name="connsiteX227" fmla="*/ 7178196 w 10529454"/>
              <a:gd name="connsiteY227" fmla="*/ 3685688 h 4415454"/>
              <a:gd name="connsiteX228" fmla="*/ 7139905 w 10529454"/>
              <a:gd name="connsiteY228" fmla="*/ 3713267 h 4415454"/>
              <a:gd name="connsiteX229" fmla="*/ 6655902 w 10529454"/>
              <a:gd name="connsiteY229" fmla="*/ 3828178 h 4415454"/>
              <a:gd name="connsiteX230" fmla="*/ 6256142 w 10529454"/>
              <a:gd name="connsiteY230" fmla="*/ 3921639 h 4415454"/>
              <a:gd name="connsiteX231" fmla="*/ 6181090 w 10529454"/>
              <a:gd name="connsiteY231" fmla="*/ 3949217 h 4415454"/>
              <a:gd name="connsiteX232" fmla="*/ 6057027 w 10529454"/>
              <a:gd name="connsiteY232" fmla="*/ 3969136 h 4415454"/>
              <a:gd name="connsiteX233" fmla="*/ 6057027 w 10529454"/>
              <a:gd name="connsiteY233" fmla="*/ 3969136 h 4415454"/>
              <a:gd name="connsiteX234" fmla="*/ 1873813 w 10529454"/>
              <a:gd name="connsiteY234" fmla="*/ 4414874 h 4415454"/>
              <a:gd name="connsiteX235" fmla="*/ 1252231 w 10529454"/>
              <a:gd name="connsiteY235" fmla="*/ 4405798 h 4415454"/>
              <a:gd name="connsiteX236" fmla="*/ 550735 w 10529454"/>
              <a:gd name="connsiteY236" fmla="*/ 4358302 h 4415454"/>
              <a:gd name="connsiteX237" fmla="*/ 435860 w 10529454"/>
              <a:gd name="connsiteY237" fmla="*/ 4319998 h 4415454"/>
              <a:gd name="connsiteX238" fmla="*/ 112681 w 10529454"/>
              <a:gd name="connsiteY238" fmla="*/ 4254115 h 4415454"/>
              <a:gd name="connsiteX239" fmla="*/ 85112 w 10529454"/>
              <a:gd name="connsiteY239" fmla="*/ 4244922 h 4415454"/>
              <a:gd name="connsiteX240" fmla="*/ 103491 w 10529454"/>
              <a:gd name="connsiteY240" fmla="*/ 4225005 h 4415454"/>
              <a:gd name="connsiteX241" fmla="*/ 65200 w 10529454"/>
              <a:gd name="connsiteY241" fmla="*/ 4177508 h 4415454"/>
              <a:gd name="connsiteX242" fmla="*/ 198453 w 10529454"/>
              <a:gd name="connsiteY242" fmla="*/ 4206618 h 4415454"/>
              <a:gd name="connsiteX243" fmla="*/ 331707 w 10529454"/>
              <a:gd name="connsiteY243" fmla="*/ 4225005 h 4415454"/>
              <a:gd name="connsiteX244" fmla="*/ 275036 w 10529454"/>
              <a:gd name="connsiteY244" fmla="*/ 4102433 h 4415454"/>
              <a:gd name="connsiteX245" fmla="*/ 379189 w 10529454"/>
              <a:gd name="connsiteY245" fmla="*/ 4111625 h 4415454"/>
              <a:gd name="connsiteX246" fmla="*/ 464961 w 10529454"/>
              <a:gd name="connsiteY246" fmla="*/ 4082514 h 4415454"/>
              <a:gd name="connsiteX247" fmla="*/ 664077 w 10529454"/>
              <a:gd name="connsiteY247" fmla="*/ 4102433 h 4415454"/>
              <a:gd name="connsiteX248" fmla="*/ 978066 w 10529454"/>
              <a:gd name="connsiteY248" fmla="*/ 4130011 h 4415454"/>
              <a:gd name="connsiteX249" fmla="*/ 1575410 w 10529454"/>
              <a:gd name="connsiteY249" fmla="*/ 4130011 h 4415454"/>
              <a:gd name="connsiteX250" fmla="*/ 2534226 w 10529454"/>
              <a:gd name="connsiteY250" fmla="*/ 4148396 h 4415454"/>
              <a:gd name="connsiteX251" fmla="*/ 3133101 w 10529454"/>
              <a:gd name="connsiteY251" fmla="*/ 4120818 h 4415454"/>
              <a:gd name="connsiteX252" fmla="*/ 3958661 w 10529454"/>
              <a:gd name="connsiteY252" fmla="*/ 4035018 h 4415454"/>
              <a:gd name="connsiteX253" fmla="*/ 6303622 w 10529454"/>
              <a:gd name="connsiteY253" fmla="*/ 3665770 h 4415454"/>
              <a:gd name="connsiteX254" fmla="*/ 8840040 w 10529454"/>
              <a:gd name="connsiteY254" fmla="*/ 3029929 h 4415454"/>
              <a:gd name="connsiteX255" fmla="*/ 9190789 w 10529454"/>
              <a:gd name="connsiteY255" fmla="*/ 2934935 h 4415454"/>
              <a:gd name="connsiteX256" fmla="*/ 9313320 w 10529454"/>
              <a:gd name="connsiteY256" fmla="*/ 2934935 h 4415454"/>
              <a:gd name="connsiteX257" fmla="*/ 9437384 w 10529454"/>
              <a:gd name="connsiteY257" fmla="*/ 2934935 h 4415454"/>
              <a:gd name="connsiteX258" fmla="*/ 9437384 w 10529454"/>
              <a:gd name="connsiteY258" fmla="*/ 2934935 h 4415454"/>
              <a:gd name="connsiteX259" fmla="*/ 9941298 w 10529454"/>
              <a:gd name="connsiteY259" fmla="*/ 2821557 h 4415454"/>
              <a:gd name="connsiteX260" fmla="*/ 9941298 w 10529454"/>
              <a:gd name="connsiteY260" fmla="*/ 2821557 h 4415454"/>
              <a:gd name="connsiteX261" fmla="*/ 9945175 w 10529454"/>
              <a:gd name="connsiteY261" fmla="*/ 2825434 h 4415454"/>
              <a:gd name="connsiteX262" fmla="*/ 9941298 w 10529454"/>
              <a:gd name="connsiteY262" fmla="*/ 2821557 h 4415454"/>
              <a:gd name="connsiteX263" fmla="*/ 5782340 w 10529454"/>
              <a:gd name="connsiteY263" fmla="*/ 2820079 h 4415454"/>
              <a:gd name="connsiteX264" fmla="*/ 5744569 w 10529454"/>
              <a:gd name="connsiteY264" fmla="*/ 2821557 h 4415454"/>
              <a:gd name="connsiteX265" fmla="*/ 4974147 w 10529454"/>
              <a:gd name="connsiteY265" fmla="*/ 2953321 h 4415454"/>
              <a:gd name="connsiteX266" fmla="*/ 4641779 w 10529454"/>
              <a:gd name="connsiteY266" fmla="*/ 3000817 h 4415454"/>
              <a:gd name="connsiteX267" fmla="*/ 4358423 w 10529454"/>
              <a:gd name="connsiteY267" fmla="*/ 3039122 h 4415454"/>
              <a:gd name="connsiteX268" fmla="*/ 4641779 w 10529454"/>
              <a:gd name="connsiteY268" fmla="*/ 3000817 h 4415454"/>
              <a:gd name="connsiteX269" fmla="*/ 4974147 w 10529454"/>
              <a:gd name="connsiteY269" fmla="*/ 2953321 h 4415454"/>
              <a:gd name="connsiteX270" fmla="*/ 5591404 w 10529454"/>
              <a:gd name="connsiteY270" fmla="*/ 2869053 h 4415454"/>
              <a:gd name="connsiteX271" fmla="*/ 5782340 w 10529454"/>
              <a:gd name="connsiteY271" fmla="*/ 2820079 h 4415454"/>
              <a:gd name="connsiteX272" fmla="*/ 788140 w 10529454"/>
              <a:gd name="connsiteY272" fmla="*/ 2744950 h 4415454"/>
              <a:gd name="connsiteX273" fmla="*/ 825040 w 10529454"/>
              <a:gd name="connsiteY273" fmla="*/ 2747947 h 4415454"/>
              <a:gd name="connsiteX274" fmla="*/ 826708 w 10529454"/>
              <a:gd name="connsiteY274" fmla="*/ 2748311 h 4415454"/>
              <a:gd name="connsiteX275" fmla="*/ 768229 w 10529454"/>
              <a:gd name="connsiteY275" fmla="*/ 2735756 h 4415454"/>
              <a:gd name="connsiteX276" fmla="*/ 834353 w 10529454"/>
              <a:gd name="connsiteY276" fmla="*/ 2749977 h 4415454"/>
              <a:gd name="connsiteX277" fmla="*/ 826708 w 10529454"/>
              <a:gd name="connsiteY277" fmla="*/ 2748311 h 4415454"/>
              <a:gd name="connsiteX278" fmla="*/ 834281 w 10529454"/>
              <a:gd name="connsiteY278" fmla="*/ 2748971 h 4415454"/>
              <a:gd name="connsiteX279" fmla="*/ 1025546 w 10529454"/>
              <a:gd name="connsiteY279" fmla="*/ 2754141 h 4415454"/>
              <a:gd name="connsiteX280" fmla="*/ 1214658 w 10529454"/>
              <a:gd name="connsiteY280" fmla="*/ 2772456 h 4415454"/>
              <a:gd name="connsiteX281" fmla="*/ 1281332 w 10529454"/>
              <a:gd name="connsiteY281" fmla="*/ 2764867 h 4415454"/>
              <a:gd name="connsiteX282" fmla="*/ 1224662 w 10529454"/>
              <a:gd name="connsiteY282" fmla="*/ 2754141 h 4415454"/>
              <a:gd name="connsiteX283" fmla="*/ 901483 w 10529454"/>
              <a:gd name="connsiteY283" fmla="*/ 2735756 h 4415454"/>
              <a:gd name="connsiteX284" fmla="*/ 768229 w 10529454"/>
              <a:gd name="connsiteY284" fmla="*/ 2735756 h 4415454"/>
              <a:gd name="connsiteX285" fmla="*/ 3189772 w 10529454"/>
              <a:gd name="connsiteY285" fmla="*/ 2697453 h 4415454"/>
              <a:gd name="connsiteX286" fmla="*/ 3234191 w 10529454"/>
              <a:gd name="connsiteY286" fmla="*/ 2704347 h 4415454"/>
              <a:gd name="connsiteX287" fmla="*/ 3228064 w 10529454"/>
              <a:gd name="connsiteY287" fmla="*/ 2697453 h 4415454"/>
              <a:gd name="connsiteX288" fmla="*/ 3189772 w 10529454"/>
              <a:gd name="connsiteY288" fmla="*/ 2697453 h 4415454"/>
              <a:gd name="connsiteX289" fmla="*/ 3284735 w 10529454"/>
              <a:gd name="connsiteY289" fmla="*/ 2688260 h 4415454"/>
              <a:gd name="connsiteX290" fmla="*/ 3336045 w 10529454"/>
              <a:gd name="connsiteY290" fmla="*/ 2695154 h 4415454"/>
              <a:gd name="connsiteX291" fmla="*/ 3323026 w 10529454"/>
              <a:gd name="connsiteY291" fmla="*/ 2688260 h 4415454"/>
              <a:gd name="connsiteX292" fmla="*/ 3406142 w 10529454"/>
              <a:gd name="connsiteY292" fmla="*/ 2672101 h 4415454"/>
              <a:gd name="connsiteX293" fmla="*/ 3388887 w 10529454"/>
              <a:gd name="connsiteY293" fmla="*/ 2679067 h 4415454"/>
              <a:gd name="connsiteX294" fmla="*/ 3432826 w 10529454"/>
              <a:gd name="connsiteY294" fmla="*/ 2690702 h 4415454"/>
              <a:gd name="connsiteX295" fmla="*/ 3445558 w 10529454"/>
              <a:gd name="connsiteY295" fmla="*/ 2688260 h 4415454"/>
              <a:gd name="connsiteX296" fmla="*/ 3406142 w 10529454"/>
              <a:gd name="connsiteY296" fmla="*/ 2672101 h 4415454"/>
              <a:gd name="connsiteX297" fmla="*/ 717540 w 10529454"/>
              <a:gd name="connsiteY297" fmla="*/ 2596139 h 4415454"/>
              <a:gd name="connsiteX298" fmla="*/ 702367 w 10529454"/>
              <a:gd name="connsiteY298" fmla="*/ 2602459 h 4415454"/>
              <a:gd name="connsiteX299" fmla="*/ 749848 w 10529454"/>
              <a:gd name="connsiteY299" fmla="*/ 2611653 h 4415454"/>
              <a:gd name="connsiteX300" fmla="*/ 717540 w 10529454"/>
              <a:gd name="connsiteY300" fmla="*/ 2596139 h 4415454"/>
              <a:gd name="connsiteX301" fmla="*/ 651296 w 10529454"/>
              <a:gd name="connsiteY301" fmla="*/ 2589532 h 4415454"/>
              <a:gd name="connsiteX302" fmla="*/ 645696 w 10529454"/>
              <a:gd name="connsiteY302" fmla="*/ 2593266 h 4415454"/>
              <a:gd name="connsiteX303" fmla="*/ 673266 w 10529454"/>
              <a:gd name="connsiteY303" fmla="*/ 2602459 h 4415454"/>
              <a:gd name="connsiteX304" fmla="*/ 662927 w 10529454"/>
              <a:gd name="connsiteY304" fmla="*/ 2590968 h 4415454"/>
              <a:gd name="connsiteX305" fmla="*/ 651296 w 10529454"/>
              <a:gd name="connsiteY305" fmla="*/ 2589532 h 4415454"/>
              <a:gd name="connsiteX306" fmla="*/ 1274823 w 10529454"/>
              <a:gd name="connsiteY306" fmla="*/ 2581776 h 4415454"/>
              <a:gd name="connsiteX307" fmla="*/ 1261421 w 10529454"/>
              <a:gd name="connsiteY307" fmla="*/ 2584073 h 4415454"/>
              <a:gd name="connsiteX308" fmla="*/ 1281332 w 10529454"/>
              <a:gd name="connsiteY308" fmla="*/ 2593266 h 4415454"/>
              <a:gd name="connsiteX309" fmla="*/ 1274823 w 10529454"/>
              <a:gd name="connsiteY309" fmla="*/ 2581776 h 4415454"/>
              <a:gd name="connsiteX310" fmla="*/ 1126300 w 10529454"/>
              <a:gd name="connsiteY310" fmla="*/ 2580195 h 4415454"/>
              <a:gd name="connsiteX311" fmla="*/ 1109787 w 10529454"/>
              <a:gd name="connsiteY311" fmla="*/ 2584073 h 4415454"/>
              <a:gd name="connsiteX312" fmla="*/ 1133192 w 10529454"/>
              <a:gd name="connsiteY312" fmla="*/ 2587952 h 4415454"/>
              <a:gd name="connsiteX313" fmla="*/ 1215472 w 10529454"/>
              <a:gd name="connsiteY313" fmla="*/ 2584073 h 4415454"/>
              <a:gd name="connsiteX314" fmla="*/ 1126300 w 10529454"/>
              <a:gd name="connsiteY314" fmla="*/ 2580195 h 4415454"/>
              <a:gd name="connsiteX315" fmla="*/ 7273159 w 10529454"/>
              <a:gd name="connsiteY315" fmla="*/ 2536577 h 4415454"/>
              <a:gd name="connsiteX316" fmla="*/ 7291036 w 10529454"/>
              <a:gd name="connsiteY316" fmla="*/ 2549504 h 4415454"/>
              <a:gd name="connsiteX317" fmla="*/ 7300728 w 10529454"/>
              <a:gd name="connsiteY317" fmla="*/ 2545770 h 4415454"/>
              <a:gd name="connsiteX318" fmla="*/ 7311451 w 10529454"/>
              <a:gd name="connsiteY318" fmla="*/ 2527384 h 4415454"/>
              <a:gd name="connsiteX319" fmla="*/ 7321574 w 10529454"/>
              <a:gd name="connsiteY319" fmla="*/ 2540312 h 4415454"/>
              <a:gd name="connsiteX320" fmla="*/ 7329830 w 10529454"/>
              <a:gd name="connsiteY320" fmla="*/ 2536577 h 4415454"/>
              <a:gd name="connsiteX321" fmla="*/ 7348210 w 10529454"/>
              <a:gd name="connsiteY321" fmla="*/ 2516659 h 4415454"/>
              <a:gd name="connsiteX322" fmla="*/ 7363718 w 10529454"/>
              <a:gd name="connsiteY322" fmla="*/ 2531094 h 4415454"/>
              <a:gd name="connsiteX323" fmla="*/ 7368121 w 10529454"/>
              <a:gd name="connsiteY323" fmla="*/ 2527384 h 4415454"/>
              <a:gd name="connsiteX324" fmla="*/ 7596170 w 10529454"/>
              <a:gd name="connsiteY324" fmla="*/ 2448982 h 4415454"/>
              <a:gd name="connsiteX325" fmla="*/ 7585616 w 10529454"/>
              <a:gd name="connsiteY325" fmla="*/ 2459970 h 4415454"/>
              <a:gd name="connsiteX326" fmla="*/ 7538135 w 10529454"/>
              <a:gd name="connsiteY326" fmla="*/ 2469162 h 4415454"/>
              <a:gd name="connsiteX327" fmla="*/ 7510565 w 10529454"/>
              <a:gd name="connsiteY327" fmla="*/ 2478356 h 4415454"/>
              <a:gd name="connsiteX328" fmla="*/ 7472274 w 10529454"/>
              <a:gd name="connsiteY328" fmla="*/ 2489081 h 4415454"/>
              <a:gd name="connsiteX329" fmla="*/ 7443173 w 10529454"/>
              <a:gd name="connsiteY329" fmla="*/ 2498273 h 4415454"/>
              <a:gd name="connsiteX330" fmla="*/ 7404881 w 10529454"/>
              <a:gd name="connsiteY330" fmla="*/ 2507466 h 4415454"/>
              <a:gd name="connsiteX331" fmla="*/ 7431493 w 10529454"/>
              <a:gd name="connsiteY331" fmla="*/ 2509765 h 4415454"/>
              <a:gd name="connsiteX332" fmla="*/ 7443173 w 10529454"/>
              <a:gd name="connsiteY332" fmla="*/ 2498273 h 4415454"/>
              <a:gd name="connsiteX333" fmla="*/ 7472274 w 10529454"/>
              <a:gd name="connsiteY333" fmla="*/ 2489081 h 4415454"/>
              <a:gd name="connsiteX334" fmla="*/ 7510565 w 10529454"/>
              <a:gd name="connsiteY334" fmla="*/ 2478356 h 4415454"/>
              <a:gd name="connsiteX335" fmla="*/ 7538135 w 10529454"/>
              <a:gd name="connsiteY335" fmla="*/ 2469162 h 4415454"/>
              <a:gd name="connsiteX336" fmla="*/ 7585616 w 10529454"/>
              <a:gd name="connsiteY336" fmla="*/ 2459970 h 4415454"/>
              <a:gd name="connsiteX337" fmla="*/ 7596170 w 10529454"/>
              <a:gd name="connsiteY337" fmla="*/ 2448982 h 4415454"/>
              <a:gd name="connsiteX338" fmla="*/ 7656886 w 10529454"/>
              <a:gd name="connsiteY338" fmla="*/ 2429303 h 4415454"/>
              <a:gd name="connsiteX339" fmla="*/ 7656455 w 10529454"/>
              <a:gd name="connsiteY339" fmla="*/ 2430667 h 4415454"/>
              <a:gd name="connsiteX340" fmla="*/ 7654564 w 10529454"/>
              <a:gd name="connsiteY340" fmla="*/ 2436656 h 4415454"/>
              <a:gd name="connsiteX341" fmla="*/ 7653009 w 10529454"/>
              <a:gd name="connsiteY341" fmla="*/ 2441584 h 4415454"/>
              <a:gd name="connsiteX342" fmla="*/ 7654302 w 10529454"/>
              <a:gd name="connsiteY342" fmla="*/ 2437490 h 4415454"/>
              <a:gd name="connsiteX343" fmla="*/ 7654564 w 10529454"/>
              <a:gd name="connsiteY343" fmla="*/ 2436656 h 4415454"/>
              <a:gd name="connsiteX344" fmla="*/ 7691300 w 10529454"/>
              <a:gd name="connsiteY344" fmla="*/ 2421665 h 4415454"/>
              <a:gd name="connsiteX345" fmla="*/ 7713054 w 10529454"/>
              <a:gd name="connsiteY345" fmla="*/ 2435240 h 4415454"/>
              <a:gd name="connsiteX346" fmla="*/ 7718870 w 10529454"/>
              <a:gd name="connsiteY346" fmla="*/ 2430859 h 4415454"/>
              <a:gd name="connsiteX347" fmla="*/ 7691300 w 10529454"/>
              <a:gd name="connsiteY347" fmla="*/ 2421665 h 4415454"/>
              <a:gd name="connsiteX348" fmla="*/ 7728060 w 10529454"/>
              <a:gd name="connsiteY348" fmla="*/ 2412473 h 4415454"/>
              <a:gd name="connsiteX349" fmla="*/ 7747972 w 10529454"/>
              <a:gd name="connsiteY349" fmla="*/ 2421665 h 4415454"/>
              <a:gd name="connsiteX350" fmla="*/ 7728060 w 10529454"/>
              <a:gd name="connsiteY350" fmla="*/ 2412473 h 4415454"/>
              <a:gd name="connsiteX351" fmla="*/ 9317867 w 10529454"/>
              <a:gd name="connsiteY351" fmla="*/ 2410031 h 4415454"/>
              <a:gd name="connsiteX352" fmla="*/ 9313320 w 10529454"/>
              <a:gd name="connsiteY352" fmla="*/ 2412473 h 4415454"/>
              <a:gd name="connsiteX353" fmla="*/ 9332705 w 10529454"/>
              <a:gd name="connsiteY353" fmla="*/ 2425400 h 4415454"/>
              <a:gd name="connsiteX354" fmla="*/ 9342421 w 10529454"/>
              <a:gd name="connsiteY354" fmla="*/ 2421665 h 4415454"/>
              <a:gd name="connsiteX355" fmla="*/ 9317867 w 10529454"/>
              <a:gd name="connsiteY355" fmla="*/ 2410031 h 4415454"/>
              <a:gd name="connsiteX356" fmla="*/ 9351612 w 10529454"/>
              <a:gd name="connsiteY356" fmla="*/ 2403280 h 4415454"/>
              <a:gd name="connsiteX357" fmla="*/ 9371523 w 10529454"/>
              <a:gd name="connsiteY357" fmla="*/ 2412473 h 4415454"/>
              <a:gd name="connsiteX358" fmla="*/ 9389904 w 10529454"/>
              <a:gd name="connsiteY358" fmla="*/ 2394087 h 4415454"/>
              <a:gd name="connsiteX359" fmla="*/ 9409815 w 10529454"/>
              <a:gd name="connsiteY359" fmla="*/ 2403280 h 4415454"/>
              <a:gd name="connsiteX360" fmla="*/ 9389904 w 10529454"/>
              <a:gd name="connsiteY360" fmla="*/ 2394087 h 4415454"/>
              <a:gd name="connsiteX361" fmla="*/ 7842718 w 10529454"/>
              <a:gd name="connsiteY361" fmla="*/ 2380513 h 4415454"/>
              <a:gd name="connsiteX362" fmla="*/ 7832212 w 10529454"/>
              <a:gd name="connsiteY362" fmla="*/ 2384894 h 4415454"/>
              <a:gd name="connsiteX363" fmla="*/ 7870503 w 10529454"/>
              <a:gd name="connsiteY363" fmla="*/ 2394087 h 4415454"/>
              <a:gd name="connsiteX364" fmla="*/ 7842718 w 10529454"/>
              <a:gd name="connsiteY364" fmla="*/ 2380513 h 4415454"/>
              <a:gd name="connsiteX365" fmla="*/ 7881225 w 10529454"/>
              <a:gd name="connsiteY365" fmla="*/ 2374169 h 4415454"/>
              <a:gd name="connsiteX366" fmla="*/ 7899604 w 10529454"/>
              <a:gd name="connsiteY366" fmla="*/ 2384894 h 4415454"/>
              <a:gd name="connsiteX367" fmla="*/ 7881225 w 10529454"/>
              <a:gd name="connsiteY367" fmla="*/ 2374169 h 4415454"/>
              <a:gd name="connsiteX368" fmla="*/ 583664 w 10529454"/>
              <a:gd name="connsiteY368" fmla="*/ 2362678 h 4415454"/>
              <a:gd name="connsiteX369" fmla="*/ 598214 w 10529454"/>
              <a:gd name="connsiteY369" fmla="*/ 2374169 h 4415454"/>
              <a:gd name="connsiteX370" fmla="*/ 569114 w 10529454"/>
              <a:gd name="connsiteY370" fmla="*/ 2364976 h 4415454"/>
              <a:gd name="connsiteX371" fmla="*/ 583664 w 10529454"/>
              <a:gd name="connsiteY371" fmla="*/ 2362678 h 4415454"/>
              <a:gd name="connsiteX372" fmla="*/ 9997969 w 10529454"/>
              <a:gd name="connsiteY372" fmla="*/ 2355783 h 4415454"/>
              <a:gd name="connsiteX373" fmla="*/ 10016348 w 10529454"/>
              <a:gd name="connsiteY373" fmla="*/ 2364976 h 4415454"/>
              <a:gd name="connsiteX374" fmla="*/ 9997969 w 10529454"/>
              <a:gd name="connsiteY374" fmla="*/ 2355783 h 4415454"/>
              <a:gd name="connsiteX375" fmla="*/ 8115376 w 10529454"/>
              <a:gd name="connsiteY375" fmla="*/ 2315182 h 4415454"/>
              <a:gd name="connsiteX376" fmla="*/ 8098718 w 10529454"/>
              <a:gd name="connsiteY376" fmla="*/ 2317480 h 4415454"/>
              <a:gd name="connsiteX377" fmla="*/ 8117100 w 10529454"/>
              <a:gd name="connsiteY377" fmla="*/ 2326673 h 4415454"/>
              <a:gd name="connsiteX378" fmla="*/ 8115376 w 10529454"/>
              <a:gd name="connsiteY378" fmla="*/ 2315182 h 4415454"/>
              <a:gd name="connsiteX379" fmla="*/ 2106894 w 10529454"/>
              <a:gd name="connsiteY379" fmla="*/ 2286262 h 4415454"/>
              <a:gd name="connsiteX380" fmla="*/ 2097703 w 10529454"/>
              <a:gd name="connsiteY380" fmla="*/ 2288368 h 4415454"/>
              <a:gd name="connsiteX381" fmla="*/ 2116084 w 10529454"/>
              <a:gd name="connsiteY381" fmla="*/ 2299094 h 4415454"/>
              <a:gd name="connsiteX382" fmla="*/ 2106894 w 10529454"/>
              <a:gd name="connsiteY382" fmla="*/ 2286262 h 4415454"/>
              <a:gd name="connsiteX383" fmla="*/ 8206749 w 10529454"/>
              <a:gd name="connsiteY383" fmla="*/ 2282935 h 4415454"/>
              <a:gd name="connsiteX384" fmla="*/ 8202872 w 10529454"/>
              <a:gd name="connsiteY384" fmla="*/ 2299094 h 4415454"/>
              <a:gd name="connsiteX385" fmla="*/ 8206749 w 10529454"/>
              <a:gd name="connsiteY385" fmla="*/ 2282935 h 4415454"/>
              <a:gd name="connsiteX386" fmla="*/ 2471715 w 10529454"/>
              <a:gd name="connsiteY386" fmla="*/ 2275298 h 4415454"/>
              <a:gd name="connsiteX387" fmla="*/ 2449985 w 10529454"/>
              <a:gd name="connsiteY387" fmla="*/ 2279177 h 4415454"/>
              <a:gd name="connsiteX388" fmla="*/ 2515139 w 10529454"/>
              <a:gd name="connsiteY388" fmla="*/ 2287929 h 4415454"/>
              <a:gd name="connsiteX389" fmla="*/ 2572517 w 10529454"/>
              <a:gd name="connsiteY389" fmla="*/ 2279177 h 4415454"/>
              <a:gd name="connsiteX390" fmla="*/ 2471715 w 10529454"/>
              <a:gd name="connsiteY390" fmla="*/ 2275298 h 4415454"/>
              <a:gd name="connsiteX391" fmla="*/ 2956195 w 10529454"/>
              <a:gd name="connsiteY391" fmla="*/ 2256194 h 4415454"/>
              <a:gd name="connsiteX392" fmla="*/ 2819112 w 10529454"/>
              <a:gd name="connsiteY392" fmla="*/ 2269983 h 4415454"/>
              <a:gd name="connsiteX393" fmla="*/ 2803389 w 10529454"/>
              <a:gd name="connsiteY393" fmla="*/ 2279679 h 4415454"/>
              <a:gd name="connsiteX394" fmla="*/ 2819112 w 10529454"/>
              <a:gd name="connsiteY394" fmla="*/ 2269983 h 4415454"/>
              <a:gd name="connsiteX395" fmla="*/ 2914075 w 10529454"/>
              <a:gd name="connsiteY395" fmla="*/ 2269983 h 4415454"/>
              <a:gd name="connsiteX396" fmla="*/ 2956195 w 10529454"/>
              <a:gd name="connsiteY396" fmla="*/ 2256194 h 4415454"/>
              <a:gd name="connsiteX397" fmla="*/ 5719171 w 10529454"/>
              <a:gd name="connsiteY397" fmla="*/ 2211495 h 4415454"/>
              <a:gd name="connsiteX398" fmla="*/ 5733848 w 10529454"/>
              <a:gd name="connsiteY398" fmla="*/ 2213294 h 4415454"/>
              <a:gd name="connsiteX399" fmla="*/ 5723294 w 10529454"/>
              <a:gd name="connsiteY399" fmla="*/ 2212001 h 4415454"/>
              <a:gd name="connsiteX400" fmla="*/ 5706659 w 10529454"/>
              <a:gd name="connsiteY400" fmla="*/ 2209964 h 4415454"/>
              <a:gd name="connsiteX401" fmla="*/ 5712300 w 10529454"/>
              <a:gd name="connsiteY401" fmla="*/ 2210654 h 4415454"/>
              <a:gd name="connsiteX402" fmla="*/ 5719171 w 10529454"/>
              <a:gd name="connsiteY402" fmla="*/ 2211495 h 4415454"/>
              <a:gd name="connsiteX403" fmla="*/ 5704565 w 10529454"/>
              <a:gd name="connsiteY403" fmla="*/ 2209707 h 4415454"/>
              <a:gd name="connsiteX404" fmla="*/ 5705703 w 10529454"/>
              <a:gd name="connsiteY404" fmla="*/ 2209847 h 4415454"/>
              <a:gd name="connsiteX405" fmla="*/ 5706659 w 10529454"/>
              <a:gd name="connsiteY405" fmla="*/ 2209964 h 4415454"/>
              <a:gd name="connsiteX406" fmla="*/ 5700866 w 10529454"/>
              <a:gd name="connsiteY406" fmla="*/ 2209254 h 4415454"/>
              <a:gd name="connsiteX407" fmla="*/ 5702185 w 10529454"/>
              <a:gd name="connsiteY407" fmla="*/ 2209415 h 4415454"/>
              <a:gd name="connsiteX408" fmla="*/ 5704565 w 10529454"/>
              <a:gd name="connsiteY408" fmla="*/ 2209707 h 4415454"/>
              <a:gd name="connsiteX409" fmla="*/ 5914956 w 10529454"/>
              <a:gd name="connsiteY409" fmla="*/ 2187732 h 4415454"/>
              <a:gd name="connsiteX410" fmla="*/ 5917454 w 10529454"/>
              <a:gd name="connsiteY410" fmla="*/ 2188204 h 4415454"/>
              <a:gd name="connsiteX411" fmla="*/ 5920112 w 10529454"/>
              <a:gd name="connsiteY411" fmla="*/ 2188707 h 4415454"/>
              <a:gd name="connsiteX412" fmla="*/ 5907962 w 10529454"/>
              <a:gd name="connsiteY412" fmla="*/ 2186408 h 4415454"/>
              <a:gd name="connsiteX413" fmla="*/ 5914956 w 10529454"/>
              <a:gd name="connsiteY413" fmla="*/ 2187732 h 4415454"/>
              <a:gd name="connsiteX414" fmla="*/ 5912474 w 10529454"/>
              <a:gd name="connsiteY414" fmla="*/ 2187262 h 4415454"/>
              <a:gd name="connsiteX415" fmla="*/ 5896203 w 10529454"/>
              <a:gd name="connsiteY415" fmla="*/ 2184183 h 4415454"/>
              <a:gd name="connsiteX416" fmla="*/ 5733848 w 10529454"/>
              <a:gd name="connsiteY416" fmla="*/ 2213294 h 4415454"/>
              <a:gd name="connsiteX417" fmla="*/ 5896203 w 10529454"/>
              <a:gd name="connsiteY417" fmla="*/ 2184183 h 4415454"/>
              <a:gd name="connsiteX418" fmla="*/ 5896203 w 10529454"/>
              <a:gd name="connsiteY418" fmla="*/ 2184183 h 4415454"/>
              <a:gd name="connsiteX419" fmla="*/ 5904173 w 10529454"/>
              <a:gd name="connsiteY419" fmla="*/ 2185691 h 4415454"/>
              <a:gd name="connsiteX420" fmla="*/ 5907962 w 10529454"/>
              <a:gd name="connsiteY420" fmla="*/ 2186408 h 4415454"/>
              <a:gd name="connsiteX421" fmla="*/ 5952874 w 10529454"/>
              <a:gd name="connsiteY421" fmla="*/ 2165797 h 4415454"/>
              <a:gd name="connsiteX422" fmla="*/ 5981975 w 10529454"/>
              <a:gd name="connsiteY422" fmla="*/ 2174990 h 4415454"/>
              <a:gd name="connsiteX423" fmla="*/ 5977428 w 10529454"/>
              <a:gd name="connsiteY423" fmla="*/ 2178725 h 4415454"/>
              <a:gd name="connsiteX424" fmla="*/ 5952874 w 10529454"/>
              <a:gd name="connsiteY424" fmla="*/ 2165797 h 4415454"/>
              <a:gd name="connsiteX425" fmla="*/ 6028874 w 10529454"/>
              <a:gd name="connsiteY425" fmla="*/ 2155018 h 4415454"/>
              <a:gd name="connsiteX426" fmla="*/ 6030677 w 10529454"/>
              <a:gd name="connsiteY426" fmla="*/ 2155311 h 4415454"/>
              <a:gd name="connsiteX427" fmla="*/ 6038647 w 10529454"/>
              <a:gd name="connsiteY427" fmla="*/ 2156603 h 4415454"/>
              <a:gd name="connsiteX428" fmla="*/ 6022200 w 10529454"/>
              <a:gd name="connsiteY428" fmla="*/ 2153936 h 4415454"/>
              <a:gd name="connsiteX429" fmla="*/ 6022376 w 10529454"/>
              <a:gd name="connsiteY429" fmla="*/ 2153964 h 4415454"/>
              <a:gd name="connsiteX430" fmla="*/ 6028874 w 10529454"/>
              <a:gd name="connsiteY430" fmla="*/ 2155018 h 4415454"/>
              <a:gd name="connsiteX431" fmla="*/ 6013535 w 10529454"/>
              <a:gd name="connsiteY431" fmla="*/ 2152531 h 4415454"/>
              <a:gd name="connsiteX432" fmla="*/ 6017396 w 10529454"/>
              <a:gd name="connsiteY432" fmla="*/ 2153156 h 4415454"/>
              <a:gd name="connsiteX433" fmla="*/ 6022200 w 10529454"/>
              <a:gd name="connsiteY433" fmla="*/ 2153936 h 4415454"/>
              <a:gd name="connsiteX434" fmla="*/ 6095318 w 10529454"/>
              <a:gd name="connsiteY434" fmla="*/ 2127494 h 4415454"/>
              <a:gd name="connsiteX435" fmla="*/ 6114057 w 10529454"/>
              <a:gd name="connsiteY435" fmla="*/ 2141067 h 4415454"/>
              <a:gd name="connsiteX436" fmla="*/ 6124420 w 10529454"/>
              <a:gd name="connsiteY436" fmla="*/ 2136686 h 4415454"/>
              <a:gd name="connsiteX437" fmla="*/ 6181090 w 10529454"/>
              <a:gd name="connsiteY437" fmla="*/ 2118300 h 4415454"/>
              <a:gd name="connsiteX438" fmla="*/ 6228571 w 10529454"/>
              <a:gd name="connsiteY438" fmla="*/ 2118300 h 4415454"/>
              <a:gd name="connsiteX439" fmla="*/ 6181090 w 10529454"/>
              <a:gd name="connsiteY439" fmla="*/ 2127494 h 4415454"/>
              <a:gd name="connsiteX440" fmla="*/ 10053814 w 10529454"/>
              <a:gd name="connsiteY440" fmla="*/ 2108087 h 4415454"/>
              <a:gd name="connsiteX441" fmla="*/ 10054642 w 10529454"/>
              <a:gd name="connsiteY441" fmla="*/ 2109108 h 4415454"/>
              <a:gd name="connsiteX442" fmla="*/ 10053394 w 10529454"/>
              <a:gd name="connsiteY442" fmla="*/ 2108809 h 4415454"/>
              <a:gd name="connsiteX443" fmla="*/ 6312812 w 10529454"/>
              <a:gd name="connsiteY443" fmla="*/ 2089190 h 4415454"/>
              <a:gd name="connsiteX444" fmla="*/ 6361825 w 10529454"/>
              <a:gd name="connsiteY444" fmla="*/ 2089190 h 4415454"/>
              <a:gd name="connsiteX445" fmla="*/ 6228571 w 10529454"/>
              <a:gd name="connsiteY445" fmla="*/ 2118300 h 4415454"/>
              <a:gd name="connsiteX446" fmla="*/ 6228571 w 10529454"/>
              <a:gd name="connsiteY446" fmla="*/ 2109108 h 4415454"/>
              <a:gd name="connsiteX447" fmla="*/ 6266863 w 10529454"/>
              <a:gd name="connsiteY447" fmla="*/ 2098383 h 4415454"/>
              <a:gd name="connsiteX448" fmla="*/ 6312812 w 10529454"/>
              <a:gd name="connsiteY448" fmla="*/ 2089190 h 4415454"/>
              <a:gd name="connsiteX449" fmla="*/ 6409307 w 10529454"/>
              <a:gd name="connsiteY449" fmla="*/ 2079997 h 4415454"/>
              <a:gd name="connsiteX450" fmla="*/ 6361825 w 10529454"/>
              <a:gd name="connsiteY450" fmla="*/ 2089190 h 4415454"/>
              <a:gd name="connsiteX451" fmla="*/ 6409307 w 10529454"/>
              <a:gd name="connsiteY451" fmla="*/ 2079997 h 4415454"/>
              <a:gd name="connsiteX452" fmla="*/ 6466800 w 10529454"/>
              <a:gd name="connsiteY452" fmla="*/ 2072428 h 4415454"/>
              <a:gd name="connsiteX453" fmla="*/ 6478040 w 10529454"/>
              <a:gd name="connsiteY453" fmla="*/ 2074251 h 4415454"/>
              <a:gd name="connsiteX454" fmla="*/ 6480695 w 10529454"/>
              <a:gd name="connsiteY454" fmla="*/ 2074682 h 4415454"/>
              <a:gd name="connsiteX455" fmla="*/ 6473059 w 10529454"/>
              <a:gd name="connsiteY455" fmla="*/ 2073444 h 4415454"/>
              <a:gd name="connsiteX456" fmla="*/ 6456788 w 10529454"/>
              <a:gd name="connsiteY456" fmla="*/ 2070803 h 4415454"/>
              <a:gd name="connsiteX457" fmla="*/ 6466800 w 10529454"/>
              <a:gd name="connsiteY457" fmla="*/ 2072428 h 4415454"/>
              <a:gd name="connsiteX458" fmla="*/ 6464758 w 10529454"/>
              <a:gd name="connsiteY458" fmla="*/ 2072097 h 4415454"/>
              <a:gd name="connsiteX459" fmla="*/ 6456788 w 10529454"/>
              <a:gd name="connsiteY459" fmla="*/ 2070803 h 4415454"/>
              <a:gd name="connsiteX460" fmla="*/ 6421560 w 10529454"/>
              <a:gd name="connsiteY460" fmla="*/ 2068506 h 4415454"/>
              <a:gd name="connsiteX461" fmla="*/ 6456788 w 10529454"/>
              <a:gd name="connsiteY461" fmla="*/ 2070803 h 4415454"/>
              <a:gd name="connsiteX462" fmla="*/ 6409307 w 10529454"/>
              <a:gd name="connsiteY462" fmla="*/ 2079997 h 4415454"/>
              <a:gd name="connsiteX463" fmla="*/ 6421560 w 10529454"/>
              <a:gd name="connsiteY463" fmla="*/ 2068506 h 4415454"/>
              <a:gd name="connsiteX464" fmla="*/ 6554431 w 10529454"/>
              <a:gd name="connsiteY464" fmla="*/ 2039586 h 4415454"/>
              <a:gd name="connsiteX465" fmla="*/ 6560940 w 10529454"/>
              <a:gd name="connsiteY465" fmla="*/ 2052418 h 4415454"/>
              <a:gd name="connsiteX466" fmla="*/ 6541029 w 10529454"/>
              <a:gd name="connsiteY466" fmla="*/ 2041693 h 4415454"/>
              <a:gd name="connsiteX467" fmla="*/ 6554431 w 10529454"/>
              <a:gd name="connsiteY467" fmla="*/ 2039586 h 4415454"/>
              <a:gd name="connsiteX468" fmla="*/ 6600763 w 10529454"/>
              <a:gd name="connsiteY468" fmla="*/ 2030202 h 4415454"/>
              <a:gd name="connsiteX469" fmla="*/ 6608422 w 10529454"/>
              <a:gd name="connsiteY469" fmla="*/ 2041693 h 4415454"/>
              <a:gd name="connsiteX470" fmla="*/ 6579320 w 10529454"/>
              <a:gd name="connsiteY470" fmla="*/ 2032500 h 4415454"/>
              <a:gd name="connsiteX471" fmla="*/ 6600763 w 10529454"/>
              <a:gd name="connsiteY471" fmla="*/ 2030202 h 4415454"/>
              <a:gd name="connsiteX472" fmla="*/ 6639055 w 10529454"/>
              <a:gd name="connsiteY472" fmla="*/ 2021009 h 4415454"/>
              <a:gd name="connsiteX473" fmla="*/ 6646713 w 10529454"/>
              <a:gd name="connsiteY473" fmla="*/ 2032500 h 4415454"/>
              <a:gd name="connsiteX474" fmla="*/ 6617612 w 10529454"/>
              <a:gd name="connsiteY474" fmla="*/ 2023308 h 4415454"/>
              <a:gd name="connsiteX475" fmla="*/ 6639055 w 10529454"/>
              <a:gd name="connsiteY475" fmla="*/ 2021009 h 4415454"/>
              <a:gd name="connsiteX476" fmla="*/ 6669431 w 10529454"/>
              <a:gd name="connsiteY476" fmla="*/ 2010840 h 4415454"/>
              <a:gd name="connsiteX477" fmla="*/ 6677729 w 10529454"/>
              <a:gd name="connsiteY477" fmla="*/ 2011816 h 4415454"/>
              <a:gd name="connsiteX478" fmla="*/ 6692662 w 10529454"/>
              <a:gd name="connsiteY478" fmla="*/ 2023308 h 4415454"/>
              <a:gd name="connsiteX479" fmla="*/ 6655902 w 10529454"/>
              <a:gd name="connsiteY479" fmla="*/ 2014115 h 4415454"/>
              <a:gd name="connsiteX480" fmla="*/ 6660190 w 10529454"/>
              <a:gd name="connsiteY480" fmla="*/ 2012450 h 4415454"/>
              <a:gd name="connsiteX481" fmla="*/ 6707083 w 10529454"/>
              <a:gd name="connsiteY481" fmla="*/ 2010473 h 4415454"/>
              <a:gd name="connsiteX482" fmla="*/ 6708661 w 10529454"/>
              <a:gd name="connsiteY482" fmla="*/ 2012839 h 4415454"/>
              <a:gd name="connsiteX483" fmla="*/ 6711138 w 10529454"/>
              <a:gd name="connsiteY483" fmla="*/ 2016556 h 4415454"/>
              <a:gd name="connsiteX484" fmla="*/ 6710276 w 10529454"/>
              <a:gd name="connsiteY484" fmla="*/ 2015264 h 4415454"/>
              <a:gd name="connsiteX485" fmla="*/ 6703384 w 10529454"/>
              <a:gd name="connsiteY485" fmla="*/ 2004921 h 4415454"/>
              <a:gd name="connsiteX486" fmla="*/ 6707083 w 10529454"/>
              <a:gd name="connsiteY486" fmla="*/ 2010473 h 4415454"/>
              <a:gd name="connsiteX487" fmla="*/ 6705968 w 10529454"/>
              <a:gd name="connsiteY487" fmla="*/ 2008799 h 4415454"/>
              <a:gd name="connsiteX488" fmla="*/ 6703384 w 10529454"/>
              <a:gd name="connsiteY488" fmla="*/ 2004921 h 4415454"/>
              <a:gd name="connsiteX489" fmla="*/ 7418522 w 10529454"/>
              <a:gd name="connsiteY489" fmla="*/ 1998099 h 4415454"/>
              <a:gd name="connsiteX490" fmla="*/ 7358931 w 10529454"/>
              <a:gd name="connsiteY490" fmla="*/ 2004921 h 4415454"/>
              <a:gd name="connsiteX491" fmla="*/ 6968360 w 10529454"/>
              <a:gd name="connsiteY491" fmla="*/ 2098383 h 4415454"/>
              <a:gd name="connsiteX492" fmla="*/ 3825408 w 10529454"/>
              <a:gd name="connsiteY492" fmla="*/ 2631570 h 4415454"/>
              <a:gd name="connsiteX493" fmla="*/ 3588001 w 10529454"/>
              <a:gd name="connsiteY493" fmla="*/ 2668341 h 4415454"/>
              <a:gd name="connsiteX494" fmla="*/ 3624403 w 10529454"/>
              <a:gd name="connsiteY494" fmla="*/ 2675164 h 4415454"/>
              <a:gd name="connsiteX495" fmla="*/ 3836130 w 10529454"/>
              <a:gd name="connsiteY495" fmla="*/ 2649956 h 4415454"/>
              <a:gd name="connsiteX496" fmla="*/ 5573024 w 10529454"/>
              <a:gd name="connsiteY496" fmla="*/ 2412473 h 4415454"/>
              <a:gd name="connsiteX497" fmla="*/ 6513459 w 10529454"/>
              <a:gd name="connsiteY497" fmla="*/ 2222487 h 4415454"/>
              <a:gd name="connsiteX498" fmla="*/ 7368121 w 10529454"/>
              <a:gd name="connsiteY498" fmla="*/ 2023308 h 4415454"/>
              <a:gd name="connsiteX499" fmla="*/ 7418522 w 10529454"/>
              <a:gd name="connsiteY499" fmla="*/ 1998099 h 4415454"/>
              <a:gd name="connsiteX500" fmla="*/ 6760055 w 10529454"/>
              <a:gd name="connsiteY500" fmla="*/ 1992090 h 4415454"/>
              <a:gd name="connsiteX501" fmla="*/ 6769245 w 10529454"/>
              <a:gd name="connsiteY501" fmla="*/ 2004921 h 4415454"/>
              <a:gd name="connsiteX502" fmla="*/ 6750865 w 10529454"/>
              <a:gd name="connsiteY502" fmla="*/ 1994197 h 4415454"/>
              <a:gd name="connsiteX503" fmla="*/ 6760055 w 10529454"/>
              <a:gd name="connsiteY503" fmla="*/ 1992090 h 4415454"/>
              <a:gd name="connsiteX504" fmla="*/ 6798347 w 10529454"/>
              <a:gd name="connsiteY504" fmla="*/ 1982706 h 4415454"/>
              <a:gd name="connsiteX505" fmla="*/ 6807536 w 10529454"/>
              <a:gd name="connsiteY505" fmla="*/ 1994197 h 4415454"/>
              <a:gd name="connsiteX506" fmla="*/ 6789157 w 10529454"/>
              <a:gd name="connsiteY506" fmla="*/ 1985003 h 4415454"/>
              <a:gd name="connsiteX507" fmla="*/ 6798347 w 10529454"/>
              <a:gd name="connsiteY507" fmla="*/ 1982706 h 4415454"/>
              <a:gd name="connsiteX508" fmla="*/ 6847359 w 10529454"/>
              <a:gd name="connsiteY508" fmla="*/ 1973512 h 4415454"/>
              <a:gd name="connsiteX509" fmla="*/ 6855018 w 10529454"/>
              <a:gd name="connsiteY509" fmla="*/ 1985003 h 4415454"/>
              <a:gd name="connsiteX510" fmla="*/ 6825916 w 10529454"/>
              <a:gd name="connsiteY510" fmla="*/ 1975811 h 4415454"/>
              <a:gd name="connsiteX511" fmla="*/ 6847359 w 10529454"/>
              <a:gd name="connsiteY511" fmla="*/ 1973512 h 4415454"/>
              <a:gd name="connsiteX512" fmla="*/ 6864207 w 10529454"/>
              <a:gd name="connsiteY512" fmla="*/ 1957424 h 4415454"/>
              <a:gd name="connsiteX513" fmla="*/ 6893309 w 10529454"/>
              <a:gd name="connsiteY513" fmla="*/ 1975811 h 4415454"/>
              <a:gd name="connsiteX514" fmla="*/ 6864207 w 10529454"/>
              <a:gd name="connsiteY514" fmla="*/ 1957424 h 4415454"/>
              <a:gd name="connsiteX515" fmla="*/ 6902499 w 10529454"/>
              <a:gd name="connsiteY515" fmla="*/ 1946700 h 4415454"/>
              <a:gd name="connsiteX516" fmla="*/ 6940791 w 10529454"/>
              <a:gd name="connsiteY516" fmla="*/ 1946700 h 4415454"/>
              <a:gd name="connsiteX517" fmla="*/ 6925091 w 10529454"/>
              <a:gd name="connsiteY517" fmla="*/ 1961638 h 4415454"/>
              <a:gd name="connsiteX518" fmla="*/ 6902499 w 10529454"/>
              <a:gd name="connsiteY518" fmla="*/ 1946700 h 4415454"/>
              <a:gd name="connsiteX519" fmla="*/ 6940791 w 10529454"/>
              <a:gd name="connsiteY519" fmla="*/ 1937507 h 4415454"/>
              <a:gd name="connsiteX520" fmla="*/ 6988271 w 10529454"/>
              <a:gd name="connsiteY520" fmla="*/ 1937507 h 4415454"/>
              <a:gd name="connsiteX521" fmla="*/ 6967977 w 10529454"/>
              <a:gd name="connsiteY521" fmla="*/ 1949573 h 4415454"/>
              <a:gd name="connsiteX522" fmla="*/ 6940791 w 10529454"/>
              <a:gd name="connsiteY522" fmla="*/ 1946700 h 4415454"/>
              <a:gd name="connsiteX523" fmla="*/ 6940791 w 10529454"/>
              <a:gd name="connsiteY523" fmla="*/ 1937507 h 4415454"/>
              <a:gd name="connsiteX524" fmla="*/ 7110804 w 10529454"/>
              <a:gd name="connsiteY524" fmla="*/ 1899203 h 4415454"/>
              <a:gd name="connsiteX525" fmla="*/ 7139905 w 10529454"/>
              <a:gd name="connsiteY525" fmla="*/ 1899203 h 4415454"/>
              <a:gd name="connsiteX526" fmla="*/ 7123751 w 10529454"/>
              <a:gd name="connsiteY526" fmla="*/ 1903082 h 4415454"/>
              <a:gd name="connsiteX527" fmla="*/ 7110804 w 10529454"/>
              <a:gd name="connsiteY527" fmla="*/ 1899203 h 4415454"/>
              <a:gd name="connsiteX528" fmla="*/ 7187386 w 10529454"/>
              <a:gd name="connsiteY528" fmla="*/ 1871624 h 4415454"/>
              <a:gd name="connsiteX529" fmla="*/ 7205766 w 10529454"/>
              <a:gd name="connsiteY529" fmla="*/ 1880818 h 4415454"/>
              <a:gd name="connsiteX530" fmla="*/ 7187386 w 10529454"/>
              <a:gd name="connsiteY530" fmla="*/ 1871624 h 4415454"/>
              <a:gd name="connsiteX531" fmla="*/ 7225678 w 10529454"/>
              <a:gd name="connsiteY531" fmla="*/ 1862432 h 4415454"/>
              <a:gd name="connsiteX532" fmla="*/ 7244058 w 10529454"/>
              <a:gd name="connsiteY532" fmla="*/ 1871624 h 4415454"/>
              <a:gd name="connsiteX533" fmla="*/ 7225678 w 10529454"/>
              <a:gd name="connsiteY533" fmla="*/ 1862432 h 4415454"/>
              <a:gd name="connsiteX534" fmla="*/ 2279013 w 10529454"/>
              <a:gd name="connsiteY534" fmla="*/ 1854029 h 4415454"/>
              <a:gd name="connsiteX535" fmla="*/ 2249338 w 10529454"/>
              <a:gd name="connsiteY535" fmla="*/ 1862432 h 4415454"/>
              <a:gd name="connsiteX536" fmla="*/ 2497034 w 10529454"/>
              <a:gd name="connsiteY536" fmla="*/ 1882900 h 4415454"/>
              <a:gd name="connsiteX537" fmla="*/ 2554137 w 10529454"/>
              <a:gd name="connsiteY537" fmla="*/ 1871624 h 4415454"/>
              <a:gd name="connsiteX538" fmla="*/ 2411693 w 10529454"/>
              <a:gd name="connsiteY538" fmla="*/ 1862432 h 4415454"/>
              <a:gd name="connsiteX539" fmla="*/ 2279013 w 10529454"/>
              <a:gd name="connsiteY539" fmla="*/ 1854029 h 4415454"/>
              <a:gd name="connsiteX540" fmla="*/ 7262438 w 10529454"/>
              <a:gd name="connsiteY540" fmla="*/ 1851707 h 4415454"/>
              <a:gd name="connsiteX541" fmla="*/ 7281822 w 10529454"/>
              <a:gd name="connsiteY541" fmla="*/ 1866142 h 4415454"/>
              <a:gd name="connsiteX542" fmla="*/ 7291539 w 10529454"/>
              <a:gd name="connsiteY542" fmla="*/ 1862432 h 4415454"/>
              <a:gd name="connsiteX543" fmla="*/ 2596879 w 10529454"/>
              <a:gd name="connsiteY543" fmla="*/ 1849504 h 4415454"/>
              <a:gd name="connsiteX544" fmla="*/ 2590896 w 10529454"/>
              <a:gd name="connsiteY544" fmla="*/ 1851707 h 4415454"/>
              <a:gd name="connsiteX545" fmla="*/ 2618035 w 10529454"/>
              <a:gd name="connsiteY545" fmla="*/ 1866142 h 4415454"/>
              <a:gd name="connsiteX546" fmla="*/ 2629188 w 10529454"/>
              <a:gd name="connsiteY546" fmla="*/ 1862432 h 4415454"/>
              <a:gd name="connsiteX547" fmla="*/ 2596879 w 10529454"/>
              <a:gd name="connsiteY547" fmla="*/ 1849504 h 4415454"/>
              <a:gd name="connsiteX548" fmla="*/ 2670686 w 10529454"/>
              <a:gd name="connsiteY548" fmla="*/ 1847828 h 4415454"/>
              <a:gd name="connsiteX549" fmla="*/ 2649098 w 10529454"/>
              <a:gd name="connsiteY549" fmla="*/ 1851707 h 4415454"/>
              <a:gd name="connsiteX550" fmla="*/ 2706096 w 10529454"/>
              <a:gd name="connsiteY550" fmla="*/ 1863287 h 4415454"/>
              <a:gd name="connsiteX551" fmla="*/ 2762442 w 10529454"/>
              <a:gd name="connsiteY551" fmla="*/ 1851707 h 4415454"/>
              <a:gd name="connsiteX552" fmla="*/ 2670686 w 10529454"/>
              <a:gd name="connsiteY552" fmla="*/ 1847828 h 4415454"/>
              <a:gd name="connsiteX553" fmla="*/ 7300728 w 10529454"/>
              <a:gd name="connsiteY553" fmla="*/ 1842514 h 4415454"/>
              <a:gd name="connsiteX554" fmla="*/ 7320640 w 10529454"/>
              <a:gd name="connsiteY554" fmla="*/ 1851707 h 4415454"/>
              <a:gd name="connsiteX555" fmla="*/ 996445 w 10529454"/>
              <a:gd name="connsiteY555" fmla="*/ 1842514 h 4415454"/>
              <a:gd name="connsiteX556" fmla="*/ 1020999 w 10529454"/>
              <a:gd name="connsiteY556" fmla="*/ 1856087 h 4415454"/>
              <a:gd name="connsiteX557" fmla="*/ 1025546 w 10529454"/>
              <a:gd name="connsiteY557" fmla="*/ 1851707 h 4415454"/>
              <a:gd name="connsiteX558" fmla="*/ 996445 w 10529454"/>
              <a:gd name="connsiteY558" fmla="*/ 1842514 h 4415454"/>
              <a:gd name="connsiteX559" fmla="*/ 2841082 w 10529454"/>
              <a:gd name="connsiteY559" fmla="*/ 1838636 h 4415454"/>
              <a:gd name="connsiteX560" fmla="*/ 2819112 w 10529454"/>
              <a:gd name="connsiteY560" fmla="*/ 1842514 h 4415454"/>
              <a:gd name="connsiteX561" fmla="*/ 2881791 w 10529454"/>
              <a:gd name="connsiteY561" fmla="*/ 1853690 h 4415454"/>
              <a:gd name="connsiteX562" fmla="*/ 2916755 w 10529454"/>
              <a:gd name="connsiteY562" fmla="*/ 1853430 h 4415454"/>
              <a:gd name="connsiteX563" fmla="*/ 2943176 w 10529454"/>
              <a:gd name="connsiteY563" fmla="*/ 1842514 h 4415454"/>
              <a:gd name="connsiteX564" fmla="*/ 2841082 w 10529454"/>
              <a:gd name="connsiteY564" fmla="*/ 1838636 h 4415454"/>
              <a:gd name="connsiteX565" fmla="*/ 3021003 w 10529454"/>
              <a:gd name="connsiteY565" fmla="*/ 1827001 h 4415454"/>
              <a:gd name="connsiteX566" fmla="*/ 2999847 w 10529454"/>
              <a:gd name="connsiteY566" fmla="*/ 1833321 h 4415454"/>
              <a:gd name="connsiteX567" fmla="*/ 3069633 w 10529454"/>
              <a:gd name="connsiteY567" fmla="*/ 1843664 h 4415454"/>
              <a:gd name="connsiteX568" fmla="*/ 3085620 w 10529454"/>
              <a:gd name="connsiteY568" fmla="*/ 1842514 h 4415454"/>
              <a:gd name="connsiteX569" fmla="*/ 3021003 w 10529454"/>
              <a:gd name="connsiteY569" fmla="*/ 1827001 h 4415454"/>
              <a:gd name="connsiteX570" fmla="*/ 438522 w 10529454"/>
              <a:gd name="connsiteY570" fmla="*/ 1821650 h 4415454"/>
              <a:gd name="connsiteX571" fmla="*/ 430476 w 10529454"/>
              <a:gd name="connsiteY571" fmla="*/ 1849121 h 4415454"/>
              <a:gd name="connsiteX572" fmla="*/ 408291 w 10529454"/>
              <a:gd name="connsiteY572" fmla="*/ 1833321 h 4415454"/>
              <a:gd name="connsiteX573" fmla="*/ 408291 w 10529454"/>
              <a:gd name="connsiteY573" fmla="*/ 1824128 h 4415454"/>
              <a:gd name="connsiteX574" fmla="*/ 438522 w 10529454"/>
              <a:gd name="connsiteY574" fmla="*/ 1821650 h 4415454"/>
              <a:gd name="connsiteX575" fmla="*/ 7364580 w 10529454"/>
              <a:gd name="connsiteY575" fmla="*/ 1737178 h 4415454"/>
              <a:gd name="connsiteX576" fmla="*/ 7348210 w 10529454"/>
              <a:gd name="connsiteY576" fmla="*/ 1747521 h 4415454"/>
              <a:gd name="connsiteX577" fmla="*/ 7320640 w 10529454"/>
              <a:gd name="connsiteY577" fmla="*/ 1756714 h 4415454"/>
              <a:gd name="connsiteX578" fmla="*/ 7282349 w 10529454"/>
              <a:gd name="connsiteY578" fmla="*/ 1767438 h 4415454"/>
              <a:gd name="connsiteX579" fmla="*/ 7169006 w 10529454"/>
              <a:gd name="connsiteY579" fmla="*/ 1795017 h 4415454"/>
              <a:gd name="connsiteX580" fmla="*/ 5905393 w 10529454"/>
              <a:gd name="connsiteY580" fmla="*/ 2079997 h 4415454"/>
              <a:gd name="connsiteX581" fmla="*/ 5839726 w 10529454"/>
              <a:gd name="connsiteY581" fmla="*/ 2101677 h 4415454"/>
              <a:gd name="connsiteX582" fmla="*/ 6000355 w 10529454"/>
              <a:gd name="connsiteY582" fmla="*/ 2079997 h 4415454"/>
              <a:gd name="connsiteX583" fmla="*/ 7169006 w 10529454"/>
              <a:gd name="connsiteY583" fmla="*/ 1795017 h 4415454"/>
              <a:gd name="connsiteX584" fmla="*/ 7282349 w 10529454"/>
              <a:gd name="connsiteY584" fmla="*/ 1767438 h 4415454"/>
              <a:gd name="connsiteX585" fmla="*/ 7320640 w 10529454"/>
              <a:gd name="connsiteY585" fmla="*/ 1756714 h 4415454"/>
              <a:gd name="connsiteX586" fmla="*/ 7348210 w 10529454"/>
              <a:gd name="connsiteY586" fmla="*/ 1747521 h 4415454"/>
              <a:gd name="connsiteX587" fmla="*/ 7364580 w 10529454"/>
              <a:gd name="connsiteY587" fmla="*/ 1737178 h 4415454"/>
              <a:gd name="connsiteX588" fmla="*/ 7028094 w 10529454"/>
              <a:gd name="connsiteY588" fmla="*/ 1726837 h 4415454"/>
              <a:gd name="connsiteX589" fmla="*/ 7015841 w 10529454"/>
              <a:gd name="connsiteY589" fmla="*/ 1738327 h 4415454"/>
              <a:gd name="connsiteX590" fmla="*/ 6864207 w 10529454"/>
              <a:gd name="connsiteY590" fmla="*/ 1767438 h 4415454"/>
              <a:gd name="connsiteX591" fmla="*/ 6730356 w 10529454"/>
              <a:gd name="connsiteY591" fmla="*/ 1815533 h 4415454"/>
              <a:gd name="connsiteX592" fmla="*/ 6750865 w 10529454"/>
              <a:gd name="connsiteY592" fmla="*/ 1814935 h 4415454"/>
              <a:gd name="connsiteX593" fmla="*/ 7015841 w 10529454"/>
              <a:gd name="connsiteY593" fmla="*/ 1738327 h 4415454"/>
              <a:gd name="connsiteX594" fmla="*/ 7054133 w 10529454"/>
              <a:gd name="connsiteY594" fmla="*/ 1729135 h 4415454"/>
              <a:gd name="connsiteX595" fmla="*/ 7028094 w 10529454"/>
              <a:gd name="connsiteY595" fmla="*/ 1726837 h 4415454"/>
              <a:gd name="connsiteX596" fmla="*/ 7752136 w 10529454"/>
              <a:gd name="connsiteY596" fmla="*/ 1715561 h 4415454"/>
              <a:gd name="connsiteX597" fmla="*/ 7747972 w 10529454"/>
              <a:gd name="connsiteY597" fmla="*/ 1719942 h 4415454"/>
              <a:gd name="connsiteX598" fmla="*/ 7766352 w 10529454"/>
              <a:gd name="connsiteY598" fmla="*/ 1729135 h 4415454"/>
              <a:gd name="connsiteX599" fmla="*/ 7752136 w 10529454"/>
              <a:gd name="connsiteY599" fmla="*/ 1715561 h 4415454"/>
              <a:gd name="connsiteX600" fmla="*/ 7428957 w 10529454"/>
              <a:gd name="connsiteY600" fmla="*/ 1715561 h 4415454"/>
              <a:gd name="connsiteX601" fmla="*/ 7424793 w 10529454"/>
              <a:gd name="connsiteY601" fmla="*/ 1719942 h 4415454"/>
              <a:gd name="connsiteX602" fmla="*/ 7443173 w 10529454"/>
              <a:gd name="connsiteY602" fmla="*/ 1729135 h 4415454"/>
              <a:gd name="connsiteX603" fmla="*/ 7428957 w 10529454"/>
              <a:gd name="connsiteY603" fmla="*/ 1715561 h 4415454"/>
              <a:gd name="connsiteX604" fmla="*/ 7546942 w 10529454"/>
              <a:gd name="connsiteY604" fmla="*/ 1688533 h 4415454"/>
              <a:gd name="connsiteX605" fmla="*/ 7528945 w 10529454"/>
              <a:gd name="connsiteY605" fmla="*/ 1690831 h 4415454"/>
              <a:gd name="connsiteX606" fmla="*/ 7558047 w 10529454"/>
              <a:gd name="connsiteY606" fmla="*/ 1700024 h 4415454"/>
              <a:gd name="connsiteX607" fmla="*/ 7546942 w 10529454"/>
              <a:gd name="connsiteY607" fmla="*/ 1688533 h 4415454"/>
              <a:gd name="connsiteX608" fmla="*/ 7605528 w 10529454"/>
              <a:gd name="connsiteY608" fmla="*/ 1661720 h 4415454"/>
              <a:gd name="connsiteX609" fmla="*/ 7615651 w 10529454"/>
              <a:gd name="connsiteY609" fmla="*/ 1676156 h 4415454"/>
              <a:gd name="connsiteX610" fmla="*/ 7623908 w 10529454"/>
              <a:gd name="connsiteY610" fmla="*/ 1672445 h 4415454"/>
              <a:gd name="connsiteX611" fmla="*/ 8630203 w 10529454"/>
              <a:gd name="connsiteY611" fmla="*/ 1643334 h 4415454"/>
              <a:gd name="connsiteX612" fmla="*/ 8647004 w 10529454"/>
              <a:gd name="connsiteY612" fmla="*/ 1656262 h 4415454"/>
              <a:gd name="connsiteX613" fmla="*/ 8650114 w 10529454"/>
              <a:gd name="connsiteY613" fmla="*/ 1652527 h 4415454"/>
              <a:gd name="connsiteX614" fmla="*/ 8630203 w 10529454"/>
              <a:gd name="connsiteY614" fmla="*/ 1643334 h 4415454"/>
              <a:gd name="connsiteX615" fmla="*/ 7671389 w 10529454"/>
              <a:gd name="connsiteY615" fmla="*/ 1643334 h 4415454"/>
              <a:gd name="connsiteX616" fmla="*/ 7686896 w 10529454"/>
              <a:gd name="connsiteY616" fmla="*/ 1656262 h 4415454"/>
              <a:gd name="connsiteX617" fmla="*/ 7691300 w 10529454"/>
              <a:gd name="connsiteY617" fmla="*/ 1652527 h 4415454"/>
              <a:gd name="connsiteX618" fmla="*/ 8659304 w 10529454"/>
              <a:gd name="connsiteY618" fmla="*/ 1634142 h 4415454"/>
              <a:gd name="connsiteX619" fmla="*/ 8682566 w 10529454"/>
              <a:gd name="connsiteY619" fmla="*/ 1647068 h 4415454"/>
              <a:gd name="connsiteX620" fmla="*/ 8686874 w 10529454"/>
              <a:gd name="connsiteY620" fmla="*/ 1643334 h 4415454"/>
              <a:gd name="connsiteX621" fmla="*/ 8659304 w 10529454"/>
              <a:gd name="connsiteY621" fmla="*/ 1634142 h 4415454"/>
              <a:gd name="connsiteX622" fmla="*/ 7700490 w 10529454"/>
              <a:gd name="connsiteY622" fmla="*/ 1634142 h 4415454"/>
              <a:gd name="connsiteX623" fmla="*/ 7723752 w 10529454"/>
              <a:gd name="connsiteY623" fmla="*/ 1647068 h 4415454"/>
              <a:gd name="connsiteX624" fmla="*/ 7728060 w 10529454"/>
              <a:gd name="connsiteY624" fmla="*/ 1643334 h 4415454"/>
              <a:gd name="connsiteX625" fmla="*/ 7700490 w 10529454"/>
              <a:gd name="connsiteY625" fmla="*/ 1634142 h 4415454"/>
              <a:gd name="connsiteX626" fmla="*/ 8697596 w 10529454"/>
              <a:gd name="connsiteY626" fmla="*/ 1624949 h 4415454"/>
              <a:gd name="connsiteX627" fmla="*/ 8716981 w 10529454"/>
              <a:gd name="connsiteY627" fmla="*/ 1637877 h 4415454"/>
              <a:gd name="connsiteX628" fmla="*/ 8725166 w 10529454"/>
              <a:gd name="connsiteY628" fmla="*/ 1634142 h 4415454"/>
              <a:gd name="connsiteX629" fmla="*/ 8697596 w 10529454"/>
              <a:gd name="connsiteY629" fmla="*/ 1624949 h 4415454"/>
              <a:gd name="connsiteX630" fmla="*/ 7737250 w 10529454"/>
              <a:gd name="connsiteY630" fmla="*/ 1624949 h 4415454"/>
              <a:gd name="connsiteX631" fmla="*/ 7754050 w 10529454"/>
              <a:gd name="connsiteY631" fmla="*/ 1637877 h 4415454"/>
              <a:gd name="connsiteX632" fmla="*/ 7757162 w 10529454"/>
              <a:gd name="connsiteY632" fmla="*/ 1634142 h 4415454"/>
              <a:gd name="connsiteX633" fmla="*/ 7737250 w 10529454"/>
              <a:gd name="connsiteY633" fmla="*/ 1624949 h 4415454"/>
              <a:gd name="connsiteX634" fmla="*/ 8745077 w 10529454"/>
              <a:gd name="connsiteY634" fmla="*/ 1614224 h 4415454"/>
              <a:gd name="connsiteX635" fmla="*/ 8755201 w 10529454"/>
              <a:gd name="connsiteY635" fmla="*/ 1628659 h 4415454"/>
              <a:gd name="connsiteX636" fmla="*/ 8763457 w 10529454"/>
              <a:gd name="connsiteY636" fmla="*/ 1624949 h 4415454"/>
              <a:gd name="connsiteX637" fmla="*/ 8772647 w 10529454"/>
              <a:gd name="connsiteY637" fmla="*/ 1605030 h 4415454"/>
              <a:gd name="connsiteX638" fmla="*/ 8792032 w 10529454"/>
              <a:gd name="connsiteY638" fmla="*/ 1618605 h 4415454"/>
              <a:gd name="connsiteX639" fmla="*/ 8801749 w 10529454"/>
              <a:gd name="connsiteY639" fmla="*/ 1614224 h 4415454"/>
              <a:gd name="connsiteX640" fmla="*/ 8810939 w 10529454"/>
              <a:gd name="connsiteY640" fmla="*/ 1595838 h 4415454"/>
              <a:gd name="connsiteX641" fmla="*/ 8825153 w 10529454"/>
              <a:gd name="connsiteY641" fmla="*/ 1608765 h 4415454"/>
              <a:gd name="connsiteX642" fmla="*/ 8829318 w 10529454"/>
              <a:gd name="connsiteY642" fmla="*/ 1605030 h 4415454"/>
              <a:gd name="connsiteX643" fmla="*/ 8944456 w 10529454"/>
              <a:gd name="connsiteY643" fmla="*/ 1561293 h 4415454"/>
              <a:gd name="connsiteX644" fmla="*/ 8905902 w 10529454"/>
              <a:gd name="connsiteY644" fmla="*/ 1577452 h 4415454"/>
              <a:gd name="connsiteX645" fmla="*/ 8867610 w 10529454"/>
              <a:gd name="connsiteY645" fmla="*/ 1586645 h 4415454"/>
              <a:gd name="connsiteX646" fmla="*/ 8894221 w 10529454"/>
              <a:gd name="connsiteY646" fmla="*/ 1588943 h 4415454"/>
              <a:gd name="connsiteX647" fmla="*/ 8905902 w 10529454"/>
              <a:gd name="connsiteY647" fmla="*/ 1577452 h 4415454"/>
              <a:gd name="connsiteX648" fmla="*/ 8944456 w 10529454"/>
              <a:gd name="connsiteY648" fmla="*/ 1561293 h 4415454"/>
              <a:gd name="connsiteX649" fmla="*/ 9019243 w 10529454"/>
              <a:gd name="connsiteY649" fmla="*/ 1539148 h 4415454"/>
              <a:gd name="connsiteX650" fmla="*/ 9039154 w 10529454"/>
              <a:gd name="connsiteY650" fmla="*/ 1548342 h 4415454"/>
              <a:gd name="connsiteX651" fmla="*/ 7377311 w 10529454"/>
              <a:gd name="connsiteY651" fmla="*/ 1529956 h 4415454"/>
              <a:gd name="connsiteX652" fmla="*/ 3531331 w 10529454"/>
              <a:gd name="connsiteY652" fmla="*/ 2204101 h 4415454"/>
              <a:gd name="connsiteX653" fmla="*/ 3474659 w 10529454"/>
              <a:gd name="connsiteY653" fmla="*/ 2204101 h 4415454"/>
              <a:gd name="connsiteX654" fmla="*/ 3303114 w 10529454"/>
              <a:gd name="connsiteY654" fmla="*/ 2231680 h 4415454"/>
              <a:gd name="connsiteX655" fmla="*/ 3363113 w 10529454"/>
              <a:gd name="connsiteY655" fmla="*/ 2233188 h 4415454"/>
              <a:gd name="connsiteX656" fmla="*/ 3531331 w 10529454"/>
              <a:gd name="connsiteY656" fmla="*/ 2204101 h 4415454"/>
              <a:gd name="connsiteX657" fmla="*/ 7377311 w 10529454"/>
              <a:gd name="connsiteY657" fmla="*/ 1529956 h 4415454"/>
              <a:gd name="connsiteX658" fmla="*/ 5558473 w 10529454"/>
              <a:gd name="connsiteY658" fmla="*/ 1517124 h 4415454"/>
              <a:gd name="connsiteX659" fmla="*/ 5543922 w 10529454"/>
              <a:gd name="connsiteY659" fmla="*/ 1519230 h 4415454"/>
              <a:gd name="connsiteX660" fmla="*/ 5563307 w 10529454"/>
              <a:gd name="connsiteY660" fmla="*/ 1532158 h 4415454"/>
              <a:gd name="connsiteX661" fmla="*/ 5573024 w 10529454"/>
              <a:gd name="connsiteY661" fmla="*/ 1529956 h 4415454"/>
              <a:gd name="connsiteX662" fmla="*/ 5558473 w 10529454"/>
              <a:gd name="connsiteY662" fmla="*/ 1517124 h 4415454"/>
              <a:gd name="connsiteX663" fmla="*/ 7436279 w 10529454"/>
              <a:gd name="connsiteY663" fmla="*/ 1507739 h 4415454"/>
              <a:gd name="connsiteX664" fmla="*/ 7415603 w 10529454"/>
              <a:gd name="connsiteY664" fmla="*/ 1510038 h 4415454"/>
              <a:gd name="connsiteX665" fmla="*/ 7443173 w 10529454"/>
              <a:gd name="connsiteY665" fmla="*/ 1519230 h 4415454"/>
              <a:gd name="connsiteX666" fmla="*/ 7436279 w 10529454"/>
              <a:gd name="connsiteY666" fmla="*/ 1507739 h 4415454"/>
              <a:gd name="connsiteX667" fmla="*/ 5660520 w 10529454"/>
              <a:gd name="connsiteY667" fmla="*/ 1498546 h 4415454"/>
              <a:gd name="connsiteX668" fmla="*/ 5638885 w 10529454"/>
              <a:gd name="connsiteY668" fmla="*/ 1510038 h 4415454"/>
              <a:gd name="connsiteX669" fmla="*/ 5616700 w 10529454"/>
              <a:gd name="connsiteY669" fmla="*/ 1521026 h 4415454"/>
              <a:gd name="connsiteX670" fmla="*/ 5638885 w 10529454"/>
              <a:gd name="connsiteY670" fmla="*/ 1510038 h 4415454"/>
              <a:gd name="connsiteX671" fmla="*/ 5697088 w 10529454"/>
              <a:gd name="connsiteY671" fmla="*/ 1500845 h 4415454"/>
              <a:gd name="connsiteX672" fmla="*/ 5660520 w 10529454"/>
              <a:gd name="connsiteY672" fmla="*/ 1498546 h 4415454"/>
              <a:gd name="connsiteX673" fmla="*/ 5783435 w 10529454"/>
              <a:gd name="connsiteY673" fmla="*/ 1478078 h 4415454"/>
              <a:gd name="connsiteX674" fmla="*/ 5772139 w 10529454"/>
              <a:gd name="connsiteY674" fmla="*/ 1482459 h 4415454"/>
              <a:gd name="connsiteX675" fmla="*/ 5808325 w 10529454"/>
              <a:gd name="connsiteY675" fmla="*/ 1494094 h 4415454"/>
              <a:gd name="connsiteX676" fmla="*/ 5819620 w 10529454"/>
              <a:gd name="connsiteY676" fmla="*/ 1491652 h 4415454"/>
              <a:gd name="connsiteX677" fmla="*/ 5783435 w 10529454"/>
              <a:gd name="connsiteY677" fmla="*/ 1478078 h 4415454"/>
              <a:gd name="connsiteX678" fmla="*/ 5844630 w 10529454"/>
              <a:gd name="connsiteY678" fmla="*/ 1465653 h 4415454"/>
              <a:gd name="connsiteX679" fmla="*/ 5828810 w 10529454"/>
              <a:gd name="connsiteY679" fmla="*/ 1471734 h 4415454"/>
              <a:gd name="connsiteX680" fmla="*/ 5876291 w 10529454"/>
              <a:gd name="connsiteY680" fmla="*/ 1482459 h 4415454"/>
              <a:gd name="connsiteX681" fmla="*/ 5844630 w 10529454"/>
              <a:gd name="connsiteY681" fmla="*/ 1465653 h 4415454"/>
              <a:gd name="connsiteX682" fmla="*/ 8735121 w 10529454"/>
              <a:gd name="connsiteY682" fmla="*/ 1460243 h 4415454"/>
              <a:gd name="connsiteX683" fmla="*/ 8745077 w 10529454"/>
              <a:gd name="connsiteY683" fmla="*/ 1471734 h 4415454"/>
              <a:gd name="connsiteX684" fmla="*/ 8725166 w 10529454"/>
              <a:gd name="connsiteY684" fmla="*/ 1462541 h 4415454"/>
              <a:gd name="connsiteX685" fmla="*/ 8735121 w 10529454"/>
              <a:gd name="connsiteY685" fmla="*/ 1460243 h 4415454"/>
              <a:gd name="connsiteX686" fmla="*/ 5912860 w 10529454"/>
              <a:gd name="connsiteY686" fmla="*/ 1460243 h 4415454"/>
              <a:gd name="connsiteX687" fmla="*/ 5887013 w 10529454"/>
              <a:gd name="connsiteY687" fmla="*/ 1462541 h 4415454"/>
              <a:gd name="connsiteX688" fmla="*/ 5923773 w 10529454"/>
              <a:gd name="connsiteY688" fmla="*/ 1471734 h 4415454"/>
              <a:gd name="connsiteX689" fmla="*/ 5912860 w 10529454"/>
              <a:gd name="connsiteY689" fmla="*/ 1460243 h 4415454"/>
              <a:gd name="connsiteX690" fmla="*/ 9941298 w 10529454"/>
              <a:gd name="connsiteY690" fmla="*/ 1453348 h 4415454"/>
              <a:gd name="connsiteX691" fmla="*/ 9961329 w 10529454"/>
              <a:gd name="connsiteY691" fmla="*/ 1457226 h 4415454"/>
              <a:gd name="connsiteX692" fmla="*/ 9941298 w 10529454"/>
              <a:gd name="connsiteY692" fmla="*/ 1453348 h 4415454"/>
              <a:gd name="connsiteX693" fmla="*/ 9914685 w 10529454"/>
              <a:gd name="connsiteY693" fmla="*/ 1451050 h 4415454"/>
              <a:gd name="connsiteX694" fmla="*/ 9941298 w 10529454"/>
              <a:gd name="connsiteY694" fmla="*/ 1453348 h 4415454"/>
              <a:gd name="connsiteX695" fmla="*/ 9903007 w 10529454"/>
              <a:gd name="connsiteY695" fmla="*/ 1462541 h 4415454"/>
              <a:gd name="connsiteX696" fmla="*/ 9914685 w 10529454"/>
              <a:gd name="connsiteY696" fmla="*/ 1451050 h 4415454"/>
              <a:gd name="connsiteX697" fmla="*/ 8763458 w 10529454"/>
              <a:gd name="connsiteY697" fmla="*/ 1451050 h 4415454"/>
              <a:gd name="connsiteX698" fmla="*/ 8772647 w 10529454"/>
              <a:gd name="connsiteY698" fmla="*/ 1462541 h 4415454"/>
              <a:gd name="connsiteX699" fmla="*/ 8754267 w 10529454"/>
              <a:gd name="connsiteY699" fmla="*/ 1453348 h 4415454"/>
              <a:gd name="connsiteX700" fmla="*/ 8763458 w 10529454"/>
              <a:gd name="connsiteY700" fmla="*/ 1451050 h 4415454"/>
              <a:gd name="connsiteX701" fmla="*/ 8801749 w 10529454"/>
              <a:gd name="connsiteY701" fmla="*/ 1441857 h 4415454"/>
              <a:gd name="connsiteX702" fmla="*/ 8810939 w 10529454"/>
              <a:gd name="connsiteY702" fmla="*/ 1453348 h 4415454"/>
              <a:gd name="connsiteX703" fmla="*/ 8792558 w 10529454"/>
              <a:gd name="connsiteY703" fmla="*/ 1444155 h 4415454"/>
              <a:gd name="connsiteX704" fmla="*/ 8801749 w 10529454"/>
              <a:gd name="connsiteY704" fmla="*/ 1441857 h 4415454"/>
              <a:gd name="connsiteX705" fmla="*/ 9983898 w 10529454"/>
              <a:gd name="connsiteY705" fmla="*/ 1430581 h 4415454"/>
              <a:gd name="connsiteX706" fmla="*/ 10007159 w 10529454"/>
              <a:gd name="connsiteY706" fmla="*/ 1444155 h 4415454"/>
              <a:gd name="connsiteX707" fmla="*/ 9979590 w 10529454"/>
              <a:gd name="connsiteY707" fmla="*/ 1434962 h 4415454"/>
              <a:gd name="connsiteX708" fmla="*/ 9983898 w 10529454"/>
              <a:gd name="connsiteY708" fmla="*/ 1430581 h 4415454"/>
              <a:gd name="connsiteX709" fmla="*/ 6056093 w 10529454"/>
              <a:gd name="connsiteY709" fmla="*/ 1430581 h 4415454"/>
              <a:gd name="connsiteX710" fmla="*/ 6047836 w 10529454"/>
              <a:gd name="connsiteY710" fmla="*/ 1434962 h 4415454"/>
              <a:gd name="connsiteX711" fmla="*/ 6066216 w 10529454"/>
              <a:gd name="connsiteY711" fmla="*/ 1444155 h 4415454"/>
              <a:gd name="connsiteX712" fmla="*/ 6056093 w 10529454"/>
              <a:gd name="connsiteY712" fmla="*/ 1430581 h 4415454"/>
              <a:gd name="connsiteX713" fmla="*/ 10022188 w 10529454"/>
              <a:gd name="connsiteY713" fmla="*/ 1420527 h 4415454"/>
              <a:gd name="connsiteX714" fmla="*/ 10034347 w 10529454"/>
              <a:gd name="connsiteY714" fmla="*/ 1422130 h 4415454"/>
              <a:gd name="connsiteX715" fmla="*/ 10045452 w 10529454"/>
              <a:gd name="connsiteY715" fmla="*/ 1434962 h 4415454"/>
              <a:gd name="connsiteX716" fmla="*/ 10016348 w 10529454"/>
              <a:gd name="connsiteY716" fmla="*/ 1424238 h 4415454"/>
              <a:gd name="connsiteX717" fmla="*/ 10022188 w 10529454"/>
              <a:gd name="connsiteY717" fmla="*/ 1420527 h 4415454"/>
              <a:gd name="connsiteX718" fmla="*/ 9238269 w 10529454"/>
              <a:gd name="connsiteY718" fmla="*/ 1310858 h 4415454"/>
              <a:gd name="connsiteX719" fmla="*/ 9256650 w 10529454"/>
              <a:gd name="connsiteY719" fmla="*/ 1320051 h 4415454"/>
              <a:gd name="connsiteX720" fmla="*/ 9253778 w 10529454"/>
              <a:gd name="connsiteY720" fmla="*/ 1323786 h 4415454"/>
              <a:gd name="connsiteX721" fmla="*/ 9238269 w 10529454"/>
              <a:gd name="connsiteY721" fmla="*/ 1310858 h 4415454"/>
              <a:gd name="connsiteX722" fmla="*/ 9195168 w 10529454"/>
              <a:gd name="connsiteY722" fmla="*/ 1145602 h 4415454"/>
              <a:gd name="connsiteX723" fmla="*/ 9190789 w 10529454"/>
              <a:gd name="connsiteY723" fmla="*/ 1149983 h 4415454"/>
              <a:gd name="connsiteX724" fmla="*/ 9209168 w 10529454"/>
              <a:gd name="connsiteY724" fmla="*/ 1159176 h 4415454"/>
              <a:gd name="connsiteX725" fmla="*/ 9195168 w 10529454"/>
              <a:gd name="connsiteY725" fmla="*/ 1145602 h 4415454"/>
              <a:gd name="connsiteX726" fmla="*/ 9342422 w 10529454"/>
              <a:gd name="connsiteY726" fmla="*/ 1109381 h 4415454"/>
              <a:gd name="connsiteX727" fmla="*/ 9333231 w 10529454"/>
              <a:gd name="connsiteY727" fmla="*/ 1111679 h 4415454"/>
              <a:gd name="connsiteX728" fmla="*/ 9351612 w 10529454"/>
              <a:gd name="connsiteY728" fmla="*/ 1120872 h 4415454"/>
              <a:gd name="connsiteX729" fmla="*/ 9342422 w 10529454"/>
              <a:gd name="connsiteY729" fmla="*/ 1109381 h 4415454"/>
              <a:gd name="connsiteX730" fmla="*/ 9365206 w 10529454"/>
              <a:gd name="connsiteY730" fmla="*/ 1098105 h 4415454"/>
              <a:gd name="connsiteX731" fmla="*/ 9362334 w 10529454"/>
              <a:gd name="connsiteY731" fmla="*/ 1102486 h 4415454"/>
              <a:gd name="connsiteX732" fmla="*/ 9380714 w 10529454"/>
              <a:gd name="connsiteY732" fmla="*/ 1111679 h 4415454"/>
              <a:gd name="connsiteX733" fmla="*/ 9365206 w 10529454"/>
              <a:gd name="connsiteY733" fmla="*/ 1098105 h 4415454"/>
              <a:gd name="connsiteX734" fmla="*/ 9466485 w 10529454"/>
              <a:gd name="connsiteY734" fmla="*/ 1064182 h 4415454"/>
              <a:gd name="connsiteX735" fmla="*/ 9481995 w 10529454"/>
              <a:gd name="connsiteY735" fmla="*/ 1077110 h 4415454"/>
              <a:gd name="connsiteX736" fmla="*/ 9484866 w 10529454"/>
              <a:gd name="connsiteY736" fmla="*/ 1073376 h 4415454"/>
              <a:gd name="connsiteX737" fmla="*/ 9466485 w 10529454"/>
              <a:gd name="connsiteY737" fmla="*/ 1064182 h 4415454"/>
              <a:gd name="connsiteX738" fmla="*/ 9917731 w 10529454"/>
              <a:gd name="connsiteY738" fmla="*/ 972040 h 4415454"/>
              <a:gd name="connsiteX739" fmla="*/ 9922726 w 10529454"/>
              <a:gd name="connsiteY739" fmla="*/ 973007 h 4415454"/>
              <a:gd name="connsiteX740" fmla="*/ 9923039 w 10529454"/>
              <a:gd name="connsiteY740" fmla="*/ 973068 h 4415454"/>
              <a:gd name="connsiteX741" fmla="*/ 9903007 w 10529454"/>
              <a:gd name="connsiteY741" fmla="*/ 969189 h 4415454"/>
              <a:gd name="connsiteX742" fmla="*/ 9915528 w 10529454"/>
              <a:gd name="connsiteY742" fmla="*/ 971613 h 4415454"/>
              <a:gd name="connsiteX743" fmla="*/ 9917731 w 10529454"/>
              <a:gd name="connsiteY743" fmla="*/ 972040 h 4415454"/>
              <a:gd name="connsiteX744" fmla="*/ 9916639 w 10529454"/>
              <a:gd name="connsiteY744" fmla="*/ 971829 h 4415454"/>
              <a:gd name="connsiteX745" fmla="*/ 9903007 w 10529454"/>
              <a:gd name="connsiteY745" fmla="*/ 969189 h 4415454"/>
              <a:gd name="connsiteX746" fmla="*/ 10122033 w 10529454"/>
              <a:gd name="connsiteY746" fmla="*/ 702595 h 4415454"/>
              <a:gd name="connsiteX747" fmla="*/ 10145942 w 10529454"/>
              <a:gd name="connsiteY747" fmla="*/ 707121 h 4415454"/>
              <a:gd name="connsiteX748" fmla="*/ 10122033 w 10529454"/>
              <a:gd name="connsiteY748" fmla="*/ 702595 h 4415454"/>
              <a:gd name="connsiteX749" fmla="*/ 10368630 w 10529454"/>
              <a:gd name="connsiteY749" fmla="*/ 541720 h 4415454"/>
              <a:gd name="connsiteX750" fmla="*/ 10396417 w 10529454"/>
              <a:gd name="connsiteY750" fmla="*/ 545598 h 4415454"/>
              <a:gd name="connsiteX751" fmla="*/ 10368630 w 10529454"/>
              <a:gd name="connsiteY751" fmla="*/ 541720 h 4415454"/>
              <a:gd name="connsiteX752" fmla="*/ 10425588 w 10529454"/>
              <a:gd name="connsiteY752" fmla="*/ 518953 h 4415454"/>
              <a:gd name="connsiteX753" fmla="*/ 10443681 w 10529454"/>
              <a:gd name="connsiteY753" fmla="*/ 532527 h 4415454"/>
              <a:gd name="connsiteX754" fmla="*/ 10416110 w 10529454"/>
              <a:gd name="connsiteY754" fmla="*/ 523334 h 4415454"/>
              <a:gd name="connsiteX755" fmla="*/ 10425588 w 10529454"/>
              <a:gd name="connsiteY755" fmla="*/ 518953 h 4415454"/>
              <a:gd name="connsiteX756" fmla="*/ 8754267 w 10529454"/>
              <a:gd name="connsiteY756" fmla="*/ 475838 h 4415454"/>
              <a:gd name="connsiteX757" fmla="*/ 8764606 w 10529454"/>
              <a:gd name="connsiteY757" fmla="*/ 488766 h 4415454"/>
              <a:gd name="connsiteX758" fmla="*/ 8772647 w 10529454"/>
              <a:gd name="connsiteY758" fmla="*/ 485031 h 4415454"/>
              <a:gd name="connsiteX759" fmla="*/ 8810939 w 10529454"/>
              <a:gd name="connsiteY759" fmla="*/ 465112 h 4415454"/>
              <a:gd name="connsiteX760" fmla="*/ 8806900 w 10529454"/>
              <a:gd name="connsiteY760" fmla="*/ 481945 h 4415454"/>
              <a:gd name="connsiteX761" fmla="*/ 8810939 w 10529454"/>
              <a:gd name="connsiteY761" fmla="*/ 465112 h 4415454"/>
              <a:gd name="connsiteX762" fmla="*/ 10235377 w 10529454"/>
              <a:gd name="connsiteY762" fmla="*/ 455920 h 4415454"/>
              <a:gd name="connsiteX763" fmla="*/ 10245715 w 10529454"/>
              <a:gd name="connsiteY763" fmla="*/ 469493 h 4415454"/>
              <a:gd name="connsiteX764" fmla="*/ 10253756 w 10529454"/>
              <a:gd name="connsiteY764" fmla="*/ 465112 h 4415454"/>
              <a:gd name="connsiteX765" fmla="*/ 9722271 w 10529454"/>
              <a:gd name="connsiteY765" fmla="*/ 446727 h 4415454"/>
              <a:gd name="connsiteX766" fmla="*/ 9718394 w 10529454"/>
              <a:gd name="connsiteY766" fmla="*/ 450605 h 4415454"/>
              <a:gd name="connsiteX767" fmla="*/ 9722271 w 10529454"/>
              <a:gd name="connsiteY767" fmla="*/ 446727 h 4415454"/>
              <a:gd name="connsiteX768" fmla="*/ 8858419 w 10529454"/>
              <a:gd name="connsiteY768" fmla="*/ 446727 h 4415454"/>
              <a:gd name="connsiteX769" fmla="*/ 8873927 w 10529454"/>
              <a:gd name="connsiteY769" fmla="*/ 459654 h 4415454"/>
              <a:gd name="connsiteX770" fmla="*/ 8876800 w 10529454"/>
              <a:gd name="connsiteY770" fmla="*/ 455920 h 4415454"/>
              <a:gd name="connsiteX771" fmla="*/ 8858419 w 10529454"/>
              <a:gd name="connsiteY771" fmla="*/ 446727 h 4415454"/>
              <a:gd name="connsiteX772" fmla="*/ 9769754 w 10529454"/>
              <a:gd name="connsiteY772" fmla="*/ 437534 h 4415454"/>
              <a:gd name="connsiteX773" fmla="*/ 9765876 w 10529454"/>
              <a:gd name="connsiteY773" fmla="*/ 449168 h 4415454"/>
              <a:gd name="connsiteX774" fmla="*/ 9769754 w 10529454"/>
              <a:gd name="connsiteY774" fmla="*/ 437534 h 4415454"/>
              <a:gd name="connsiteX775" fmla="*/ 8971762 w 10529454"/>
              <a:gd name="connsiteY775" fmla="*/ 417616 h 4415454"/>
              <a:gd name="connsiteX776" fmla="*/ 8970975 w 10529454"/>
              <a:gd name="connsiteY776" fmla="*/ 420110 h 4415454"/>
              <a:gd name="connsiteX777" fmla="*/ 8969520 w 10529454"/>
              <a:gd name="connsiteY777" fmla="*/ 424722 h 4415454"/>
              <a:gd name="connsiteX778" fmla="*/ 8969339 w 10529454"/>
              <a:gd name="connsiteY778" fmla="*/ 425292 h 4415454"/>
              <a:gd name="connsiteX779" fmla="*/ 8969154 w 10529454"/>
              <a:gd name="connsiteY779" fmla="*/ 425877 h 4415454"/>
              <a:gd name="connsiteX780" fmla="*/ 8969034 w 10529454"/>
              <a:gd name="connsiteY780" fmla="*/ 426259 h 4415454"/>
              <a:gd name="connsiteX781" fmla="*/ 8967886 w 10529454"/>
              <a:gd name="connsiteY781" fmla="*/ 429897 h 4415454"/>
              <a:gd name="connsiteX782" fmla="*/ 8967947 w 10529454"/>
              <a:gd name="connsiteY782" fmla="*/ 429705 h 4415454"/>
              <a:gd name="connsiteX783" fmla="*/ 8969034 w 10529454"/>
              <a:gd name="connsiteY783" fmla="*/ 426259 h 4415454"/>
              <a:gd name="connsiteX784" fmla="*/ 8969124 w 10529454"/>
              <a:gd name="connsiteY784" fmla="*/ 425974 h 4415454"/>
              <a:gd name="connsiteX785" fmla="*/ 8969154 w 10529454"/>
              <a:gd name="connsiteY785" fmla="*/ 425877 h 4415454"/>
              <a:gd name="connsiteX786" fmla="*/ 8969520 w 10529454"/>
              <a:gd name="connsiteY786" fmla="*/ 424722 h 4415454"/>
              <a:gd name="connsiteX787" fmla="*/ 10396199 w 10529454"/>
              <a:gd name="connsiteY787" fmla="*/ 399231 h 4415454"/>
              <a:gd name="connsiteX788" fmla="*/ 10416110 w 10529454"/>
              <a:gd name="connsiteY788" fmla="*/ 408423 h 4415454"/>
              <a:gd name="connsiteX789" fmla="*/ 10396199 w 10529454"/>
              <a:gd name="connsiteY789" fmla="*/ 399231 h 4415454"/>
              <a:gd name="connsiteX790" fmla="*/ 9019243 w 10529454"/>
              <a:gd name="connsiteY790" fmla="*/ 399231 h 4415454"/>
              <a:gd name="connsiteX791" fmla="*/ 9038627 w 10529454"/>
              <a:gd name="connsiteY791" fmla="*/ 412157 h 4415454"/>
              <a:gd name="connsiteX792" fmla="*/ 9048344 w 10529454"/>
              <a:gd name="connsiteY792" fmla="*/ 408423 h 4415454"/>
              <a:gd name="connsiteX793" fmla="*/ 10396199 w 10529454"/>
              <a:gd name="connsiteY793" fmla="*/ 360926 h 4415454"/>
              <a:gd name="connsiteX794" fmla="*/ 10416110 w 10529454"/>
              <a:gd name="connsiteY794" fmla="*/ 370119 h 4415454"/>
              <a:gd name="connsiteX795" fmla="*/ 10396199 w 10529454"/>
              <a:gd name="connsiteY795" fmla="*/ 360926 h 4415454"/>
              <a:gd name="connsiteX796" fmla="*/ 10169515 w 10529454"/>
              <a:gd name="connsiteY796" fmla="*/ 351734 h 4415454"/>
              <a:gd name="connsiteX797" fmla="*/ 10193422 w 10529454"/>
              <a:gd name="connsiteY797" fmla="*/ 355612 h 4415454"/>
              <a:gd name="connsiteX798" fmla="*/ 10169515 w 10529454"/>
              <a:gd name="connsiteY798" fmla="*/ 351734 h 4415454"/>
              <a:gd name="connsiteX799" fmla="*/ 10220010 w 10529454"/>
              <a:gd name="connsiteY799" fmla="*/ 328966 h 4415454"/>
              <a:gd name="connsiteX800" fmla="*/ 10244567 w 10529454"/>
              <a:gd name="connsiteY800" fmla="*/ 342541 h 4415454"/>
              <a:gd name="connsiteX801" fmla="*/ 10215463 w 10529454"/>
              <a:gd name="connsiteY801" fmla="*/ 333347 h 4415454"/>
              <a:gd name="connsiteX802" fmla="*/ 10220010 w 10529454"/>
              <a:gd name="connsiteY802" fmla="*/ 328966 h 4415454"/>
              <a:gd name="connsiteX803" fmla="*/ 10268307 w 10529454"/>
              <a:gd name="connsiteY803" fmla="*/ 320516 h 4415454"/>
              <a:gd name="connsiteX804" fmla="*/ 10282857 w 10529454"/>
              <a:gd name="connsiteY804" fmla="*/ 333347 h 4415454"/>
              <a:gd name="connsiteX805" fmla="*/ 10253756 w 10529454"/>
              <a:gd name="connsiteY805" fmla="*/ 322623 h 4415454"/>
              <a:gd name="connsiteX806" fmla="*/ 10268307 w 10529454"/>
              <a:gd name="connsiteY806" fmla="*/ 320516 h 4415454"/>
              <a:gd name="connsiteX807" fmla="*/ 10306596 w 10529454"/>
              <a:gd name="connsiteY807" fmla="*/ 311132 h 4415454"/>
              <a:gd name="connsiteX808" fmla="*/ 10321147 w 10529454"/>
              <a:gd name="connsiteY808" fmla="*/ 322623 h 4415454"/>
              <a:gd name="connsiteX809" fmla="*/ 10292046 w 10529454"/>
              <a:gd name="connsiteY809" fmla="*/ 313431 h 4415454"/>
              <a:gd name="connsiteX810" fmla="*/ 10306596 w 10529454"/>
              <a:gd name="connsiteY810" fmla="*/ 311132 h 4415454"/>
              <a:gd name="connsiteX811" fmla="*/ 10218575 w 10529454"/>
              <a:gd name="connsiteY811" fmla="*/ 243166 h 4415454"/>
              <a:gd name="connsiteX812" fmla="*/ 10235377 w 10529454"/>
              <a:gd name="connsiteY812" fmla="*/ 256741 h 4415454"/>
              <a:gd name="connsiteX813" fmla="*/ 10215463 w 10529454"/>
              <a:gd name="connsiteY813" fmla="*/ 247547 h 4415454"/>
              <a:gd name="connsiteX814" fmla="*/ 10218575 w 10529454"/>
              <a:gd name="connsiteY814" fmla="*/ 243166 h 4415454"/>
              <a:gd name="connsiteX815" fmla="*/ 10130458 w 10529454"/>
              <a:gd name="connsiteY815" fmla="*/ 1446 h 4415454"/>
              <a:gd name="connsiteX816" fmla="*/ 10149604 w 10529454"/>
              <a:gd name="connsiteY816" fmla="*/ 19257 h 4415454"/>
              <a:gd name="connsiteX817" fmla="*/ 10016348 w 10529454"/>
              <a:gd name="connsiteY817" fmla="*/ 85140 h 4415454"/>
              <a:gd name="connsiteX818" fmla="*/ 9608930 w 10529454"/>
              <a:gd name="connsiteY818" fmla="*/ 218437 h 4415454"/>
              <a:gd name="connsiteX819" fmla="*/ 9209168 w 10529454"/>
              <a:gd name="connsiteY819" fmla="*/ 351734 h 4415454"/>
              <a:gd name="connsiteX820" fmla="*/ 9181598 w 10529454"/>
              <a:gd name="connsiteY820" fmla="*/ 360926 h 4415454"/>
              <a:gd name="connsiteX821" fmla="*/ 9181598 w 10529454"/>
              <a:gd name="connsiteY821" fmla="*/ 360926 h 4415454"/>
              <a:gd name="connsiteX822" fmla="*/ 9209168 w 10529454"/>
              <a:gd name="connsiteY822" fmla="*/ 351734 h 4415454"/>
              <a:gd name="connsiteX823" fmla="*/ 10368630 w 10529454"/>
              <a:gd name="connsiteY823" fmla="*/ 37644 h 4415454"/>
              <a:gd name="connsiteX824" fmla="*/ 10529454 w 10529454"/>
              <a:gd name="connsiteY824" fmla="*/ 28450 h 4415454"/>
              <a:gd name="connsiteX825" fmla="*/ 10434492 w 10529454"/>
              <a:gd name="connsiteY825" fmla="*/ 66753 h 4415454"/>
              <a:gd name="connsiteX826" fmla="*/ 10529454 w 10529454"/>
              <a:gd name="connsiteY826" fmla="*/ 57562 h 4415454"/>
              <a:gd name="connsiteX827" fmla="*/ 10416110 w 10529454"/>
              <a:gd name="connsiteY827" fmla="*/ 132637 h 4415454"/>
              <a:gd name="connsiteX828" fmla="*/ 10416110 w 10529454"/>
              <a:gd name="connsiteY828" fmla="*/ 143362 h 4415454"/>
              <a:gd name="connsiteX829" fmla="*/ 10330339 w 10529454"/>
              <a:gd name="connsiteY829" fmla="*/ 200050 h 4415454"/>
              <a:gd name="connsiteX830" fmla="*/ 10187894 w 10529454"/>
              <a:gd name="connsiteY830" fmla="*/ 247547 h 4415454"/>
              <a:gd name="connsiteX831" fmla="*/ 10206274 w 10529454"/>
              <a:gd name="connsiteY831" fmla="*/ 265934 h 4415454"/>
              <a:gd name="connsiteX832" fmla="*/ 10140414 w 10529454"/>
              <a:gd name="connsiteY832" fmla="*/ 295044 h 4415454"/>
              <a:gd name="connsiteX833" fmla="*/ 10016348 w 10529454"/>
              <a:gd name="connsiteY833" fmla="*/ 322623 h 4415454"/>
              <a:gd name="connsiteX834" fmla="*/ 9988779 w 10529454"/>
              <a:gd name="connsiteY834" fmla="*/ 370119 h 4415454"/>
              <a:gd name="connsiteX835" fmla="*/ 9846336 w 10529454"/>
              <a:gd name="connsiteY835" fmla="*/ 408423 h 4415454"/>
              <a:gd name="connsiteX836" fmla="*/ 9921386 w 10529454"/>
              <a:gd name="connsiteY836" fmla="*/ 399231 h 4415454"/>
              <a:gd name="connsiteX837" fmla="*/ 10169515 w 10529454"/>
              <a:gd name="connsiteY837" fmla="*/ 351734 h 4415454"/>
              <a:gd name="connsiteX838" fmla="*/ 10092932 w 10529454"/>
              <a:gd name="connsiteY838" fmla="*/ 390038 h 4415454"/>
              <a:gd name="connsiteX839" fmla="*/ 10083742 w 10529454"/>
              <a:gd name="connsiteY839" fmla="*/ 408423 h 4415454"/>
              <a:gd name="connsiteX840" fmla="*/ 10025538 w 10529454"/>
              <a:gd name="connsiteY840" fmla="*/ 399231 h 4415454"/>
              <a:gd name="connsiteX841" fmla="*/ 10045452 w 10529454"/>
              <a:gd name="connsiteY841" fmla="*/ 417616 h 4415454"/>
              <a:gd name="connsiteX842" fmla="*/ 9645689 w 10529454"/>
              <a:gd name="connsiteY842" fmla="*/ 541720 h 4415454"/>
              <a:gd name="connsiteX843" fmla="*/ 9693171 w 10529454"/>
              <a:gd name="connsiteY843" fmla="*/ 560106 h 4415454"/>
              <a:gd name="connsiteX844" fmla="*/ 10253756 w 10529454"/>
              <a:gd name="connsiteY844" fmla="*/ 399231 h 4415454"/>
              <a:gd name="connsiteX845" fmla="*/ 10301236 w 10529454"/>
              <a:gd name="connsiteY845" fmla="*/ 399231 h 4415454"/>
              <a:gd name="connsiteX846" fmla="*/ 10348718 w 10529454"/>
              <a:gd name="connsiteY846" fmla="*/ 417616 h 4415454"/>
              <a:gd name="connsiteX847" fmla="*/ 10262946 w 10529454"/>
              <a:gd name="connsiteY847" fmla="*/ 455920 h 4415454"/>
              <a:gd name="connsiteX848" fmla="*/ 10452870 w 10529454"/>
              <a:gd name="connsiteY848" fmla="*/ 446727 h 4415454"/>
              <a:gd name="connsiteX849" fmla="*/ 10253756 w 10529454"/>
              <a:gd name="connsiteY849" fmla="*/ 532527 h 4415454"/>
              <a:gd name="connsiteX850" fmla="*/ 10233057 w 10529454"/>
              <a:gd name="connsiteY850" fmla="*/ 538408 h 4415454"/>
              <a:gd name="connsiteX851" fmla="*/ 10231044 w 10529454"/>
              <a:gd name="connsiteY851" fmla="*/ 538919 h 4415454"/>
              <a:gd name="connsiteX852" fmla="*/ 10231352 w 10529454"/>
              <a:gd name="connsiteY852" fmla="*/ 538892 h 4415454"/>
              <a:gd name="connsiteX853" fmla="*/ 10233057 w 10529454"/>
              <a:gd name="connsiteY853" fmla="*/ 538408 h 4415454"/>
              <a:gd name="connsiteX854" fmla="*/ 10246352 w 10529454"/>
              <a:gd name="connsiteY854" fmla="*/ 535032 h 4415454"/>
              <a:gd name="connsiteX855" fmla="*/ 10330339 w 10529454"/>
              <a:gd name="connsiteY855" fmla="*/ 541720 h 4415454"/>
              <a:gd name="connsiteX856" fmla="*/ 10317246 w 10529454"/>
              <a:gd name="connsiteY856" fmla="*/ 548145 h 4415454"/>
              <a:gd name="connsiteX857" fmla="*/ 10313490 w 10529454"/>
              <a:gd name="connsiteY857" fmla="*/ 548614 h 4415454"/>
              <a:gd name="connsiteX858" fmla="*/ 10301210 w 10529454"/>
              <a:gd name="connsiteY858" fmla="*/ 552027 h 4415454"/>
              <a:gd name="connsiteX859" fmla="*/ 10276923 w 10529454"/>
              <a:gd name="connsiteY859" fmla="*/ 554360 h 4415454"/>
              <a:gd name="connsiteX860" fmla="*/ 10215463 w 10529454"/>
              <a:gd name="connsiteY860" fmla="*/ 560106 h 4415454"/>
              <a:gd name="connsiteX861" fmla="*/ 10111312 w 10529454"/>
              <a:gd name="connsiteY861" fmla="*/ 598409 h 4415454"/>
              <a:gd name="connsiteX862" fmla="*/ 10244567 w 10529454"/>
              <a:gd name="connsiteY862" fmla="*/ 569298 h 4415454"/>
              <a:gd name="connsiteX863" fmla="*/ 10282475 w 10529454"/>
              <a:gd name="connsiteY863" fmla="*/ 557233 h 4415454"/>
              <a:gd name="connsiteX864" fmla="*/ 10301210 w 10529454"/>
              <a:gd name="connsiteY864" fmla="*/ 552027 h 4415454"/>
              <a:gd name="connsiteX865" fmla="*/ 10311312 w 10529454"/>
              <a:gd name="connsiteY865" fmla="*/ 551056 h 4415454"/>
              <a:gd name="connsiteX866" fmla="*/ 10317246 w 10529454"/>
              <a:gd name="connsiteY866" fmla="*/ 548145 h 4415454"/>
              <a:gd name="connsiteX867" fmla="*/ 10368630 w 10529454"/>
              <a:gd name="connsiteY867" fmla="*/ 541720 h 4415454"/>
              <a:gd name="connsiteX868" fmla="*/ 10102122 w 10529454"/>
              <a:gd name="connsiteY868" fmla="*/ 636713 h 4415454"/>
              <a:gd name="connsiteX869" fmla="*/ 10073021 w 10529454"/>
              <a:gd name="connsiteY869" fmla="*/ 675017 h 4415454"/>
              <a:gd name="connsiteX870" fmla="*/ 9932108 w 10529454"/>
              <a:gd name="connsiteY870" fmla="*/ 731706 h 4415454"/>
              <a:gd name="connsiteX871" fmla="*/ 10122033 w 10529454"/>
              <a:gd name="connsiteY871" fmla="*/ 702595 h 4415454"/>
              <a:gd name="connsiteX872" fmla="*/ 7653009 w 10529454"/>
              <a:gd name="connsiteY872" fmla="*/ 1453348 h 4415454"/>
              <a:gd name="connsiteX873" fmla="*/ 7585616 w 10529454"/>
              <a:gd name="connsiteY873" fmla="*/ 1471734 h 4415454"/>
              <a:gd name="connsiteX874" fmla="*/ 7558047 w 10529454"/>
              <a:gd name="connsiteY874" fmla="*/ 1482459 h 4415454"/>
              <a:gd name="connsiteX875" fmla="*/ 7510565 w 10529454"/>
              <a:gd name="connsiteY875" fmla="*/ 1491652 h 4415454"/>
              <a:gd name="connsiteX876" fmla="*/ 7481464 w 10529454"/>
              <a:gd name="connsiteY876" fmla="*/ 1500845 h 4415454"/>
              <a:gd name="connsiteX877" fmla="*/ 7481464 w 10529454"/>
              <a:gd name="connsiteY877" fmla="*/ 1500845 h 4415454"/>
              <a:gd name="connsiteX878" fmla="*/ 7510565 w 10529454"/>
              <a:gd name="connsiteY878" fmla="*/ 1491652 h 4415454"/>
              <a:gd name="connsiteX879" fmla="*/ 7558047 w 10529454"/>
              <a:gd name="connsiteY879" fmla="*/ 1482459 h 4415454"/>
              <a:gd name="connsiteX880" fmla="*/ 7585616 w 10529454"/>
              <a:gd name="connsiteY880" fmla="*/ 1471734 h 4415454"/>
              <a:gd name="connsiteX881" fmla="*/ 7653009 w 10529454"/>
              <a:gd name="connsiteY881" fmla="*/ 1453348 h 4415454"/>
              <a:gd name="connsiteX882" fmla="*/ 10140414 w 10529454"/>
              <a:gd name="connsiteY882" fmla="*/ 779203 h 4415454"/>
              <a:gd name="connsiteX883" fmla="*/ 10282857 w 10529454"/>
              <a:gd name="connsiteY883" fmla="*/ 759285 h 4415454"/>
              <a:gd name="connsiteX884" fmla="*/ 10301236 w 10529454"/>
              <a:gd name="connsiteY884" fmla="*/ 770010 h 4415454"/>
              <a:gd name="connsiteX885" fmla="*/ 10311957 w 10529454"/>
              <a:gd name="connsiteY885" fmla="*/ 806782 h 4415454"/>
              <a:gd name="connsiteX886" fmla="*/ 10092932 w 10529454"/>
              <a:gd name="connsiteY886" fmla="*/ 865003 h 4415454"/>
              <a:gd name="connsiteX887" fmla="*/ 9903007 w 10529454"/>
              <a:gd name="connsiteY887" fmla="*/ 940079 h 4415454"/>
              <a:gd name="connsiteX888" fmla="*/ 9731462 w 10529454"/>
              <a:gd name="connsiteY888" fmla="*/ 978383 h 4415454"/>
              <a:gd name="connsiteX889" fmla="*/ 9713082 w 10529454"/>
              <a:gd name="connsiteY889" fmla="*/ 996768 h 4415454"/>
              <a:gd name="connsiteX890" fmla="*/ 9541537 w 10529454"/>
              <a:gd name="connsiteY890" fmla="*/ 1045797 h 4415454"/>
              <a:gd name="connsiteX891" fmla="*/ 9703892 w 10529454"/>
              <a:gd name="connsiteY891" fmla="*/ 1016686 h 4415454"/>
              <a:gd name="connsiteX892" fmla="*/ 9903007 w 10529454"/>
              <a:gd name="connsiteY892" fmla="*/ 969189 h 4415454"/>
              <a:gd name="connsiteX893" fmla="*/ 9742184 w 10529454"/>
              <a:gd name="connsiteY893" fmla="*/ 1035072 h 4415454"/>
              <a:gd name="connsiteX894" fmla="*/ 9656411 w 10529454"/>
              <a:gd name="connsiteY894" fmla="*/ 1064182 h 4415454"/>
              <a:gd name="connsiteX895" fmla="*/ 9674791 w 10529454"/>
              <a:gd name="connsiteY895" fmla="*/ 1082568 h 4415454"/>
              <a:gd name="connsiteX896" fmla="*/ 9457296 w 10529454"/>
              <a:gd name="connsiteY896" fmla="*/ 1149983 h 4415454"/>
              <a:gd name="connsiteX897" fmla="*/ 8012947 w 10529454"/>
              <a:gd name="connsiteY897" fmla="*/ 1557534 h 4415454"/>
              <a:gd name="connsiteX898" fmla="*/ 7947086 w 10529454"/>
              <a:gd name="connsiteY898" fmla="*/ 1577452 h 4415454"/>
              <a:gd name="connsiteX899" fmla="*/ 7908794 w 10529454"/>
              <a:gd name="connsiteY899" fmla="*/ 1586645 h 4415454"/>
              <a:gd name="connsiteX900" fmla="*/ 7881225 w 10529454"/>
              <a:gd name="connsiteY900" fmla="*/ 1595838 h 4415454"/>
              <a:gd name="connsiteX901" fmla="*/ 7832212 w 10529454"/>
              <a:gd name="connsiteY901" fmla="*/ 1605030 h 4415454"/>
              <a:gd name="connsiteX902" fmla="*/ 7832212 w 10529454"/>
              <a:gd name="connsiteY902" fmla="*/ 1605030 h 4415454"/>
              <a:gd name="connsiteX903" fmla="*/ 7881225 w 10529454"/>
              <a:gd name="connsiteY903" fmla="*/ 1595838 h 4415454"/>
              <a:gd name="connsiteX904" fmla="*/ 7908794 w 10529454"/>
              <a:gd name="connsiteY904" fmla="*/ 1586645 h 4415454"/>
              <a:gd name="connsiteX905" fmla="*/ 7947086 w 10529454"/>
              <a:gd name="connsiteY905" fmla="*/ 1577452 h 4415454"/>
              <a:gd name="connsiteX906" fmla="*/ 8012947 w 10529454"/>
              <a:gd name="connsiteY906" fmla="*/ 1557534 h 4415454"/>
              <a:gd name="connsiteX907" fmla="*/ 9380714 w 10529454"/>
              <a:gd name="connsiteY907" fmla="*/ 1206672 h 4415454"/>
              <a:gd name="connsiteX908" fmla="*/ 9769754 w 10529454"/>
              <a:gd name="connsiteY908" fmla="*/ 1111679 h 4415454"/>
              <a:gd name="connsiteX909" fmla="*/ 9541537 w 10529454"/>
              <a:gd name="connsiteY909" fmla="*/ 1186754 h 4415454"/>
              <a:gd name="connsiteX910" fmla="*/ 9419005 w 10529454"/>
              <a:gd name="connsiteY910" fmla="*/ 1225058 h 4415454"/>
              <a:gd name="connsiteX911" fmla="*/ 8060428 w 10529454"/>
              <a:gd name="connsiteY911" fmla="*/ 1624949 h 4415454"/>
              <a:gd name="connsiteX912" fmla="*/ 7947086 w 10529454"/>
              <a:gd name="connsiteY912" fmla="*/ 1661720 h 4415454"/>
              <a:gd name="connsiteX913" fmla="*/ 7804642 w 10529454"/>
              <a:gd name="connsiteY913" fmla="*/ 1719942 h 4415454"/>
              <a:gd name="connsiteX914" fmla="*/ 7804642 w 10529454"/>
              <a:gd name="connsiteY914" fmla="*/ 1719942 h 4415454"/>
              <a:gd name="connsiteX915" fmla="*/ 7178196 w 10529454"/>
              <a:gd name="connsiteY915" fmla="*/ 1890011 h 4415454"/>
              <a:gd name="connsiteX916" fmla="*/ 7149095 w 10529454"/>
              <a:gd name="connsiteY916" fmla="*/ 1880818 h 4415454"/>
              <a:gd name="connsiteX917" fmla="*/ 7169006 w 10529454"/>
              <a:gd name="connsiteY917" fmla="*/ 1890011 h 4415454"/>
              <a:gd name="connsiteX918" fmla="*/ 7139905 w 10529454"/>
              <a:gd name="connsiteY918" fmla="*/ 1899203 h 4415454"/>
              <a:gd name="connsiteX919" fmla="*/ 7110804 w 10529454"/>
              <a:gd name="connsiteY919" fmla="*/ 1899203 h 4415454"/>
              <a:gd name="connsiteX920" fmla="*/ 7063323 w 10529454"/>
              <a:gd name="connsiteY920" fmla="*/ 1919121 h 4415454"/>
              <a:gd name="connsiteX921" fmla="*/ 7063323 w 10529454"/>
              <a:gd name="connsiteY921" fmla="*/ 1919121 h 4415454"/>
              <a:gd name="connsiteX922" fmla="*/ 7025031 w 10529454"/>
              <a:gd name="connsiteY922" fmla="*/ 1928315 h 4415454"/>
              <a:gd name="connsiteX923" fmla="*/ 7025031 w 10529454"/>
              <a:gd name="connsiteY923" fmla="*/ 1928315 h 4415454"/>
              <a:gd name="connsiteX924" fmla="*/ 6988271 w 10529454"/>
              <a:gd name="connsiteY924" fmla="*/ 1937507 h 4415454"/>
              <a:gd name="connsiteX925" fmla="*/ 6940791 w 10529454"/>
              <a:gd name="connsiteY925" fmla="*/ 1937507 h 4415454"/>
              <a:gd name="connsiteX926" fmla="*/ 6902499 w 10529454"/>
              <a:gd name="connsiteY926" fmla="*/ 1946700 h 4415454"/>
              <a:gd name="connsiteX927" fmla="*/ 6703384 w 10529454"/>
              <a:gd name="connsiteY927" fmla="*/ 2004921 h 4415454"/>
              <a:gd name="connsiteX928" fmla="*/ 6669431 w 10529454"/>
              <a:gd name="connsiteY928" fmla="*/ 2010840 h 4415454"/>
              <a:gd name="connsiteX929" fmla="*/ 6665523 w 10529454"/>
              <a:gd name="connsiteY929" fmla="*/ 2010380 h 4415454"/>
              <a:gd name="connsiteX930" fmla="*/ 6660190 w 10529454"/>
              <a:gd name="connsiteY930" fmla="*/ 2012450 h 4415454"/>
              <a:gd name="connsiteX931" fmla="*/ 6501206 w 10529454"/>
              <a:gd name="connsiteY931" fmla="*/ 2040161 h 4415454"/>
              <a:gd name="connsiteX932" fmla="*/ 6312812 w 10529454"/>
              <a:gd name="connsiteY932" fmla="*/ 2089190 h 4415454"/>
              <a:gd name="connsiteX933" fmla="*/ 6266863 w 10529454"/>
              <a:gd name="connsiteY933" fmla="*/ 2098383 h 4415454"/>
              <a:gd name="connsiteX934" fmla="*/ 6228571 w 10529454"/>
              <a:gd name="connsiteY934" fmla="*/ 2109108 h 4415454"/>
              <a:gd name="connsiteX935" fmla="*/ 6181090 w 10529454"/>
              <a:gd name="connsiteY935" fmla="*/ 2118300 h 4415454"/>
              <a:gd name="connsiteX936" fmla="*/ 6181090 w 10529454"/>
              <a:gd name="connsiteY936" fmla="*/ 2127494 h 4415454"/>
              <a:gd name="connsiteX937" fmla="*/ 6038647 w 10529454"/>
              <a:gd name="connsiteY937" fmla="*/ 2156603 h 4415454"/>
              <a:gd name="connsiteX938" fmla="*/ 5876291 w 10529454"/>
              <a:gd name="connsiteY938" fmla="*/ 2165797 h 4415454"/>
              <a:gd name="connsiteX939" fmla="*/ 4680071 w 10529454"/>
              <a:gd name="connsiteY939" fmla="*/ 2355783 h 4415454"/>
              <a:gd name="connsiteX940" fmla="*/ 2886506 w 10529454"/>
              <a:gd name="connsiteY940" fmla="*/ 2564156 h 4415454"/>
              <a:gd name="connsiteX941" fmla="*/ 2325920 w 10529454"/>
              <a:gd name="connsiteY941" fmla="*/ 2584073 h 4415454"/>
              <a:gd name="connsiteX942" fmla="*/ 2358874 w 10529454"/>
              <a:gd name="connsiteY942" fmla="*/ 2584073 h 4415454"/>
              <a:gd name="connsiteX943" fmla="*/ 2629188 w 10529454"/>
              <a:gd name="connsiteY943" fmla="*/ 2584073 h 4415454"/>
              <a:gd name="connsiteX944" fmla="*/ 4442664 w 10529454"/>
              <a:gd name="connsiteY944" fmla="*/ 2412473 h 4415454"/>
              <a:gd name="connsiteX945" fmla="*/ 5602126 w 10529454"/>
              <a:gd name="connsiteY945" fmla="*/ 2231680 h 4415454"/>
              <a:gd name="connsiteX946" fmla="*/ 5364719 w 10529454"/>
              <a:gd name="connsiteY946" fmla="*/ 2288368 h 4415454"/>
              <a:gd name="connsiteX947" fmla="*/ 4462576 w 10529454"/>
              <a:gd name="connsiteY947" fmla="*/ 2412473 h 4415454"/>
              <a:gd name="connsiteX948" fmla="*/ 2990657 w 10529454"/>
              <a:gd name="connsiteY948" fmla="*/ 2593266 h 4415454"/>
              <a:gd name="connsiteX949" fmla="*/ 2809922 w 10529454"/>
              <a:gd name="connsiteY949" fmla="*/ 2602459 h 4415454"/>
              <a:gd name="connsiteX950" fmla="*/ 2534226 w 10529454"/>
              <a:gd name="connsiteY950" fmla="*/ 2620845 h 4415454"/>
              <a:gd name="connsiteX951" fmla="*/ 2771632 w 10529454"/>
              <a:gd name="connsiteY951" fmla="*/ 2611653 h 4415454"/>
              <a:gd name="connsiteX952" fmla="*/ 3892801 w 10529454"/>
              <a:gd name="connsiteY952" fmla="*/ 2527384 h 4415454"/>
              <a:gd name="connsiteX953" fmla="*/ 5439771 w 10529454"/>
              <a:gd name="connsiteY953" fmla="*/ 2308287 h 4415454"/>
              <a:gd name="connsiteX954" fmla="*/ 6911689 w 10529454"/>
              <a:gd name="connsiteY954" fmla="*/ 2014115 h 4415454"/>
              <a:gd name="connsiteX955" fmla="*/ 9703892 w 10529454"/>
              <a:gd name="connsiteY955" fmla="*/ 1263361 h 4415454"/>
              <a:gd name="connsiteX956" fmla="*/ 9932108 w 10529454"/>
              <a:gd name="connsiteY956" fmla="*/ 1225058 h 4415454"/>
              <a:gd name="connsiteX957" fmla="*/ 9873906 w 10529454"/>
              <a:gd name="connsiteY957" fmla="*/ 1272555 h 4415454"/>
              <a:gd name="connsiteX958" fmla="*/ 9247459 w 10529454"/>
              <a:gd name="connsiteY958" fmla="*/ 1471734 h 4415454"/>
              <a:gd name="connsiteX959" fmla="*/ 9152496 w 10529454"/>
              <a:gd name="connsiteY959" fmla="*/ 1510038 h 4415454"/>
              <a:gd name="connsiteX960" fmla="*/ 9342421 w 10529454"/>
              <a:gd name="connsiteY960" fmla="*/ 1482459 h 4415454"/>
              <a:gd name="connsiteX961" fmla="*/ 9674791 w 10529454"/>
              <a:gd name="connsiteY961" fmla="*/ 1376741 h 4415454"/>
              <a:gd name="connsiteX962" fmla="*/ 9846336 w 10529454"/>
              <a:gd name="connsiteY962" fmla="*/ 1339969 h 4415454"/>
              <a:gd name="connsiteX963" fmla="*/ 9846336 w 10529454"/>
              <a:gd name="connsiteY963" fmla="*/ 1376741 h 4415454"/>
              <a:gd name="connsiteX964" fmla="*/ 9912197 w 10529454"/>
              <a:gd name="connsiteY964" fmla="*/ 1396658 h 4415454"/>
              <a:gd name="connsiteX965" fmla="*/ 9760565 w 10529454"/>
              <a:gd name="connsiteY965" fmla="*/ 1434962 h 4415454"/>
              <a:gd name="connsiteX966" fmla="*/ 9627308 w 10529454"/>
              <a:gd name="connsiteY966" fmla="*/ 1482459 h 4415454"/>
              <a:gd name="connsiteX967" fmla="*/ 9627308 w 10529454"/>
              <a:gd name="connsiteY967" fmla="*/ 1482459 h 4415454"/>
              <a:gd name="connsiteX968" fmla="*/ 10111312 w 10529454"/>
              <a:gd name="connsiteY968" fmla="*/ 1367548 h 4415454"/>
              <a:gd name="connsiteX969" fmla="*/ 10007159 w 10529454"/>
              <a:gd name="connsiteY969" fmla="*/ 1415045 h 4415454"/>
              <a:gd name="connsiteX970" fmla="*/ 9903007 w 10529454"/>
              <a:gd name="connsiteY970" fmla="*/ 1462541 h 4415454"/>
              <a:gd name="connsiteX971" fmla="*/ 10073021 w 10529454"/>
              <a:gd name="connsiteY971" fmla="*/ 1471734 h 4415454"/>
              <a:gd name="connsiteX972" fmla="*/ 9997969 w 10529454"/>
              <a:gd name="connsiteY972" fmla="*/ 1519230 h 4415454"/>
              <a:gd name="connsiteX973" fmla="*/ 9941298 w 10529454"/>
              <a:gd name="connsiteY973" fmla="*/ 1557534 h 4415454"/>
              <a:gd name="connsiteX974" fmla="*/ 10025538 w 10529454"/>
              <a:gd name="connsiteY974" fmla="*/ 1577452 h 4415454"/>
              <a:gd name="connsiteX975" fmla="*/ 9864716 w 10529454"/>
              <a:gd name="connsiteY975" fmla="*/ 1624949 h 4415454"/>
              <a:gd name="connsiteX976" fmla="*/ 9988779 w 10529454"/>
              <a:gd name="connsiteY976" fmla="*/ 1624949 h 4415454"/>
              <a:gd name="connsiteX977" fmla="*/ 9979590 w 10529454"/>
              <a:gd name="connsiteY977" fmla="*/ 1652527 h 4415454"/>
              <a:gd name="connsiteX978" fmla="*/ 9835614 w 10529454"/>
              <a:gd name="connsiteY978" fmla="*/ 1690831 h 4415454"/>
              <a:gd name="connsiteX979" fmla="*/ 9808044 w 10529454"/>
              <a:gd name="connsiteY979" fmla="*/ 1729135 h 4415454"/>
              <a:gd name="connsiteX980" fmla="*/ 9751374 w 10529454"/>
              <a:gd name="connsiteY980" fmla="*/ 1756714 h 4415454"/>
              <a:gd name="connsiteX981" fmla="*/ 9912197 w 10529454"/>
              <a:gd name="connsiteY981" fmla="*/ 1719942 h 4415454"/>
              <a:gd name="connsiteX982" fmla="*/ 9760565 w 10529454"/>
              <a:gd name="connsiteY982" fmla="*/ 1776631 h 4415454"/>
              <a:gd name="connsiteX983" fmla="*/ 8810939 w 10529454"/>
              <a:gd name="connsiteY983" fmla="*/ 2061612 h 4415454"/>
              <a:gd name="connsiteX984" fmla="*/ 8734356 w 10529454"/>
              <a:gd name="connsiteY984" fmla="*/ 2098383 h 4415454"/>
              <a:gd name="connsiteX985" fmla="*/ 8858419 w 10529454"/>
              <a:gd name="connsiteY985" fmla="*/ 2098383 h 4415454"/>
              <a:gd name="connsiteX986" fmla="*/ 8383606 w 10529454"/>
              <a:gd name="connsiteY986" fmla="*/ 2242404 h 4415454"/>
              <a:gd name="connsiteX987" fmla="*/ 8279454 w 10529454"/>
              <a:gd name="connsiteY987" fmla="*/ 2279177 h 4415454"/>
              <a:gd name="connsiteX988" fmla="*/ 8279454 w 10529454"/>
              <a:gd name="connsiteY988" fmla="*/ 2279177 h 4415454"/>
              <a:gd name="connsiteX989" fmla="*/ 8383606 w 10529454"/>
              <a:gd name="connsiteY989" fmla="*/ 2242404 h 4415454"/>
              <a:gd name="connsiteX990" fmla="*/ 9494056 w 10529454"/>
              <a:gd name="connsiteY990" fmla="*/ 1957424 h 4415454"/>
              <a:gd name="connsiteX991" fmla="*/ 9855525 w 10529454"/>
              <a:gd name="connsiteY991" fmla="*/ 1880818 h 4415454"/>
              <a:gd name="connsiteX992" fmla="*/ 9835614 w 10529454"/>
              <a:gd name="connsiteY992" fmla="*/ 1899203 h 4415454"/>
              <a:gd name="connsiteX993" fmla="*/ 10092932 w 10529454"/>
              <a:gd name="connsiteY993" fmla="*/ 1890011 h 4415454"/>
              <a:gd name="connsiteX994" fmla="*/ 9979590 w 10529454"/>
              <a:gd name="connsiteY994" fmla="*/ 1919121 h 4415454"/>
              <a:gd name="connsiteX995" fmla="*/ 9968868 w 10529454"/>
              <a:gd name="connsiteY995" fmla="*/ 1975811 h 4415454"/>
              <a:gd name="connsiteX996" fmla="*/ 9817234 w 10529454"/>
              <a:gd name="connsiteY996" fmla="*/ 2032500 h 4415454"/>
              <a:gd name="connsiteX997" fmla="*/ 9912197 w 10529454"/>
              <a:gd name="connsiteY997" fmla="*/ 2023308 h 4415454"/>
              <a:gd name="connsiteX998" fmla="*/ 9751374 w 10529454"/>
              <a:gd name="connsiteY998" fmla="*/ 2061612 h 4415454"/>
              <a:gd name="connsiteX999" fmla="*/ 9627308 w 10529454"/>
              <a:gd name="connsiteY999" fmla="*/ 2118300 h 4415454"/>
              <a:gd name="connsiteX1000" fmla="*/ 9276561 w 10529454"/>
              <a:gd name="connsiteY1000" fmla="*/ 2222487 h 4415454"/>
              <a:gd name="connsiteX1001" fmla="*/ 9181598 w 10529454"/>
              <a:gd name="connsiteY1001" fmla="*/ 2269983 h 4415454"/>
              <a:gd name="connsiteX1002" fmla="*/ 9446574 w 10529454"/>
              <a:gd name="connsiteY1002" fmla="*/ 2194908 h 4415454"/>
              <a:gd name="connsiteX1003" fmla="*/ 9760565 w 10529454"/>
              <a:gd name="connsiteY1003" fmla="*/ 2127494 h 4415454"/>
              <a:gd name="connsiteX1004" fmla="*/ 9959678 w 10529454"/>
              <a:gd name="connsiteY1004" fmla="*/ 2079997 h 4415454"/>
              <a:gd name="connsiteX1005" fmla="*/ 10049431 w 10529454"/>
              <a:gd name="connsiteY1005" fmla="*/ 2107857 h 4415454"/>
              <a:gd name="connsiteX1006" fmla="*/ 10053394 w 10529454"/>
              <a:gd name="connsiteY1006" fmla="*/ 2108809 h 4415454"/>
              <a:gd name="connsiteX1007" fmla="*/ 10051459 w 10529454"/>
              <a:gd name="connsiteY1007" fmla="*/ 2112148 h 4415454"/>
              <a:gd name="connsiteX1008" fmla="*/ 10016348 w 10529454"/>
              <a:gd name="connsiteY1008" fmla="*/ 2165797 h 4415454"/>
              <a:gd name="connsiteX1009" fmla="*/ 9921386 w 10529454"/>
              <a:gd name="connsiteY1009" fmla="*/ 2184183 h 4415454"/>
              <a:gd name="connsiteX1010" fmla="*/ 9864716 w 10529454"/>
              <a:gd name="connsiteY1010" fmla="*/ 2231680 h 4415454"/>
              <a:gd name="connsiteX1011" fmla="*/ 9789665 w 10529454"/>
              <a:gd name="connsiteY1011" fmla="*/ 2251597 h 4415454"/>
              <a:gd name="connsiteX1012" fmla="*/ 9552259 w 10529454"/>
              <a:gd name="connsiteY1012" fmla="*/ 2355783 h 4415454"/>
              <a:gd name="connsiteX1013" fmla="*/ 9484866 w 10529454"/>
              <a:gd name="connsiteY1013" fmla="*/ 2374169 h 4415454"/>
              <a:gd name="connsiteX1014" fmla="*/ 9446574 w 10529454"/>
              <a:gd name="connsiteY1014" fmla="*/ 2384894 h 4415454"/>
              <a:gd name="connsiteX1015" fmla="*/ 9446574 w 10529454"/>
              <a:gd name="connsiteY1015" fmla="*/ 2384894 h 4415454"/>
              <a:gd name="connsiteX1016" fmla="*/ 9484866 w 10529454"/>
              <a:gd name="connsiteY1016" fmla="*/ 2374169 h 4415454"/>
              <a:gd name="connsiteX1017" fmla="*/ 9552259 w 10529454"/>
              <a:gd name="connsiteY1017" fmla="*/ 2355783 h 4415454"/>
              <a:gd name="connsiteX1018" fmla="*/ 9997969 w 10529454"/>
              <a:gd name="connsiteY1018" fmla="*/ 2308287 h 4415454"/>
              <a:gd name="connsiteX1019" fmla="*/ 10083742 w 10529454"/>
              <a:gd name="connsiteY1019" fmla="*/ 2299094 h 4415454"/>
              <a:gd name="connsiteX1020" fmla="*/ 9997969 w 10529454"/>
              <a:gd name="connsiteY1020" fmla="*/ 2308287 h 4415454"/>
              <a:gd name="connsiteX1021" fmla="*/ 10122033 w 10529454"/>
              <a:gd name="connsiteY1021" fmla="*/ 2299094 h 4415454"/>
              <a:gd name="connsiteX1022" fmla="*/ 10025538 w 10529454"/>
              <a:gd name="connsiteY1022" fmla="*/ 2326673 h 4415454"/>
              <a:gd name="connsiteX1023" fmla="*/ 9769754 w 10529454"/>
              <a:gd name="connsiteY1023" fmla="*/ 2394087 h 4415454"/>
              <a:gd name="connsiteX1024" fmla="*/ 9941298 w 10529454"/>
              <a:gd name="connsiteY1024" fmla="*/ 2374169 h 4415454"/>
              <a:gd name="connsiteX1025" fmla="*/ 9988779 w 10529454"/>
              <a:gd name="connsiteY1025" fmla="*/ 2374169 h 4415454"/>
              <a:gd name="connsiteX1026" fmla="*/ 9883096 w 10529454"/>
              <a:gd name="connsiteY1026" fmla="*/ 2394087 h 4415454"/>
              <a:gd name="connsiteX1027" fmla="*/ 9656411 w 10529454"/>
              <a:gd name="connsiteY1027" fmla="*/ 2478356 h 4415454"/>
              <a:gd name="connsiteX1028" fmla="*/ 9665601 w 10529454"/>
              <a:gd name="connsiteY1028" fmla="*/ 2498273 h 4415454"/>
              <a:gd name="connsiteX1029" fmla="*/ 9656411 w 10529454"/>
              <a:gd name="connsiteY1029" fmla="*/ 2489081 h 4415454"/>
              <a:gd name="connsiteX1030" fmla="*/ 9665601 w 10529454"/>
              <a:gd name="connsiteY1030" fmla="*/ 2498273 h 4415454"/>
              <a:gd name="connsiteX1031" fmla="*/ 9808044 w 10529454"/>
              <a:gd name="connsiteY1031" fmla="*/ 2498273 h 4415454"/>
              <a:gd name="connsiteX1032" fmla="*/ 9636499 w 10529454"/>
              <a:gd name="connsiteY1032" fmla="*/ 2564156 h 4415454"/>
              <a:gd name="connsiteX1033" fmla="*/ 9437384 w 10529454"/>
              <a:gd name="connsiteY1033" fmla="*/ 2659149 h 4415454"/>
              <a:gd name="connsiteX1034" fmla="*/ 9437384 w 10529454"/>
              <a:gd name="connsiteY1034" fmla="*/ 2659149 h 4415454"/>
              <a:gd name="connsiteX1035" fmla="*/ 9618119 w 10529454"/>
              <a:gd name="connsiteY1035" fmla="*/ 2631570 h 4415454"/>
              <a:gd name="connsiteX1036" fmla="*/ 9380714 w 10529454"/>
              <a:gd name="connsiteY1036" fmla="*/ 2717370 h 4415454"/>
              <a:gd name="connsiteX1037" fmla="*/ 9380714 w 10529454"/>
              <a:gd name="connsiteY1037" fmla="*/ 2717370 h 4415454"/>
              <a:gd name="connsiteX1038" fmla="*/ 9645689 w 10529454"/>
              <a:gd name="connsiteY1038" fmla="*/ 2649956 h 4415454"/>
              <a:gd name="connsiteX1039" fmla="*/ 9608930 w 10529454"/>
              <a:gd name="connsiteY1039" fmla="*/ 2697453 h 4415454"/>
              <a:gd name="connsiteX1040" fmla="*/ 9199979 w 10529454"/>
              <a:gd name="connsiteY1040" fmla="*/ 2810832 h 4415454"/>
              <a:gd name="connsiteX1041" fmla="*/ 9224316 w 10529454"/>
              <a:gd name="connsiteY1041" fmla="*/ 2835610 h 4415454"/>
              <a:gd name="connsiteX1042" fmla="*/ 9232899 w 10529454"/>
              <a:gd name="connsiteY1042" fmla="*/ 2833990 h 4415454"/>
              <a:gd name="connsiteX1043" fmla="*/ 9214793 w 10529454"/>
              <a:gd name="connsiteY1043" fmla="*/ 2844922 h 4415454"/>
              <a:gd name="connsiteX1044" fmla="*/ 9086636 w 10529454"/>
              <a:gd name="connsiteY1044" fmla="*/ 2896632 h 4415454"/>
              <a:gd name="connsiteX1045" fmla="*/ 8591912 w 10529454"/>
              <a:gd name="connsiteY1045" fmla="*/ 3039122 h 4415454"/>
              <a:gd name="connsiteX1046" fmla="*/ 6902499 w 10529454"/>
              <a:gd name="connsiteY1046" fmla="*/ 3495702 h 4415454"/>
              <a:gd name="connsiteX1047" fmla="*/ 6493547 w 10529454"/>
              <a:gd name="connsiteY1047" fmla="*/ 3570776 h 4415454"/>
              <a:gd name="connsiteX1048" fmla="*/ 5677176 w 10529454"/>
              <a:gd name="connsiteY1048" fmla="*/ 3742377 h 4415454"/>
              <a:gd name="connsiteX1049" fmla="*/ 4813324 w 10529454"/>
              <a:gd name="connsiteY1049" fmla="*/ 3846564 h 4415454"/>
              <a:gd name="connsiteX1050" fmla="*/ 3949473 w 10529454"/>
              <a:gd name="connsiteY1050" fmla="*/ 3949217 h 4415454"/>
              <a:gd name="connsiteX1051" fmla="*/ 3076430 w 10529454"/>
              <a:gd name="connsiteY1051" fmla="*/ 4054936 h 4415454"/>
              <a:gd name="connsiteX1052" fmla="*/ 1466830 w 10529454"/>
              <a:gd name="connsiteY1052" fmla="*/ 4098243 h 4415454"/>
              <a:gd name="connsiteX1053" fmla="*/ 892293 w 10529454"/>
              <a:gd name="connsiteY1053" fmla="*/ 4082514 h 4415454"/>
              <a:gd name="connsiteX1054" fmla="*/ 598214 w 10529454"/>
              <a:gd name="connsiteY1054" fmla="*/ 4054936 h 4415454"/>
              <a:gd name="connsiteX1055" fmla="*/ 189264 w 10529454"/>
              <a:gd name="connsiteY1055" fmla="*/ 4007440 h 4415454"/>
              <a:gd name="connsiteX1056" fmla="*/ 123402 w 10529454"/>
              <a:gd name="connsiteY1056" fmla="*/ 3958411 h 4415454"/>
              <a:gd name="connsiteX1057" fmla="*/ 94301 w 10529454"/>
              <a:gd name="connsiteY1057" fmla="*/ 3930832 h 4415454"/>
              <a:gd name="connsiteX1058" fmla="*/ 408291 w 10529454"/>
              <a:gd name="connsiteY1058" fmla="*/ 3978328 h 4415454"/>
              <a:gd name="connsiteX1059" fmla="*/ 768229 w 10529454"/>
              <a:gd name="connsiteY1059" fmla="*/ 4007440 h 4415454"/>
              <a:gd name="connsiteX1060" fmla="*/ 2174286 w 10529454"/>
              <a:gd name="connsiteY1060" fmla="*/ 4007440 h 4415454"/>
              <a:gd name="connsiteX1061" fmla="*/ 2316730 w 10529454"/>
              <a:gd name="connsiteY1061" fmla="*/ 3996714 h 4415454"/>
              <a:gd name="connsiteX1062" fmla="*/ 1936881 w 10529454"/>
              <a:gd name="connsiteY1062" fmla="*/ 3996714 h 4415454"/>
              <a:gd name="connsiteX1063" fmla="*/ 1584601 w 10529454"/>
              <a:gd name="connsiteY1063" fmla="*/ 3987521 h 4415454"/>
              <a:gd name="connsiteX1064" fmla="*/ 1062307 w 10529454"/>
              <a:gd name="connsiteY1064" fmla="*/ 3987521 h 4415454"/>
              <a:gd name="connsiteX1065" fmla="*/ 245935 w 10529454"/>
              <a:gd name="connsiteY1065" fmla="*/ 3883335 h 4415454"/>
              <a:gd name="connsiteX1066" fmla="*/ 112681 w 10529454"/>
              <a:gd name="connsiteY1066" fmla="*/ 3818985 h 4415454"/>
              <a:gd name="connsiteX1067" fmla="*/ 189264 w 10529454"/>
              <a:gd name="connsiteY1067" fmla="*/ 3780681 h 4415454"/>
              <a:gd name="connsiteX1068" fmla="*/ 28440 w 10529454"/>
              <a:gd name="connsiteY1068" fmla="*/ 3742377 h 4415454"/>
              <a:gd name="connsiteX1069" fmla="*/ 75922 w 10529454"/>
              <a:gd name="connsiteY1069" fmla="*/ 3713267 h 4415454"/>
              <a:gd name="connsiteX1070" fmla="*/ 85112 w 10529454"/>
              <a:gd name="connsiteY1070" fmla="*/ 3694881 h 4415454"/>
              <a:gd name="connsiteX1071" fmla="*/ 46820 w 10529454"/>
              <a:gd name="connsiteY1071" fmla="*/ 3665770 h 4415454"/>
              <a:gd name="connsiteX1072" fmla="*/ 189264 w 10529454"/>
              <a:gd name="connsiteY1072" fmla="*/ 3685688 h 4415454"/>
              <a:gd name="connsiteX1073" fmla="*/ 255125 w 10529454"/>
              <a:gd name="connsiteY1073" fmla="*/ 3628999 h 4415454"/>
              <a:gd name="connsiteX1074" fmla="*/ 388379 w 10529454"/>
              <a:gd name="connsiteY1074" fmla="*/ 3628999 h 4415454"/>
              <a:gd name="connsiteX1075" fmla="*/ 207643 w 10529454"/>
              <a:gd name="connsiteY1075" fmla="*/ 3590695 h 4415454"/>
              <a:gd name="connsiteX1076" fmla="*/ 132592 w 10529454"/>
              <a:gd name="connsiteY1076" fmla="*/ 3514087 h 4415454"/>
              <a:gd name="connsiteX1077" fmla="*/ 65200 w 10529454"/>
              <a:gd name="connsiteY1077" fmla="*/ 3466591 h 4415454"/>
              <a:gd name="connsiteX1078" fmla="*/ 255125 w 10529454"/>
              <a:gd name="connsiteY1078" fmla="*/ 3448205 h 4415454"/>
              <a:gd name="connsiteX1079" fmla="*/ 150972 w 10529454"/>
              <a:gd name="connsiteY1079" fmla="*/ 3419094 h 4415454"/>
              <a:gd name="connsiteX1080" fmla="*/ 123402 w 10529454"/>
              <a:gd name="connsiteY1080" fmla="*/ 3333294 h 4415454"/>
              <a:gd name="connsiteX1081" fmla="*/ 189264 w 10529454"/>
              <a:gd name="connsiteY1081" fmla="*/ 3229108 h 4415454"/>
              <a:gd name="connsiteX1082" fmla="*/ 302606 w 10529454"/>
              <a:gd name="connsiteY1082" fmla="*/ 3238301 h 4415454"/>
              <a:gd name="connsiteX1083" fmla="*/ 331707 w 10529454"/>
              <a:gd name="connsiteY1083" fmla="*/ 3181611 h 4415454"/>
              <a:gd name="connsiteX1084" fmla="*/ 729938 w 10529454"/>
              <a:gd name="connsiteY1084" fmla="*/ 3229108 h 4415454"/>
              <a:gd name="connsiteX1085" fmla="*/ 872381 w 10529454"/>
              <a:gd name="connsiteY1085" fmla="*/ 3219915 h 4415454"/>
              <a:gd name="connsiteX1086" fmla="*/ 408291 w 10529454"/>
              <a:gd name="connsiteY1086" fmla="*/ 3163226 h 4415454"/>
              <a:gd name="connsiteX1087" fmla="*/ 265846 w 10529454"/>
              <a:gd name="connsiteY1087" fmla="*/ 3106536 h 4415454"/>
              <a:gd name="connsiteX1088" fmla="*/ 198453 w 10529454"/>
              <a:gd name="connsiteY1088" fmla="*/ 3059039 h 4415454"/>
              <a:gd name="connsiteX1089" fmla="*/ 245935 w 10529454"/>
              <a:gd name="connsiteY1089" fmla="*/ 3000817 h 4415454"/>
              <a:gd name="connsiteX1090" fmla="*/ 255125 w 10529454"/>
              <a:gd name="connsiteY1090" fmla="*/ 2953321 h 4415454"/>
              <a:gd name="connsiteX1091" fmla="*/ 207643 w 10529454"/>
              <a:gd name="connsiteY1091" fmla="*/ 2887438 h 4415454"/>
              <a:gd name="connsiteX1092" fmla="*/ 445050 w 10529454"/>
              <a:gd name="connsiteY1092" fmla="*/ 2907357 h 4415454"/>
              <a:gd name="connsiteX1093" fmla="*/ 408291 w 10529454"/>
              <a:gd name="connsiteY1093" fmla="*/ 2887438 h 4415454"/>
              <a:gd name="connsiteX1094" fmla="*/ 275036 w 10529454"/>
              <a:gd name="connsiteY1094" fmla="*/ 2839942 h 4415454"/>
              <a:gd name="connsiteX1095" fmla="*/ 207643 w 10529454"/>
              <a:gd name="connsiteY1095" fmla="*/ 2801638 h 4415454"/>
              <a:gd name="connsiteX1096" fmla="*/ 322517 w 10529454"/>
              <a:gd name="connsiteY1096" fmla="*/ 2792445 h 4415454"/>
              <a:gd name="connsiteX1097" fmla="*/ 255125 w 10529454"/>
              <a:gd name="connsiteY1097" fmla="*/ 2726563 h 4415454"/>
              <a:gd name="connsiteX1098" fmla="*/ 388379 w 10529454"/>
              <a:gd name="connsiteY1098" fmla="*/ 2697453 h 4415454"/>
              <a:gd name="connsiteX1099" fmla="*/ 302606 w 10529454"/>
              <a:gd name="connsiteY1099" fmla="*/ 2620845 h 4415454"/>
              <a:gd name="connsiteX1100" fmla="*/ 521632 w 10529454"/>
              <a:gd name="connsiteY1100" fmla="*/ 2640763 h 4415454"/>
              <a:gd name="connsiteX1101" fmla="*/ 530822 w 10529454"/>
              <a:gd name="connsiteY1101" fmla="*/ 2640763 h 4415454"/>
              <a:gd name="connsiteX1102" fmla="*/ 521632 w 10529454"/>
              <a:gd name="connsiteY1102" fmla="*/ 2593266 h 4415454"/>
              <a:gd name="connsiteX1103" fmla="*/ 530822 w 10529454"/>
              <a:gd name="connsiteY1103" fmla="*/ 2640763 h 4415454"/>
              <a:gd name="connsiteX1104" fmla="*/ 521632 w 10529454"/>
              <a:gd name="connsiteY1104" fmla="*/ 2640763 h 4415454"/>
              <a:gd name="connsiteX1105" fmla="*/ 503252 w 10529454"/>
              <a:gd name="connsiteY1105" fmla="*/ 2574881 h 4415454"/>
              <a:gd name="connsiteX1106" fmla="*/ 521632 w 10529454"/>
              <a:gd name="connsiteY1106" fmla="*/ 2574881 h 4415454"/>
              <a:gd name="connsiteX1107" fmla="*/ 503252 w 10529454"/>
              <a:gd name="connsiteY1107" fmla="*/ 2574881 h 4415454"/>
              <a:gd name="connsiteX1108" fmla="*/ 331707 w 10529454"/>
              <a:gd name="connsiteY1108" fmla="*/ 2507466 h 4415454"/>
              <a:gd name="connsiteX1109" fmla="*/ 625785 w 10529454"/>
              <a:gd name="connsiteY1109" fmla="*/ 2564156 h 4415454"/>
              <a:gd name="connsiteX1110" fmla="*/ 854001 w 10529454"/>
              <a:gd name="connsiteY1110" fmla="*/ 2564156 h 4415454"/>
              <a:gd name="connsiteX1111" fmla="*/ 702367 w 10529454"/>
              <a:gd name="connsiteY1111" fmla="*/ 2545770 h 4415454"/>
              <a:gd name="connsiteX1112" fmla="*/ 331707 w 10529454"/>
              <a:gd name="connsiteY1112" fmla="*/ 2450777 h 4415454"/>
              <a:gd name="connsiteX1113" fmla="*/ 426670 w 10529454"/>
              <a:gd name="connsiteY1113" fmla="*/ 2459970 h 4415454"/>
              <a:gd name="connsiteX1114" fmla="*/ 616594 w 10529454"/>
              <a:gd name="connsiteY1114" fmla="*/ 2450777 h 4415454"/>
              <a:gd name="connsiteX1115" fmla="*/ 645696 w 10529454"/>
              <a:gd name="connsiteY1115" fmla="*/ 2430859 h 4415454"/>
              <a:gd name="connsiteX1116" fmla="*/ 939774 w 10529454"/>
              <a:gd name="connsiteY1116" fmla="*/ 2450777 h 4415454"/>
              <a:gd name="connsiteX1117" fmla="*/ 749848 w 10529454"/>
              <a:gd name="connsiteY1117" fmla="*/ 2430859 h 4415454"/>
              <a:gd name="connsiteX1118" fmla="*/ 607405 w 10529454"/>
              <a:gd name="connsiteY1118" fmla="*/ 2374169 h 4415454"/>
              <a:gd name="connsiteX1119" fmla="*/ 625785 w 10529454"/>
              <a:gd name="connsiteY1119" fmla="*/ 2355783 h 4415454"/>
              <a:gd name="connsiteX1120" fmla="*/ 369998 w 10529454"/>
              <a:gd name="connsiteY1120" fmla="*/ 2269983 h 4415454"/>
              <a:gd name="connsiteX1121" fmla="*/ 616594 w 10529454"/>
              <a:gd name="connsiteY1121" fmla="*/ 2251597 h 4415454"/>
              <a:gd name="connsiteX1122" fmla="*/ 844811 w 10529454"/>
              <a:gd name="connsiteY1122" fmla="*/ 2269983 h 4415454"/>
              <a:gd name="connsiteX1123" fmla="*/ 777418 w 10529454"/>
              <a:gd name="connsiteY1123" fmla="*/ 2231680 h 4415454"/>
              <a:gd name="connsiteX1124" fmla="*/ 616594 w 10529454"/>
              <a:gd name="connsiteY1124" fmla="*/ 2184183 h 4415454"/>
              <a:gd name="connsiteX1125" fmla="*/ 598214 w 10529454"/>
              <a:gd name="connsiteY1125" fmla="*/ 2156603 h 4415454"/>
              <a:gd name="connsiteX1126" fmla="*/ 408291 w 10529454"/>
              <a:gd name="connsiteY1126" fmla="*/ 2118300 h 4415454"/>
              <a:gd name="connsiteX1127" fmla="*/ 379189 w 10529454"/>
              <a:gd name="connsiteY1127" fmla="*/ 2070803 h 4415454"/>
              <a:gd name="connsiteX1128" fmla="*/ 598214 w 10529454"/>
              <a:gd name="connsiteY1128" fmla="*/ 2109108 h 4415454"/>
              <a:gd name="connsiteX1129" fmla="*/ 720748 w 10529454"/>
              <a:gd name="connsiteY1129" fmla="*/ 2079997 h 4415454"/>
              <a:gd name="connsiteX1130" fmla="*/ 598214 w 10529454"/>
              <a:gd name="connsiteY1130" fmla="*/ 2061612 h 4415454"/>
              <a:gd name="connsiteX1131" fmla="*/ 598214 w 10529454"/>
              <a:gd name="connsiteY1131" fmla="*/ 2014115 h 4415454"/>
              <a:gd name="connsiteX1132" fmla="*/ 455771 w 10529454"/>
              <a:gd name="connsiteY1132" fmla="*/ 1994197 h 4415454"/>
              <a:gd name="connsiteX1133" fmla="*/ 455771 w 10529454"/>
              <a:gd name="connsiteY1133" fmla="*/ 1919121 h 4415454"/>
              <a:gd name="connsiteX1134" fmla="*/ 587493 w 10529454"/>
              <a:gd name="connsiteY1134" fmla="*/ 1946700 h 4415454"/>
              <a:gd name="connsiteX1135" fmla="*/ 492532 w 10529454"/>
              <a:gd name="connsiteY1135" fmla="*/ 1880818 h 4415454"/>
              <a:gd name="connsiteX1136" fmla="*/ 664077 w 10529454"/>
              <a:gd name="connsiteY1136" fmla="*/ 1908396 h 4415454"/>
              <a:gd name="connsiteX1137" fmla="*/ 682456 w 10529454"/>
              <a:gd name="connsiteY1137" fmla="*/ 1890011 h 4415454"/>
              <a:gd name="connsiteX1138" fmla="*/ 682456 w 10529454"/>
              <a:gd name="connsiteY1138" fmla="*/ 1851707 h 4415454"/>
              <a:gd name="connsiteX1139" fmla="*/ 749848 w 10529454"/>
              <a:gd name="connsiteY1139" fmla="*/ 1814935 h 4415454"/>
              <a:gd name="connsiteX1140" fmla="*/ 892293 w 10529454"/>
              <a:gd name="connsiteY1140" fmla="*/ 1833321 h 4415454"/>
              <a:gd name="connsiteX1141" fmla="*/ 892293 w 10529454"/>
              <a:gd name="connsiteY1141" fmla="*/ 1833321 h 4415454"/>
              <a:gd name="connsiteX1142" fmla="*/ 749848 w 10529454"/>
              <a:gd name="connsiteY1142" fmla="*/ 1814935 h 4415454"/>
              <a:gd name="connsiteX1143" fmla="*/ 530822 w 10529454"/>
              <a:gd name="connsiteY1143" fmla="*/ 1729135 h 4415454"/>
              <a:gd name="connsiteX1144" fmla="*/ 598214 w 10529454"/>
              <a:gd name="connsiteY1144" fmla="*/ 1738327 h 4415454"/>
              <a:gd name="connsiteX1145" fmla="*/ 578304 w 10529454"/>
              <a:gd name="connsiteY1145" fmla="*/ 1738327 h 4415454"/>
              <a:gd name="connsiteX1146" fmla="*/ 598214 w 10529454"/>
              <a:gd name="connsiteY1146" fmla="*/ 1738327 h 4415454"/>
              <a:gd name="connsiteX1147" fmla="*/ 673266 w 10529454"/>
              <a:gd name="connsiteY1147" fmla="*/ 1738327 h 4415454"/>
              <a:gd name="connsiteX1148" fmla="*/ 625785 w 10529454"/>
              <a:gd name="connsiteY1148" fmla="*/ 1700024 h 4415454"/>
              <a:gd name="connsiteX1149" fmla="*/ 569114 w 10529454"/>
              <a:gd name="connsiteY1149" fmla="*/ 1681639 h 4415454"/>
              <a:gd name="connsiteX1150" fmla="*/ 607405 w 10529454"/>
              <a:gd name="connsiteY1150" fmla="*/ 1643334 h 4415454"/>
              <a:gd name="connsiteX1151" fmla="*/ 654886 w 10529454"/>
              <a:gd name="connsiteY1151" fmla="*/ 1624949 h 4415454"/>
              <a:gd name="connsiteX1152" fmla="*/ 1034736 w 10529454"/>
              <a:gd name="connsiteY1152" fmla="*/ 1643334 h 4415454"/>
              <a:gd name="connsiteX1153" fmla="*/ 3313836 w 10529454"/>
              <a:gd name="connsiteY1153" fmla="*/ 1605030 h 4415454"/>
              <a:gd name="connsiteX1154" fmla="*/ 3388887 w 10529454"/>
              <a:gd name="connsiteY1154" fmla="*/ 1595838 h 4415454"/>
              <a:gd name="connsiteX1155" fmla="*/ 2999847 w 10529454"/>
              <a:gd name="connsiteY1155" fmla="*/ 1614224 h 4415454"/>
              <a:gd name="connsiteX1156" fmla="*/ 1537119 w 10529454"/>
              <a:gd name="connsiteY1156" fmla="*/ 1643334 h 4415454"/>
              <a:gd name="connsiteX1157" fmla="*/ 939774 w 10529454"/>
              <a:gd name="connsiteY1157" fmla="*/ 1595838 h 4415454"/>
              <a:gd name="connsiteX1158" fmla="*/ 768229 w 10529454"/>
              <a:gd name="connsiteY1158" fmla="*/ 1566727 h 4415454"/>
              <a:gd name="connsiteX1159" fmla="*/ 654886 w 10529454"/>
              <a:gd name="connsiteY1159" fmla="*/ 1491652 h 4415454"/>
              <a:gd name="connsiteX1160" fmla="*/ 1014824 w 10529454"/>
              <a:gd name="connsiteY1160" fmla="*/ 1519230 h 4415454"/>
              <a:gd name="connsiteX1161" fmla="*/ 2610808 w 10529454"/>
              <a:gd name="connsiteY1161" fmla="*/ 1529956 h 4415454"/>
              <a:gd name="connsiteX1162" fmla="*/ 5079832 w 10529454"/>
              <a:gd name="connsiteY1162" fmla="*/ 1254169 h 4415454"/>
              <a:gd name="connsiteX1163" fmla="*/ 5991165 w 10529454"/>
              <a:gd name="connsiteY1163" fmla="*/ 1111679 h 4415454"/>
              <a:gd name="connsiteX1164" fmla="*/ 9362334 w 10529454"/>
              <a:gd name="connsiteY1164" fmla="*/ 227629 h 4415454"/>
              <a:gd name="connsiteX1165" fmla="*/ 9979590 w 10529454"/>
              <a:gd name="connsiteY1165" fmla="*/ 46836 h 4415454"/>
              <a:gd name="connsiteX1166" fmla="*/ 10083742 w 10529454"/>
              <a:gd name="connsiteY1166" fmla="*/ 19257 h 4415454"/>
              <a:gd name="connsiteX1167" fmla="*/ 10130458 w 10529454"/>
              <a:gd name="connsiteY1167" fmla="*/ 1446 h 4415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Lst>
            <a:rect l="l" t="t" r="r" b="b"/>
            <a:pathLst>
              <a:path w="10529454" h="4415454">
                <a:moveTo>
                  <a:pt x="428968" y="4326893"/>
                </a:moveTo>
                <a:cubicBezTo>
                  <a:pt x="435860" y="4329190"/>
                  <a:pt x="440455" y="4333787"/>
                  <a:pt x="435860" y="4338384"/>
                </a:cubicBezTo>
                <a:lnTo>
                  <a:pt x="408291" y="4329190"/>
                </a:lnTo>
                <a:cubicBezTo>
                  <a:pt x="412885" y="4324594"/>
                  <a:pt x="422075" y="4324594"/>
                  <a:pt x="428968" y="4326893"/>
                </a:cubicBezTo>
                <a:close/>
                <a:moveTo>
                  <a:pt x="366241" y="4221126"/>
                </a:moveTo>
                <a:lnTo>
                  <a:pt x="362204" y="4222096"/>
                </a:lnTo>
                <a:lnTo>
                  <a:pt x="355472" y="4223712"/>
                </a:lnTo>
                <a:cubicBezTo>
                  <a:pt x="352480" y="4224430"/>
                  <a:pt x="350087" y="4225005"/>
                  <a:pt x="350087" y="4225005"/>
                </a:cubicBezTo>
                <a:lnTo>
                  <a:pt x="362204" y="4222096"/>
                </a:lnTo>
                <a:lnTo>
                  <a:pt x="364447" y="4221557"/>
                </a:lnTo>
                <a:cubicBezTo>
                  <a:pt x="366840" y="4220982"/>
                  <a:pt x="368036" y="4220695"/>
                  <a:pt x="366241" y="4221126"/>
                </a:cubicBezTo>
                <a:close/>
                <a:moveTo>
                  <a:pt x="676712" y="4071024"/>
                </a:moveTo>
                <a:cubicBezTo>
                  <a:pt x="682456" y="4073321"/>
                  <a:pt x="687050" y="4077918"/>
                  <a:pt x="682456" y="4082514"/>
                </a:cubicBezTo>
                <a:lnTo>
                  <a:pt x="664077" y="4073322"/>
                </a:lnTo>
                <a:cubicBezTo>
                  <a:pt x="664077" y="4068725"/>
                  <a:pt x="670969" y="4068725"/>
                  <a:pt x="676712" y="4071024"/>
                </a:cubicBezTo>
                <a:close/>
                <a:moveTo>
                  <a:pt x="2405519" y="3982709"/>
                </a:moveTo>
                <a:cubicBezTo>
                  <a:pt x="2386421" y="3981872"/>
                  <a:pt x="2371104" y="3982925"/>
                  <a:pt x="2364212" y="3987521"/>
                </a:cubicBezTo>
                <a:cubicBezTo>
                  <a:pt x="2364212" y="3987521"/>
                  <a:pt x="2459844" y="4009068"/>
                  <a:pt x="2516060" y="4007559"/>
                </a:cubicBezTo>
                <a:cubicBezTo>
                  <a:pt x="2534800" y="4007057"/>
                  <a:pt x="2549158" y="4003991"/>
                  <a:pt x="2554137" y="3996714"/>
                </a:cubicBezTo>
                <a:cubicBezTo>
                  <a:pt x="2554137" y="4004758"/>
                  <a:pt x="2462812" y="3985224"/>
                  <a:pt x="2405519" y="3982709"/>
                </a:cubicBezTo>
                <a:close/>
                <a:moveTo>
                  <a:pt x="2629188" y="3978328"/>
                </a:moveTo>
                <a:cubicBezTo>
                  <a:pt x="2624592" y="3987521"/>
                  <a:pt x="2677051" y="3989820"/>
                  <a:pt x="2717448" y="3988671"/>
                </a:cubicBezTo>
                <a:cubicBezTo>
                  <a:pt x="2757847" y="3987521"/>
                  <a:pt x="2786182" y="3982925"/>
                  <a:pt x="2733340" y="3978328"/>
                </a:cubicBezTo>
                <a:cubicBezTo>
                  <a:pt x="2733340" y="3978328"/>
                  <a:pt x="2639909" y="3978328"/>
                  <a:pt x="2629188" y="3978328"/>
                </a:cubicBezTo>
                <a:close/>
                <a:moveTo>
                  <a:pt x="6209652" y="3952716"/>
                </a:moveTo>
                <a:lnTo>
                  <a:pt x="6214072" y="3953258"/>
                </a:lnTo>
                <a:cubicBezTo>
                  <a:pt x="6214805" y="3953347"/>
                  <a:pt x="6214511" y="3953312"/>
                  <a:pt x="6212753" y="3953096"/>
                </a:cubicBezTo>
                <a:close/>
                <a:moveTo>
                  <a:pt x="6203118" y="3951916"/>
                </a:moveTo>
                <a:lnTo>
                  <a:pt x="6209235" y="3952665"/>
                </a:lnTo>
                <a:lnTo>
                  <a:pt x="6209652" y="3952716"/>
                </a:lnTo>
                <a:close/>
                <a:moveTo>
                  <a:pt x="6191814" y="3950531"/>
                </a:moveTo>
                <a:lnTo>
                  <a:pt x="6202639" y="3951857"/>
                </a:lnTo>
                <a:lnTo>
                  <a:pt x="6203118" y="3951916"/>
                </a:lnTo>
                <a:close/>
                <a:moveTo>
                  <a:pt x="6181090" y="3949217"/>
                </a:moveTo>
                <a:cubicBezTo>
                  <a:pt x="6181090" y="3949217"/>
                  <a:pt x="6185781" y="3949792"/>
                  <a:pt x="6191644" y="3950510"/>
                </a:cubicBezTo>
                <a:lnTo>
                  <a:pt x="6191814" y="3950531"/>
                </a:lnTo>
                <a:close/>
                <a:moveTo>
                  <a:pt x="6086128" y="3949217"/>
                </a:moveTo>
                <a:cubicBezTo>
                  <a:pt x="6079236" y="3956112"/>
                  <a:pt x="6093021" y="3963869"/>
                  <a:pt x="6104221" y="3962792"/>
                </a:cubicBezTo>
                <a:cubicBezTo>
                  <a:pt x="6107954" y="3962432"/>
                  <a:pt x="6111400" y="3961092"/>
                  <a:pt x="6113698" y="3958411"/>
                </a:cubicBezTo>
                <a:close/>
                <a:moveTo>
                  <a:pt x="6332724" y="3912446"/>
                </a:moveTo>
                <a:cubicBezTo>
                  <a:pt x="6341913" y="3912446"/>
                  <a:pt x="6361825" y="3921639"/>
                  <a:pt x="6351104" y="3921639"/>
                </a:cubicBezTo>
                <a:cubicBezTo>
                  <a:pt x="6351104" y="3921639"/>
                  <a:pt x="6332724" y="3921639"/>
                  <a:pt x="6332724" y="3912446"/>
                </a:cubicBezTo>
                <a:close/>
                <a:moveTo>
                  <a:pt x="6399108" y="3900329"/>
                </a:moveTo>
                <a:lnTo>
                  <a:pt x="6409307" y="3901721"/>
                </a:lnTo>
                <a:cubicBezTo>
                  <a:pt x="6409307" y="3901721"/>
                  <a:pt x="6405095" y="3901146"/>
                  <a:pt x="6399830" y="3900428"/>
                </a:cubicBezTo>
                <a:close/>
                <a:moveTo>
                  <a:pt x="6379444" y="3897648"/>
                </a:moveTo>
                <a:cubicBezTo>
                  <a:pt x="6379987" y="3897722"/>
                  <a:pt x="6383047" y="3898139"/>
                  <a:pt x="6389958" y="3899081"/>
                </a:cubicBezTo>
                <a:lnTo>
                  <a:pt x="6399108" y="3900329"/>
                </a:lnTo>
                <a:lnTo>
                  <a:pt x="6384035" y="3898274"/>
                </a:lnTo>
                <a:cubicBezTo>
                  <a:pt x="6380876" y="3897843"/>
                  <a:pt x="6378901" y="3897574"/>
                  <a:pt x="6379444" y="3897648"/>
                </a:cubicBezTo>
                <a:close/>
                <a:moveTo>
                  <a:pt x="6456788" y="3892528"/>
                </a:moveTo>
                <a:cubicBezTo>
                  <a:pt x="6456788" y="3902487"/>
                  <a:pt x="6447215" y="3904785"/>
                  <a:pt x="6436493" y="3904594"/>
                </a:cubicBezTo>
                <a:cubicBezTo>
                  <a:pt x="6425772" y="3904402"/>
                  <a:pt x="6413901" y="3901721"/>
                  <a:pt x="6409307" y="3901721"/>
                </a:cubicBezTo>
                <a:cubicBezTo>
                  <a:pt x="6398585" y="3883335"/>
                  <a:pt x="6436876" y="3901721"/>
                  <a:pt x="6456788" y="3892528"/>
                </a:cubicBezTo>
                <a:close/>
                <a:moveTo>
                  <a:pt x="6541029" y="3874143"/>
                </a:moveTo>
                <a:cubicBezTo>
                  <a:pt x="6522649" y="3892528"/>
                  <a:pt x="6493547" y="3892528"/>
                  <a:pt x="6456788" y="3892528"/>
                </a:cubicBezTo>
                <a:cubicBezTo>
                  <a:pt x="6475167" y="3874143"/>
                  <a:pt x="6502737" y="3874143"/>
                  <a:pt x="6541029" y="3874143"/>
                </a:cubicBezTo>
                <a:close/>
                <a:moveTo>
                  <a:pt x="6588510" y="3864949"/>
                </a:moveTo>
                <a:cubicBezTo>
                  <a:pt x="6588510" y="3883335"/>
                  <a:pt x="6560940" y="3864949"/>
                  <a:pt x="6541029" y="3874143"/>
                </a:cubicBezTo>
                <a:cubicBezTo>
                  <a:pt x="6541029" y="3855756"/>
                  <a:pt x="6579320" y="3874143"/>
                  <a:pt x="6588510" y="3864949"/>
                </a:cubicBezTo>
                <a:close/>
                <a:moveTo>
                  <a:pt x="6626802" y="3855756"/>
                </a:moveTo>
                <a:cubicBezTo>
                  <a:pt x="6626802" y="3864949"/>
                  <a:pt x="6608422" y="3864949"/>
                  <a:pt x="6588510" y="3864949"/>
                </a:cubicBezTo>
                <a:cubicBezTo>
                  <a:pt x="6599232" y="3855756"/>
                  <a:pt x="6617612" y="3855756"/>
                  <a:pt x="6626802" y="3855756"/>
                </a:cubicBezTo>
                <a:close/>
                <a:moveTo>
                  <a:pt x="6674282" y="3846564"/>
                </a:moveTo>
                <a:cubicBezTo>
                  <a:pt x="6665093" y="3855756"/>
                  <a:pt x="6646713" y="3855756"/>
                  <a:pt x="6626802" y="3855756"/>
                </a:cubicBezTo>
                <a:cubicBezTo>
                  <a:pt x="6635991" y="3846564"/>
                  <a:pt x="6655902" y="3846564"/>
                  <a:pt x="6674282" y="3846564"/>
                </a:cubicBezTo>
                <a:close/>
                <a:moveTo>
                  <a:pt x="4134802" y="3844265"/>
                </a:moveTo>
                <a:cubicBezTo>
                  <a:pt x="4127910" y="3841967"/>
                  <a:pt x="4121016" y="3841967"/>
                  <a:pt x="4121016" y="3846564"/>
                </a:cubicBezTo>
                <a:cubicBezTo>
                  <a:pt x="4110295" y="3846564"/>
                  <a:pt x="4139396" y="3855756"/>
                  <a:pt x="4148586" y="3855756"/>
                </a:cubicBezTo>
                <a:cubicBezTo>
                  <a:pt x="4148586" y="3851160"/>
                  <a:pt x="4141694" y="3846564"/>
                  <a:pt x="4134802" y="3844265"/>
                </a:cubicBezTo>
                <a:close/>
                <a:moveTo>
                  <a:pt x="4183431" y="3831051"/>
                </a:moveTo>
                <a:cubicBezTo>
                  <a:pt x="4178262" y="3831051"/>
                  <a:pt x="4173094" y="3832775"/>
                  <a:pt x="4168498" y="3837371"/>
                </a:cubicBezTo>
                <a:lnTo>
                  <a:pt x="4214448" y="3846564"/>
                </a:lnTo>
                <a:cubicBezTo>
                  <a:pt x="4214448" y="3846564"/>
                  <a:pt x="4198940" y="3831051"/>
                  <a:pt x="4183431" y="3831051"/>
                </a:cubicBezTo>
                <a:close/>
                <a:moveTo>
                  <a:pt x="6760056" y="3828178"/>
                </a:moveTo>
                <a:cubicBezTo>
                  <a:pt x="6741676" y="3837371"/>
                  <a:pt x="6703384" y="3846564"/>
                  <a:pt x="6674282" y="3846564"/>
                </a:cubicBezTo>
                <a:cubicBezTo>
                  <a:pt x="6692662" y="3828178"/>
                  <a:pt x="6721764" y="3828178"/>
                  <a:pt x="6760056" y="3828178"/>
                </a:cubicBezTo>
                <a:close/>
                <a:moveTo>
                  <a:pt x="4293328" y="3825879"/>
                </a:moveTo>
                <a:cubicBezTo>
                  <a:pt x="4286435" y="3823582"/>
                  <a:pt x="4277245" y="3823582"/>
                  <a:pt x="4272651" y="3828178"/>
                </a:cubicBezTo>
                <a:lnTo>
                  <a:pt x="4300220" y="3837371"/>
                </a:lnTo>
                <a:cubicBezTo>
                  <a:pt x="4304816" y="3832775"/>
                  <a:pt x="4300220" y="3828178"/>
                  <a:pt x="4293328" y="3825879"/>
                </a:cubicBezTo>
                <a:close/>
                <a:moveTo>
                  <a:pt x="6776903" y="3816112"/>
                </a:moveTo>
                <a:cubicBezTo>
                  <a:pt x="6786477" y="3816303"/>
                  <a:pt x="6798347" y="3818985"/>
                  <a:pt x="6807536" y="3818985"/>
                </a:cubicBezTo>
                <a:cubicBezTo>
                  <a:pt x="6807536" y="3837371"/>
                  <a:pt x="6769245" y="3818985"/>
                  <a:pt x="6760056" y="3828178"/>
                </a:cubicBezTo>
                <a:cubicBezTo>
                  <a:pt x="6760056" y="3818219"/>
                  <a:pt x="6767331" y="3815920"/>
                  <a:pt x="6776903" y="3816112"/>
                </a:cubicBezTo>
                <a:close/>
                <a:moveTo>
                  <a:pt x="4344495" y="3814604"/>
                </a:moveTo>
                <a:cubicBezTo>
                  <a:pt x="4340905" y="3814963"/>
                  <a:pt x="4338511" y="3816303"/>
                  <a:pt x="4338511" y="3818985"/>
                </a:cubicBezTo>
                <a:cubicBezTo>
                  <a:pt x="4331619" y="3818985"/>
                  <a:pt x="4351436" y="3829327"/>
                  <a:pt x="4365650" y="3830620"/>
                </a:cubicBezTo>
                <a:cubicBezTo>
                  <a:pt x="4370389" y="3831051"/>
                  <a:pt x="4374505" y="3830476"/>
                  <a:pt x="4376803" y="3828178"/>
                </a:cubicBezTo>
                <a:cubicBezTo>
                  <a:pt x="4376803" y="3821283"/>
                  <a:pt x="4355264" y="3813527"/>
                  <a:pt x="4344495" y="3814604"/>
                </a:cubicBezTo>
                <a:close/>
                <a:moveTo>
                  <a:pt x="6822661" y="3806153"/>
                </a:moveTo>
                <a:cubicBezTo>
                  <a:pt x="6830894" y="3805962"/>
                  <a:pt x="6840467" y="3808260"/>
                  <a:pt x="6845827" y="3808260"/>
                </a:cubicBezTo>
                <a:cubicBezTo>
                  <a:pt x="6845827" y="3818985"/>
                  <a:pt x="6825916" y="3818985"/>
                  <a:pt x="6807536" y="3818985"/>
                </a:cubicBezTo>
                <a:cubicBezTo>
                  <a:pt x="6807536" y="3809026"/>
                  <a:pt x="6814429" y="3806345"/>
                  <a:pt x="6822661" y="3806153"/>
                </a:cubicBezTo>
                <a:close/>
                <a:moveTo>
                  <a:pt x="4439314" y="3804549"/>
                </a:moveTo>
                <a:cubicBezTo>
                  <a:pt x="4435867" y="3804812"/>
                  <a:pt x="4433474" y="3805961"/>
                  <a:pt x="4433474" y="3808260"/>
                </a:cubicBezTo>
                <a:cubicBezTo>
                  <a:pt x="4424284" y="3808260"/>
                  <a:pt x="4451853" y="3818985"/>
                  <a:pt x="4462576" y="3818985"/>
                </a:cubicBezTo>
                <a:cubicBezTo>
                  <a:pt x="4467171" y="3813622"/>
                  <a:pt x="4459895" y="3808643"/>
                  <a:pt x="4451471" y="3806153"/>
                </a:cubicBezTo>
                <a:cubicBezTo>
                  <a:pt x="4447259" y="3804908"/>
                  <a:pt x="4442760" y="3804286"/>
                  <a:pt x="4439314" y="3804549"/>
                </a:cubicBezTo>
                <a:close/>
                <a:moveTo>
                  <a:pt x="6865548" y="3796769"/>
                </a:moveTo>
                <a:cubicBezTo>
                  <a:pt x="6876078" y="3796769"/>
                  <a:pt x="6887948" y="3799067"/>
                  <a:pt x="6893309" y="3799067"/>
                </a:cubicBezTo>
                <a:cubicBezTo>
                  <a:pt x="6893309" y="3818985"/>
                  <a:pt x="6864207" y="3799067"/>
                  <a:pt x="6845827" y="3808260"/>
                </a:cubicBezTo>
                <a:cubicBezTo>
                  <a:pt x="6845827" y="3799067"/>
                  <a:pt x="6855017" y="3796769"/>
                  <a:pt x="6865548" y="3796769"/>
                </a:cubicBezTo>
                <a:close/>
                <a:moveTo>
                  <a:pt x="4516040" y="3792747"/>
                </a:moveTo>
                <a:cubicBezTo>
                  <a:pt x="4510727" y="3792747"/>
                  <a:pt x="4505462" y="3794470"/>
                  <a:pt x="4500867" y="3799067"/>
                </a:cubicBezTo>
                <a:lnTo>
                  <a:pt x="4548348" y="3808260"/>
                </a:lnTo>
                <a:cubicBezTo>
                  <a:pt x="4548348" y="3808260"/>
                  <a:pt x="4531978" y="3792747"/>
                  <a:pt x="4516040" y="3792747"/>
                </a:cubicBezTo>
                <a:close/>
                <a:moveTo>
                  <a:pt x="6911880" y="3787575"/>
                </a:moveTo>
                <a:cubicBezTo>
                  <a:pt x="6918964" y="3787576"/>
                  <a:pt x="6926240" y="3789874"/>
                  <a:pt x="6931601" y="3789874"/>
                </a:cubicBezTo>
                <a:cubicBezTo>
                  <a:pt x="6931601" y="3799067"/>
                  <a:pt x="6911689" y="3799067"/>
                  <a:pt x="6893309" y="3799067"/>
                </a:cubicBezTo>
                <a:cubicBezTo>
                  <a:pt x="6897903" y="3789874"/>
                  <a:pt x="6904797" y="3787575"/>
                  <a:pt x="6911880" y="3787575"/>
                </a:cubicBezTo>
                <a:close/>
                <a:moveTo>
                  <a:pt x="4582811" y="3787575"/>
                </a:moveTo>
                <a:cubicBezTo>
                  <a:pt x="4578215" y="3785278"/>
                  <a:pt x="4571323" y="3785278"/>
                  <a:pt x="4566728" y="3789874"/>
                </a:cubicBezTo>
                <a:lnTo>
                  <a:pt x="4585108" y="3799067"/>
                </a:lnTo>
                <a:cubicBezTo>
                  <a:pt x="4589703" y="3794470"/>
                  <a:pt x="4587405" y="3789874"/>
                  <a:pt x="4582811" y="3787575"/>
                </a:cubicBezTo>
                <a:close/>
                <a:moveTo>
                  <a:pt x="6951321" y="3778383"/>
                </a:moveTo>
                <a:cubicBezTo>
                  <a:pt x="6959553" y="3778383"/>
                  <a:pt x="6969126" y="3780681"/>
                  <a:pt x="6979082" y="3780681"/>
                </a:cubicBezTo>
                <a:cubicBezTo>
                  <a:pt x="6968360" y="3789874"/>
                  <a:pt x="6949981" y="3789874"/>
                  <a:pt x="6931601" y="3789874"/>
                </a:cubicBezTo>
                <a:cubicBezTo>
                  <a:pt x="6936195" y="3780681"/>
                  <a:pt x="6943088" y="3778383"/>
                  <a:pt x="6951321" y="3778383"/>
                </a:cubicBezTo>
                <a:close/>
                <a:moveTo>
                  <a:pt x="4730663" y="3767108"/>
                </a:moveTo>
                <a:cubicBezTo>
                  <a:pt x="4728796" y="3767466"/>
                  <a:pt x="4727552" y="3768808"/>
                  <a:pt x="4727552" y="3771489"/>
                </a:cubicBezTo>
                <a:cubicBezTo>
                  <a:pt x="4718362" y="3771489"/>
                  <a:pt x="4747463" y="3780681"/>
                  <a:pt x="4747463" y="3780681"/>
                </a:cubicBezTo>
                <a:cubicBezTo>
                  <a:pt x="4747463" y="3773786"/>
                  <a:pt x="4736264" y="3766030"/>
                  <a:pt x="4730663" y="3767108"/>
                </a:cubicBezTo>
                <a:close/>
                <a:moveTo>
                  <a:pt x="7070000" y="3762272"/>
                </a:moveTo>
                <a:cubicBezTo>
                  <a:pt x="7077419" y="3763947"/>
                  <a:pt x="7087806" y="3766294"/>
                  <a:pt x="7083353" y="3765288"/>
                </a:cubicBezTo>
                <a:close/>
                <a:moveTo>
                  <a:pt x="7063323" y="3760764"/>
                </a:moveTo>
                <a:cubicBezTo>
                  <a:pt x="7044943" y="3771489"/>
                  <a:pt x="7006651" y="3780681"/>
                  <a:pt x="6979082" y="3780681"/>
                </a:cubicBezTo>
                <a:cubicBezTo>
                  <a:pt x="6997461" y="3760764"/>
                  <a:pt x="7025031" y="3760764"/>
                  <a:pt x="7063323" y="3760764"/>
                </a:cubicBezTo>
                <a:close/>
                <a:moveTo>
                  <a:pt x="7115016" y="3740079"/>
                </a:moveTo>
                <a:cubicBezTo>
                  <a:pt x="7121142" y="3742377"/>
                  <a:pt x="7126120" y="3746975"/>
                  <a:pt x="7121525" y="3751571"/>
                </a:cubicBezTo>
                <a:lnTo>
                  <a:pt x="7101614" y="3742377"/>
                </a:lnTo>
                <a:cubicBezTo>
                  <a:pt x="7101614" y="3737781"/>
                  <a:pt x="7108889" y="3737781"/>
                  <a:pt x="7115016" y="3740079"/>
                </a:cubicBezTo>
                <a:close/>
                <a:moveTo>
                  <a:pt x="143642" y="3665328"/>
                </a:moveTo>
                <a:lnTo>
                  <a:pt x="148099" y="3668858"/>
                </a:lnTo>
                <a:cubicBezTo>
                  <a:pt x="149823" y="3670223"/>
                  <a:pt x="148675" y="3669313"/>
                  <a:pt x="146377" y="3667494"/>
                </a:cubicBezTo>
                <a:close/>
                <a:moveTo>
                  <a:pt x="142599" y="3664502"/>
                </a:moveTo>
                <a:lnTo>
                  <a:pt x="143642" y="3665328"/>
                </a:lnTo>
                <a:lnTo>
                  <a:pt x="143146" y="3664935"/>
                </a:lnTo>
                <a:close/>
                <a:moveTo>
                  <a:pt x="5512237" y="3659690"/>
                </a:moveTo>
                <a:cubicBezTo>
                  <a:pt x="5501611" y="3660120"/>
                  <a:pt x="5357444" y="3676495"/>
                  <a:pt x="5335618" y="3676495"/>
                </a:cubicBezTo>
                <a:cubicBezTo>
                  <a:pt x="5202364" y="3694881"/>
                  <a:pt x="5107402" y="3713267"/>
                  <a:pt x="4964957" y="3742377"/>
                </a:cubicBezTo>
                <a:cubicBezTo>
                  <a:pt x="4926667" y="3742377"/>
                  <a:pt x="4784222" y="3742377"/>
                  <a:pt x="4775033" y="3760764"/>
                </a:cubicBezTo>
                <a:lnTo>
                  <a:pt x="4794944" y="3771489"/>
                </a:lnTo>
                <a:cubicBezTo>
                  <a:pt x="4946578" y="3771489"/>
                  <a:pt x="5288137" y="3694881"/>
                  <a:pt x="5468871" y="3665770"/>
                </a:cubicBezTo>
                <a:cubicBezTo>
                  <a:pt x="5504482" y="3661174"/>
                  <a:pt x="5515778" y="3659546"/>
                  <a:pt x="5512237" y="3659690"/>
                </a:cubicBezTo>
                <a:close/>
                <a:moveTo>
                  <a:pt x="132592" y="3656577"/>
                </a:moveTo>
                <a:lnTo>
                  <a:pt x="142599" y="3664502"/>
                </a:lnTo>
                <a:lnTo>
                  <a:pt x="137762" y="3660672"/>
                </a:lnTo>
                <a:cubicBezTo>
                  <a:pt x="134889" y="3658397"/>
                  <a:pt x="132592" y="3656577"/>
                  <a:pt x="132592" y="3656577"/>
                </a:cubicBezTo>
                <a:close/>
                <a:moveTo>
                  <a:pt x="85112" y="3647384"/>
                </a:moveTo>
                <a:cubicBezTo>
                  <a:pt x="103491" y="3656577"/>
                  <a:pt x="132592" y="3638192"/>
                  <a:pt x="132592" y="3656577"/>
                </a:cubicBezTo>
                <a:cubicBezTo>
                  <a:pt x="127997" y="3656577"/>
                  <a:pt x="116127" y="3658876"/>
                  <a:pt x="105406" y="3658876"/>
                </a:cubicBezTo>
                <a:cubicBezTo>
                  <a:pt x="94684" y="3658876"/>
                  <a:pt x="85112" y="3656577"/>
                  <a:pt x="85112" y="3647384"/>
                </a:cubicBezTo>
                <a:close/>
                <a:moveTo>
                  <a:pt x="61746" y="3631593"/>
                </a:moveTo>
                <a:lnTo>
                  <a:pt x="63860" y="3633020"/>
                </a:lnTo>
                <a:cubicBezTo>
                  <a:pt x="70943" y="3637808"/>
                  <a:pt x="85112" y="3647384"/>
                  <a:pt x="85112" y="3647384"/>
                </a:cubicBezTo>
                <a:cubicBezTo>
                  <a:pt x="78027" y="3642596"/>
                  <a:pt x="72715" y="3639006"/>
                  <a:pt x="68840" y="3636387"/>
                </a:cubicBezTo>
                <a:close/>
                <a:moveTo>
                  <a:pt x="60207" y="3630552"/>
                </a:moveTo>
                <a:cubicBezTo>
                  <a:pt x="59654" y="3630178"/>
                  <a:pt x="59875" y="3630327"/>
                  <a:pt x="61203" y="3631224"/>
                </a:cubicBezTo>
                <a:lnTo>
                  <a:pt x="61746" y="3631593"/>
                </a:lnTo>
                <a:close/>
                <a:moveTo>
                  <a:pt x="251090" y="3624738"/>
                </a:moveTo>
                <a:lnTo>
                  <a:pt x="251247" y="3624904"/>
                </a:lnTo>
                <a:cubicBezTo>
                  <a:pt x="253402" y="3627179"/>
                  <a:pt x="255125" y="3628999"/>
                  <a:pt x="255125" y="3628999"/>
                </a:cubicBezTo>
                <a:close/>
                <a:moveTo>
                  <a:pt x="242908" y="3616099"/>
                </a:moveTo>
                <a:cubicBezTo>
                  <a:pt x="242685" y="3615864"/>
                  <a:pt x="243493" y="3616717"/>
                  <a:pt x="244786" y="3618081"/>
                </a:cubicBezTo>
                <a:lnTo>
                  <a:pt x="251090" y="3624738"/>
                </a:lnTo>
                <a:lnTo>
                  <a:pt x="247209" y="3620641"/>
                </a:lnTo>
                <a:cubicBezTo>
                  <a:pt x="244381" y="3617655"/>
                  <a:pt x="243130" y="3616334"/>
                  <a:pt x="242908" y="3616099"/>
                </a:cubicBezTo>
                <a:close/>
                <a:moveTo>
                  <a:pt x="342555" y="3459382"/>
                </a:moveTo>
                <a:cubicBezTo>
                  <a:pt x="323116" y="3460270"/>
                  <a:pt x="321178" y="3465442"/>
                  <a:pt x="360809" y="3475784"/>
                </a:cubicBezTo>
                <a:cubicBezTo>
                  <a:pt x="397568" y="3486509"/>
                  <a:pt x="435860" y="3486509"/>
                  <a:pt x="474151" y="3486509"/>
                </a:cubicBezTo>
                <a:cubicBezTo>
                  <a:pt x="455963" y="3468314"/>
                  <a:pt x="374953" y="3457901"/>
                  <a:pt x="342555" y="3459382"/>
                </a:cubicBezTo>
                <a:close/>
                <a:moveTo>
                  <a:pt x="3849603" y="3096841"/>
                </a:moveTo>
                <a:cubicBezTo>
                  <a:pt x="3839959" y="3096768"/>
                  <a:pt x="3828088" y="3099259"/>
                  <a:pt x="3816218" y="3106536"/>
                </a:cubicBezTo>
                <a:cubicBezTo>
                  <a:pt x="3540521" y="3124922"/>
                  <a:pt x="3284735" y="3154033"/>
                  <a:pt x="3018227" y="3181611"/>
                </a:cubicBezTo>
                <a:cubicBezTo>
                  <a:pt x="2714960" y="3201530"/>
                  <a:pt x="2400972" y="3190804"/>
                  <a:pt x="2145185" y="3229108"/>
                </a:cubicBezTo>
                <a:cubicBezTo>
                  <a:pt x="2031843" y="3238301"/>
                  <a:pt x="2174286" y="3238301"/>
                  <a:pt x="2192667" y="3238301"/>
                </a:cubicBezTo>
                <a:cubicBezTo>
                  <a:pt x="2744062" y="3210723"/>
                  <a:pt x="3350595" y="3181611"/>
                  <a:pt x="3816218" y="3106536"/>
                </a:cubicBezTo>
                <a:cubicBezTo>
                  <a:pt x="3887441" y="3120325"/>
                  <a:pt x="3878537" y="3097056"/>
                  <a:pt x="3849603" y="3096841"/>
                </a:cubicBezTo>
                <a:close/>
                <a:moveTo>
                  <a:pt x="4150238" y="3055951"/>
                </a:moveTo>
                <a:cubicBezTo>
                  <a:pt x="4152464" y="3054586"/>
                  <a:pt x="4150981" y="3055497"/>
                  <a:pt x="4148012" y="3057315"/>
                </a:cubicBezTo>
                <a:lnTo>
                  <a:pt x="4146062" y="3058512"/>
                </a:lnTo>
                <a:lnTo>
                  <a:pt x="4143839" y="3059874"/>
                </a:lnTo>
                <a:lnTo>
                  <a:pt x="4141249" y="3061462"/>
                </a:lnTo>
                <a:lnTo>
                  <a:pt x="4136883" y="3064138"/>
                </a:lnTo>
                <a:cubicBezTo>
                  <a:pt x="4133175" y="3066412"/>
                  <a:pt x="4130206" y="3068232"/>
                  <a:pt x="4130206" y="3068232"/>
                </a:cubicBezTo>
                <a:lnTo>
                  <a:pt x="4141249" y="3061462"/>
                </a:lnTo>
                <a:lnTo>
                  <a:pt x="4146062" y="3058512"/>
                </a:lnTo>
                <a:close/>
                <a:moveTo>
                  <a:pt x="4205258" y="3048314"/>
                </a:moveTo>
                <a:cubicBezTo>
                  <a:pt x="4200663" y="3053677"/>
                  <a:pt x="4233976" y="3056358"/>
                  <a:pt x="4256568" y="3056358"/>
                </a:cubicBezTo>
                <a:cubicBezTo>
                  <a:pt x="4279160" y="3056358"/>
                  <a:pt x="4291030" y="3053677"/>
                  <a:pt x="4243549" y="3048314"/>
                </a:cubicBezTo>
                <a:close/>
                <a:moveTo>
                  <a:pt x="9918030" y="2900024"/>
                </a:moveTo>
                <a:lnTo>
                  <a:pt x="9920815" y="2900653"/>
                </a:lnTo>
                <a:cubicBezTo>
                  <a:pt x="9923781" y="2901324"/>
                  <a:pt x="9925266" y="2901659"/>
                  <a:pt x="9923039" y="2901156"/>
                </a:cubicBezTo>
                <a:close/>
                <a:moveTo>
                  <a:pt x="9903007" y="2896632"/>
                </a:moveTo>
                <a:lnTo>
                  <a:pt x="9918030" y="2900024"/>
                </a:lnTo>
                <a:lnTo>
                  <a:pt x="9909685" y="2898140"/>
                </a:lnTo>
                <a:cubicBezTo>
                  <a:pt x="9905974" y="2897302"/>
                  <a:pt x="9903007" y="2896632"/>
                  <a:pt x="9903007" y="2896632"/>
                </a:cubicBezTo>
                <a:close/>
                <a:moveTo>
                  <a:pt x="9238269" y="2830750"/>
                </a:moveTo>
                <a:cubicBezTo>
                  <a:pt x="9238269" y="2831898"/>
                  <a:pt x="9236786" y="2832904"/>
                  <a:pt x="9234299" y="2833727"/>
                </a:cubicBezTo>
                <a:lnTo>
                  <a:pt x="9232899" y="2833990"/>
                </a:lnTo>
                <a:close/>
                <a:moveTo>
                  <a:pt x="9941298" y="2821557"/>
                </a:moveTo>
                <a:cubicBezTo>
                  <a:pt x="9932108" y="2887438"/>
                  <a:pt x="9789665" y="2887438"/>
                  <a:pt x="9722271" y="2925742"/>
                </a:cubicBezTo>
                <a:cubicBezTo>
                  <a:pt x="9665601" y="2953321"/>
                  <a:pt x="9769754" y="2916550"/>
                  <a:pt x="9798854" y="2916550"/>
                </a:cubicBezTo>
                <a:cubicBezTo>
                  <a:pt x="9835614" y="2907357"/>
                  <a:pt x="9864716" y="2896632"/>
                  <a:pt x="9903007" y="2896632"/>
                </a:cubicBezTo>
                <a:cubicBezTo>
                  <a:pt x="8896712" y="3219915"/>
                  <a:pt x="7832212" y="3486509"/>
                  <a:pt x="6789157" y="3760764"/>
                </a:cubicBezTo>
                <a:cubicBezTo>
                  <a:pt x="6570130" y="3799067"/>
                  <a:pt x="6371015" y="3837371"/>
                  <a:pt x="6171900" y="3892528"/>
                </a:cubicBezTo>
                <a:cubicBezTo>
                  <a:pt x="6151989" y="3901721"/>
                  <a:pt x="6113698" y="3883335"/>
                  <a:pt x="6124420" y="3901721"/>
                </a:cubicBezTo>
                <a:cubicBezTo>
                  <a:pt x="6104508" y="3901721"/>
                  <a:pt x="6086128" y="3901721"/>
                  <a:pt x="6086128" y="3912446"/>
                </a:cubicBezTo>
                <a:cubicBezTo>
                  <a:pt x="6066216" y="3921639"/>
                  <a:pt x="6029456" y="3901721"/>
                  <a:pt x="6029456" y="3921639"/>
                </a:cubicBezTo>
                <a:cubicBezTo>
                  <a:pt x="6018735" y="3930832"/>
                  <a:pt x="5981975" y="3912446"/>
                  <a:pt x="5981975" y="3930832"/>
                </a:cubicBezTo>
                <a:cubicBezTo>
                  <a:pt x="5923773" y="3921639"/>
                  <a:pt x="5962064" y="3958411"/>
                  <a:pt x="5981975" y="3930832"/>
                </a:cubicBezTo>
                <a:cubicBezTo>
                  <a:pt x="6000355" y="3930832"/>
                  <a:pt x="6038647" y="3940025"/>
                  <a:pt x="6029456" y="3921639"/>
                </a:cubicBezTo>
                <a:cubicBezTo>
                  <a:pt x="6047836" y="3921639"/>
                  <a:pt x="6086128" y="3930832"/>
                  <a:pt x="6086128" y="3912446"/>
                </a:cubicBezTo>
                <a:cubicBezTo>
                  <a:pt x="6095318" y="3912446"/>
                  <a:pt x="6113698" y="3921639"/>
                  <a:pt x="6124420" y="3901721"/>
                </a:cubicBezTo>
                <a:cubicBezTo>
                  <a:pt x="6133609" y="3901721"/>
                  <a:pt x="6171900" y="3912446"/>
                  <a:pt x="6171900" y="3892528"/>
                </a:cubicBezTo>
                <a:cubicBezTo>
                  <a:pt x="6389395" y="3855756"/>
                  <a:pt x="6588510" y="3808260"/>
                  <a:pt x="6789157" y="3760764"/>
                </a:cubicBezTo>
                <a:cubicBezTo>
                  <a:pt x="7519755" y="3599888"/>
                  <a:pt x="8231974" y="3391515"/>
                  <a:pt x="8962572" y="3201530"/>
                </a:cubicBezTo>
                <a:cubicBezTo>
                  <a:pt x="9010053" y="3181611"/>
                  <a:pt x="9181598" y="3154033"/>
                  <a:pt x="9039154" y="3201530"/>
                </a:cubicBezTo>
                <a:cubicBezTo>
                  <a:pt x="8602634" y="3344019"/>
                  <a:pt x="8137012" y="3419094"/>
                  <a:pt x="7671389" y="3561584"/>
                </a:cubicBezTo>
                <a:cubicBezTo>
                  <a:pt x="7653009" y="3570776"/>
                  <a:pt x="7653009" y="3570776"/>
                  <a:pt x="7633098" y="3581502"/>
                </a:cubicBezTo>
                <a:lnTo>
                  <a:pt x="7614718" y="3570776"/>
                </a:lnTo>
                <a:cubicBezTo>
                  <a:pt x="7605528" y="3570776"/>
                  <a:pt x="7614718" y="3590695"/>
                  <a:pt x="7605528" y="3590695"/>
                </a:cubicBezTo>
                <a:cubicBezTo>
                  <a:pt x="7594806" y="3590695"/>
                  <a:pt x="7547325" y="3570776"/>
                  <a:pt x="7528945" y="3590695"/>
                </a:cubicBezTo>
                <a:cubicBezTo>
                  <a:pt x="7528945" y="3590695"/>
                  <a:pt x="7547325" y="3609080"/>
                  <a:pt x="7538135" y="3609080"/>
                </a:cubicBezTo>
                <a:cubicBezTo>
                  <a:pt x="7528945" y="3609080"/>
                  <a:pt x="7510565" y="3599888"/>
                  <a:pt x="7490653" y="3599888"/>
                </a:cubicBezTo>
                <a:cubicBezTo>
                  <a:pt x="7472274" y="3599888"/>
                  <a:pt x="7395691" y="3628999"/>
                  <a:pt x="7358931" y="3638192"/>
                </a:cubicBezTo>
                <a:cubicBezTo>
                  <a:pt x="7300728" y="3656577"/>
                  <a:pt x="7234867" y="3665770"/>
                  <a:pt x="7178196" y="3685688"/>
                </a:cubicBezTo>
                <a:cubicBezTo>
                  <a:pt x="7169006" y="3694881"/>
                  <a:pt x="7178196" y="3704074"/>
                  <a:pt x="7139905" y="3713267"/>
                </a:cubicBezTo>
                <a:cubicBezTo>
                  <a:pt x="7006651" y="3771489"/>
                  <a:pt x="6825916" y="3789874"/>
                  <a:pt x="6655902" y="3828178"/>
                </a:cubicBezTo>
                <a:cubicBezTo>
                  <a:pt x="6541029" y="3855756"/>
                  <a:pt x="6398585" y="3892528"/>
                  <a:pt x="6256142" y="3921639"/>
                </a:cubicBezTo>
                <a:cubicBezTo>
                  <a:pt x="6199470" y="3940025"/>
                  <a:pt x="6066216" y="3949217"/>
                  <a:pt x="6181090" y="3949217"/>
                </a:cubicBezTo>
                <a:cubicBezTo>
                  <a:pt x="6151989" y="3969136"/>
                  <a:pt x="6104508" y="3969136"/>
                  <a:pt x="6057027" y="3969136"/>
                </a:cubicBezTo>
                <a:cubicBezTo>
                  <a:pt x="6066216" y="3958411"/>
                  <a:pt x="6047836" y="3969136"/>
                  <a:pt x="6057027" y="3969136"/>
                </a:cubicBezTo>
                <a:cubicBezTo>
                  <a:pt x="4903118" y="4159505"/>
                  <a:pt x="3341119" y="4401489"/>
                  <a:pt x="1873813" y="4414874"/>
                </a:cubicBezTo>
                <a:cubicBezTo>
                  <a:pt x="1664197" y="4416786"/>
                  <a:pt x="1456516" y="4414033"/>
                  <a:pt x="1252231" y="4405798"/>
                </a:cubicBezTo>
                <a:cubicBezTo>
                  <a:pt x="1005635" y="4396605"/>
                  <a:pt x="759038" y="4405798"/>
                  <a:pt x="550735" y="4358302"/>
                </a:cubicBezTo>
                <a:cubicBezTo>
                  <a:pt x="503252" y="4349108"/>
                  <a:pt x="474151" y="4319998"/>
                  <a:pt x="435860" y="4319998"/>
                </a:cubicBezTo>
                <a:cubicBezTo>
                  <a:pt x="331707" y="4292419"/>
                  <a:pt x="227555" y="4281693"/>
                  <a:pt x="112681" y="4254115"/>
                </a:cubicBezTo>
                <a:cubicBezTo>
                  <a:pt x="112681" y="4254115"/>
                  <a:pt x="94301" y="4254115"/>
                  <a:pt x="85112" y="4244922"/>
                </a:cubicBezTo>
                <a:cubicBezTo>
                  <a:pt x="46820" y="4225005"/>
                  <a:pt x="132592" y="4254115"/>
                  <a:pt x="103491" y="4225005"/>
                </a:cubicBezTo>
                <a:cubicBezTo>
                  <a:pt x="94301" y="4215811"/>
                  <a:pt x="37630" y="4186701"/>
                  <a:pt x="65200" y="4177508"/>
                </a:cubicBezTo>
                <a:cubicBezTo>
                  <a:pt x="75922" y="4177508"/>
                  <a:pt x="160162" y="4197426"/>
                  <a:pt x="198453" y="4206618"/>
                </a:cubicBezTo>
                <a:cubicBezTo>
                  <a:pt x="245935" y="4215811"/>
                  <a:pt x="284226" y="4225005"/>
                  <a:pt x="331707" y="4225005"/>
                </a:cubicBezTo>
                <a:cubicBezTo>
                  <a:pt x="227555" y="4215811"/>
                  <a:pt x="132592" y="4120818"/>
                  <a:pt x="275036" y="4102433"/>
                </a:cubicBezTo>
                <a:cubicBezTo>
                  <a:pt x="302606" y="4091708"/>
                  <a:pt x="340897" y="4111625"/>
                  <a:pt x="379189" y="4111625"/>
                </a:cubicBezTo>
                <a:cubicBezTo>
                  <a:pt x="426670" y="4102433"/>
                  <a:pt x="435860" y="4082514"/>
                  <a:pt x="464961" y="4082514"/>
                </a:cubicBezTo>
                <a:cubicBezTo>
                  <a:pt x="512442" y="4073322"/>
                  <a:pt x="587493" y="4091708"/>
                  <a:pt x="664077" y="4102433"/>
                </a:cubicBezTo>
                <a:cubicBezTo>
                  <a:pt x="777418" y="4111625"/>
                  <a:pt x="881572" y="4120818"/>
                  <a:pt x="978066" y="4130011"/>
                </a:cubicBezTo>
                <a:cubicBezTo>
                  <a:pt x="1157269" y="4139205"/>
                  <a:pt x="1367105" y="4120818"/>
                  <a:pt x="1575410" y="4130011"/>
                </a:cubicBezTo>
                <a:cubicBezTo>
                  <a:pt x="1869488" y="4139205"/>
                  <a:pt x="2201857" y="4177508"/>
                  <a:pt x="2534226" y="4148396"/>
                </a:cubicBezTo>
                <a:cubicBezTo>
                  <a:pt x="2724151" y="4130011"/>
                  <a:pt x="2933987" y="4130011"/>
                  <a:pt x="3133101" y="4120818"/>
                </a:cubicBezTo>
                <a:cubicBezTo>
                  <a:pt x="3408799" y="4102433"/>
                  <a:pt x="3692154" y="4064128"/>
                  <a:pt x="3958661" y="4035018"/>
                </a:cubicBezTo>
                <a:cubicBezTo>
                  <a:pt x="4765843" y="3930832"/>
                  <a:pt x="5563834" y="3837371"/>
                  <a:pt x="6303622" y="3665770"/>
                </a:cubicBezTo>
                <a:cubicBezTo>
                  <a:pt x="7178196" y="3475784"/>
                  <a:pt x="7994566" y="3258219"/>
                  <a:pt x="8840040" y="3029929"/>
                </a:cubicBezTo>
                <a:cubicBezTo>
                  <a:pt x="8962572" y="3000817"/>
                  <a:pt x="9077446" y="2944129"/>
                  <a:pt x="9190789" y="2934935"/>
                </a:cubicBezTo>
                <a:cubicBezTo>
                  <a:pt x="9238269" y="2925742"/>
                  <a:pt x="9276561" y="2934935"/>
                  <a:pt x="9313320" y="2934935"/>
                </a:cubicBezTo>
                <a:cubicBezTo>
                  <a:pt x="9351612" y="2925742"/>
                  <a:pt x="9419005" y="2887438"/>
                  <a:pt x="9437384" y="2934935"/>
                </a:cubicBezTo>
                <a:cubicBezTo>
                  <a:pt x="9380714" y="2925742"/>
                  <a:pt x="9428194" y="2964046"/>
                  <a:pt x="9437384" y="2934935"/>
                </a:cubicBezTo>
                <a:cubicBezTo>
                  <a:pt x="9599740" y="2896632"/>
                  <a:pt x="9769754" y="2858328"/>
                  <a:pt x="9941298" y="2821557"/>
                </a:cubicBezTo>
                <a:close/>
                <a:moveTo>
                  <a:pt x="9941298" y="2821557"/>
                </a:moveTo>
                <a:cubicBezTo>
                  <a:pt x="9941298" y="2821557"/>
                  <a:pt x="9946470" y="2826727"/>
                  <a:pt x="9945175" y="2825434"/>
                </a:cubicBezTo>
                <a:cubicBezTo>
                  <a:pt x="9944745" y="2825003"/>
                  <a:pt x="9943595" y="2823855"/>
                  <a:pt x="9941298" y="2821557"/>
                </a:cubicBezTo>
                <a:close/>
                <a:moveTo>
                  <a:pt x="5782340" y="2820079"/>
                </a:moveTo>
                <a:cubicBezTo>
                  <a:pt x="5775657" y="2819786"/>
                  <a:pt x="5763524" y="2820216"/>
                  <a:pt x="5744569" y="2821557"/>
                </a:cubicBezTo>
                <a:cubicBezTo>
                  <a:pt x="5496441" y="2849135"/>
                  <a:pt x="5154882" y="2916550"/>
                  <a:pt x="4974147" y="2953321"/>
                </a:cubicBezTo>
                <a:cubicBezTo>
                  <a:pt x="4851615" y="2964046"/>
                  <a:pt x="4738274" y="2973239"/>
                  <a:pt x="4641779" y="3000817"/>
                </a:cubicBezTo>
                <a:cubicBezTo>
                  <a:pt x="4537627" y="3000817"/>
                  <a:pt x="4442664" y="3020736"/>
                  <a:pt x="4358423" y="3039122"/>
                </a:cubicBezTo>
                <a:cubicBezTo>
                  <a:pt x="4462576" y="3039122"/>
                  <a:pt x="4548348" y="3020736"/>
                  <a:pt x="4641779" y="3000817"/>
                </a:cubicBezTo>
                <a:cubicBezTo>
                  <a:pt x="4756653" y="2991625"/>
                  <a:pt x="4869996" y="2982432"/>
                  <a:pt x="4974147" y="2953321"/>
                </a:cubicBezTo>
                <a:cubicBezTo>
                  <a:pt x="5174794" y="2934935"/>
                  <a:pt x="5383099" y="2896632"/>
                  <a:pt x="5591404" y="2869053"/>
                </a:cubicBezTo>
                <a:cubicBezTo>
                  <a:pt x="5608826" y="2859668"/>
                  <a:pt x="5829121" y="2822131"/>
                  <a:pt x="5782340" y="2820079"/>
                </a:cubicBezTo>
                <a:close/>
                <a:moveTo>
                  <a:pt x="788140" y="2744950"/>
                </a:moveTo>
                <a:cubicBezTo>
                  <a:pt x="805946" y="2746098"/>
                  <a:pt x="817792" y="2747104"/>
                  <a:pt x="825040" y="2747947"/>
                </a:cubicBezTo>
                <a:lnTo>
                  <a:pt x="826708" y="2748311"/>
                </a:lnTo>
                <a:close/>
                <a:moveTo>
                  <a:pt x="768229" y="2735756"/>
                </a:moveTo>
                <a:cubicBezTo>
                  <a:pt x="710792" y="2749545"/>
                  <a:pt x="830835" y="2752992"/>
                  <a:pt x="834353" y="2749977"/>
                </a:cubicBezTo>
                <a:lnTo>
                  <a:pt x="826708" y="2748311"/>
                </a:lnTo>
                <a:lnTo>
                  <a:pt x="834281" y="2748971"/>
                </a:lnTo>
                <a:cubicBezTo>
                  <a:pt x="879082" y="2750695"/>
                  <a:pt x="925606" y="2747247"/>
                  <a:pt x="1025546" y="2754141"/>
                </a:cubicBezTo>
                <a:cubicBezTo>
                  <a:pt x="1117446" y="2762185"/>
                  <a:pt x="1156790" y="2774539"/>
                  <a:pt x="1214658" y="2772456"/>
                </a:cubicBezTo>
                <a:cubicBezTo>
                  <a:pt x="1233947" y="2771761"/>
                  <a:pt x="1255295" y="2769463"/>
                  <a:pt x="1281332" y="2764867"/>
                </a:cubicBezTo>
                <a:cubicBezTo>
                  <a:pt x="1338004" y="2754141"/>
                  <a:pt x="1243041" y="2754141"/>
                  <a:pt x="1224662" y="2754141"/>
                </a:cubicBezTo>
                <a:cubicBezTo>
                  <a:pt x="1109787" y="2754141"/>
                  <a:pt x="987255" y="2744950"/>
                  <a:pt x="901483" y="2735756"/>
                </a:cubicBezTo>
                <a:cubicBezTo>
                  <a:pt x="854001" y="2735756"/>
                  <a:pt x="788140" y="2735756"/>
                  <a:pt x="768229" y="2735756"/>
                </a:cubicBezTo>
                <a:close/>
                <a:moveTo>
                  <a:pt x="3189772" y="2697453"/>
                </a:moveTo>
                <a:cubicBezTo>
                  <a:pt x="3180582" y="2702049"/>
                  <a:pt x="3211598" y="2704347"/>
                  <a:pt x="3234191" y="2704347"/>
                </a:cubicBezTo>
                <a:cubicBezTo>
                  <a:pt x="3256781" y="2704347"/>
                  <a:pt x="3270950" y="2702049"/>
                  <a:pt x="3228064" y="2697453"/>
                </a:cubicBezTo>
                <a:cubicBezTo>
                  <a:pt x="3218873" y="2697453"/>
                  <a:pt x="3189772" y="2697453"/>
                  <a:pt x="3189772" y="2697453"/>
                </a:cubicBezTo>
                <a:close/>
                <a:moveTo>
                  <a:pt x="3284735" y="2688260"/>
                </a:moveTo>
                <a:cubicBezTo>
                  <a:pt x="3280139" y="2692856"/>
                  <a:pt x="3313453" y="2695154"/>
                  <a:pt x="3336045" y="2695154"/>
                </a:cubicBezTo>
                <a:cubicBezTo>
                  <a:pt x="3358636" y="2695154"/>
                  <a:pt x="3370507" y="2692856"/>
                  <a:pt x="3323026" y="2688260"/>
                </a:cubicBezTo>
                <a:close/>
                <a:moveTo>
                  <a:pt x="3406142" y="2672101"/>
                </a:moveTo>
                <a:cubicBezTo>
                  <a:pt x="3399895" y="2672172"/>
                  <a:pt x="3393864" y="2674087"/>
                  <a:pt x="3388887" y="2679067"/>
                </a:cubicBezTo>
                <a:cubicBezTo>
                  <a:pt x="3388887" y="2679067"/>
                  <a:pt x="3415595" y="2689409"/>
                  <a:pt x="3432826" y="2690702"/>
                </a:cubicBezTo>
                <a:cubicBezTo>
                  <a:pt x="3438570" y="2691132"/>
                  <a:pt x="3443261" y="2690558"/>
                  <a:pt x="3445558" y="2688260"/>
                </a:cubicBezTo>
                <a:cubicBezTo>
                  <a:pt x="3445558" y="2688260"/>
                  <a:pt x="3424881" y="2671886"/>
                  <a:pt x="3406142" y="2672101"/>
                </a:cubicBezTo>
                <a:close/>
                <a:moveTo>
                  <a:pt x="717540" y="2596139"/>
                </a:moveTo>
                <a:cubicBezTo>
                  <a:pt x="712227" y="2596139"/>
                  <a:pt x="706962" y="2597863"/>
                  <a:pt x="702367" y="2602459"/>
                </a:cubicBezTo>
                <a:lnTo>
                  <a:pt x="749848" y="2611653"/>
                </a:lnTo>
                <a:cubicBezTo>
                  <a:pt x="749848" y="2611653"/>
                  <a:pt x="733479" y="2596139"/>
                  <a:pt x="717540" y="2596139"/>
                </a:cubicBezTo>
                <a:close/>
                <a:moveTo>
                  <a:pt x="651296" y="2589532"/>
                </a:moveTo>
                <a:cubicBezTo>
                  <a:pt x="647994" y="2589819"/>
                  <a:pt x="645696" y="2590968"/>
                  <a:pt x="645696" y="2593266"/>
                </a:cubicBezTo>
                <a:cubicBezTo>
                  <a:pt x="634975" y="2593266"/>
                  <a:pt x="673266" y="2602459"/>
                  <a:pt x="673266" y="2602459"/>
                </a:cubicBezTo>
                <a:cubicBezTo>
                  <a:pt x="677861" y="2597863"/>
                  <a:pt x="670968" y="2593266"/>
                  <a:pt x="662927" y="2590968"/>
                </a:cubicBezTo>
                <a:cubicBezTo>
                  <a:pt x="658907" y="2589819"/>
                  <a:pt x="654599" y="2589245"/>
                  <a:pt x="651296" y="2589532"/>
                </a:cubicBezTo>
                <a:close/>
                <a:moveTo>
                  <a:pt x="1274823" y="2581776"/>
                </a:moveTo>
                <a:cubicBezTo>
                  <a:pt x="1268697" y="2579477"/>
                  <a:pt x="1261421" y="2579477"/>
                  <a:pt x="1261421" y="2584073"/>
                </a:cubicBezTo>
                <a:lnTo>
                  <a:pt x="1281332" y="2593266"/>
                </a:lnTo>
                <a:cubicBezTo>
                  <a:pt x="1285928" y="2588670"/>
                  <a:pt x="1280950" y="2584073"/>
                  <a:pt x="1274823" y="2581776"/>
                </a:cubicBezTo>
                <a:close/>
                <a:moveTo>
                  <a:pt x="1126300" y="2580195"/>
                </a:moveTo>
                <a:cubicBezTo>
                  <a:pt x="1116392" y="2580626"/>
                  <a:pt x="1109787" y="2581776"/>
                  <a:pt x="1109787" y="2584073"/>
                </a:cubicBezTo>
                <a:cubicBezTo>
                  <a:pt x="1105193" y="2586371"/>
                  <a:pt x="1116010" y="2587521"/>
                  <a:pt x="1133192" y="2587952"/>
                </a:cubicBezTo>
                <a:cubicBezTo>
                  <a:pt x="1184743" y="2589245"/>
                  <a:pt x="1293587" y="2584073"/>
                  <a:pt x="1215472" y="2584073"/>
                </a:cubicBezTo>
                <a:cubicBezTo>
                  <a:pt x="1215472" y="2584073"/>
                  <a:pt x="1156024" y="2578902"/>
                  <a:pt x="1126300" y="2580195"/>
                </a:cubicBezTo>
                <a:close/>
                <a:moveTo>
                  <a:pt x="7273159" y="2536577"/>
                </a:moveTo>
                <a:cubicBezTo>
                  <a:pt x="7265118" y="2543472"/>
                  <a:pt x="7279477" y="2550366"/>
                  <a:pt x="7291036" y="2549504"/>
                </a:cubicBezTo>
                <a:cubicBezTo>
                  <a:pt x="7294889" y="2549217"/>
                  <a:pt x="7298431" y="2548068"/>
                  <a:pt x="7300728" y="2545770"/>
                </a:cubicBezTo>
                <a:close/>
                <a:moveTo>
                  <a:pt x="7311451" y="2527384"/>
                </a:moveTo>
                <a:cubicBezTo>
                  <a:pt x="7303409" y="2534279"/>
                  <a:pt x="7312599" y="2541173"/>
                  <a:pt x="7321574" y="2540312"/>
                </a:cubicBezTo>
                <a:cubicBezTo>
                  <a:pt x="7324565" y="2540024"/>
                  <a:pt x="7327533" y="2538875"/>
                  <a:pt x="7329830" y="2536577"/>
                </a:cubicBezTo>
                <a:close/>
                <a:moveTo>
                  <a:pt x="7348210" y="2516659"/>
                </a:moveTo>
                <a:cubicBezTo>
                  <a:pt x="7341318" y="2524703"/>
                  <a:pt x="7355964" y="2531884"/>
                  <a:pt x="7363718" y="2531094"/>
                </a:cubicBezTo>
                <a:cubicBezTo>
                  <a:pt x="7366303" y="2530831"/>
                  <a:pt x="7368121" y="2529682"/>
                  <a:pt x="7368121" y="2527384"/>
                </a:cubicBezTo>
                <a:close/>
                <a:moveTo>
                  <a:pt x="7596170" y="2448982"/>
                </a:moveTo>
                <a:cubicBezTo>
                  <a:pt x="7592030" y="2449628"/>
                  <a:pt x="7587914" y="2452692"/>
                  <a:pt x="7585616" y="2459970"/>
                </a:cubicBezTo>
                <a:cubicBezTo>
                  <a:pt x="7567236" y="2459970"/>
                  <a:pt x="7547325" y="2459970"/>
                  <a:pt x="7538135" y="2469162"/>
                </a:cubicBezTo>
                <a:cubicBezTo>
                  <a:pt x="7528945" y="2469162"/>
                  <a:pt x="7519755" y="2469162"/>
                  <a:pt x="7510565" y="2478356"/>
                </a:cubicBezTo>
                <a:cubicBezTo>
                  <a:pt x="7501375" y="2478356"/>
                  <a:pt x="7481464" y="2478356"/>
                  <a:pt x="7472274" y="2489081"/>
                </a:cubicBezTo>
                <a:cubicBezTo>
                  <a:pt x="7463085" y="2489081"/>
                  <a:pt x="7443173" y="2489081"/>
                  <a:pt x="7443173" y="2498273"/>
                </a:cubicBezTo>
                <a:cubicBezTo>
                  <a:pt x="7433983" y="2498273"/>
                  <a:pt x="7404881" y="2498273"/>
                  <a:pt x="7404881" y="2507466"/>
                </a:cubicBezTo>
                <a:cubicBezTo>
                  <a:pt x="7414837" y="2507466"/>
                  <a:pt x="7424410" y="2509765"/>
                  <a:pt x="7431493" y="2509765"/>
                </a:cubicBezTo>
                <a:cubicBezTo>
                  <a:pt x="7438577" y="2509765"/>
                  <a:pt x="7443173" y="2507466"/>
                  <a:pt x="7443173" y="2498273"/>
                </a:cubicBezTo>
                <a:cubicBezTo>
                  <a:pt x="7452363" y="2498273"/>
                  <a:pt x="7472274" y="2498273"/>
                  <a:pt x="7472274" y="2489081"/>
                </a:cubicBezTo>
                <a:cubicBezTo>
                  <a:pt x="7490653" y="2489081"/>
                  <a:pt x="7510565" y="2498273"/>
                  <a:pt x="7510565" y="2478356"/>
                </a:cubicBezTo>
                <a:cubicBezTo>
                  <a:pt x="7528945" y="2478356"/>
                  <a:pt x="7538135" y="2478356"/>
                  <a:pt x="7538135" y="2469162"/>
                </a:cubicBezTo>
                <a:cubicBezTo>
                  <a:pt x="7558047" y="2469162"/>
                  <a:pt x="7576426" y="2478356"/>
                  <a:pt x="7585616" y="2459970"/>
                </a:cubicBezTo>
                <a:cubicBezTo>
                  <a:pt x="7621226" y="2466864"/>
                  <a:pt x="7608591" y="2447041"/>
                  <a:pt x="7596170" y="2448982"/>
                </a:cubicBezTo>
                <a:close/>
                <a:moveTo>
                  <a:pt x="7656886" y="2429303"/>
                </a:moveTo>
                <a:cubicBezTo>
                  <a:pt x="7657316" y="2427938"/>
                  <a:pt x="7657030" y="2428848"/>
                  <a:pt x="7656455" y="2430667"/>
                </a:cubicBezTo>
                <a:lnTo>
                  <a:pt x="7654564" y="2436656"/>
                </a:lnTo>
                <a:lnTo>
                  <a:pt x="7653009" y="2441584"/>
                </a:lnTo>
                <a:cubicBezTo>
                  <a:pt x="7653009" y="2441584"/>
                  <a:pt x="7653583" y="2439764"/>
                  <a:pt x="7654302" y="2437490"/>
                </a:cubicBezTo>
                <a:lnTo>
                  <a:pt x="7654564" y="2436656"/>
                </a:lnTo>
                <a:close/>
                <a:moveTo>
                  <a:pt x="7691300" y="2421665"/>
                </a:moveTo>
                <a:cubicBezTo>
                  <a:pt x="7683259" y="2428560"/>
                  <a:pt x="7702788" y="2436317"/>
                  <a:pt x="7713054" y="2435240"/>
                </a:cubicBezTo>
                <a:cubicBezTo>
                  <a:pt x="7716476" y="2434880"/>
                  <a:pt x="7718870" y="2433540"/>
                  <a:pt x="7718870" y="2430859"/>
                </a:cubicBezTo>
                <a:cubicBezTo>
                  <a:pt x="7728060" y="2430859"/>
                  <a:pt x="7700490" y="2421665"/>
                  <a:pt x="7691300" y="2421665"/>
                </a:cubicBezTo>
                <a:close/>
                <a:moveTo>
                  <a:pt x="7728060" y="2412473"/>
                </a:moveTo>
                <a:lnTo>
                  <a:pt x="7747972" y="2421665"/>
                </a:lnTo>
                <a:cubicBezTo>
                  <a:pt x="7757162" y="2421665"/>
                  <a:pt x="7728060" y="2412473"/>
                  <a:pt x="7728060" y="2412473"/>
                </a:cubicBezTo>
                <a:close/>
                <a:moveTo>
                  <a:pt x="9317867" y="2410031"/>
                </a:moveTo>
                <a:cubicBezTo>
                  <a:pt x="9315139" y="2409600"/>
                  <a:pt x="9313320" y="2410175"/>
                  <a:pt x="9313320" y="2412473"/>
                </a:cubicBezTo>
                <a:cubicBezTo>
                  <a:pt x="9306428" y="2419367"/>
                  <a:pt x="9321074" y="2426262"/>
                  <a:pt x="9332705" y="2425400"/>
                </a:cubicBezTo>
                <a:cubicBezTo>
                  <a:pt x="9336581" y="2425114"/>
                  <a:pt x="9340123" y="2423964"/>
                  <a:pt x="9342421" y="2421665"/>
                </a:cubicBezTo>
                <a:cubicBezTo>
                  <a:pt x="9342421" y="2421665"/>
                  <a:pt x="9326052" y="2411324"/>
                  <a:pt x="9317867" y="2410031"/>
                </a:cubicBezTo>
                <a:close/>
                <a:moveTo>
                  <a:pt x="9351612" y="2403280"/>
                </a:moveTo>
                <a:cubicBezTo>
                  <a:pt x="9342421" y="2403280"/>
                  <a:pt x="9362334" y="2412473"/>
                  <a:pt x="9371523" y="2412473"/>
                </a:cubicBezTo>
                <a:close/>
                <a:moveTo>
                  <a:pt x="9389904" y="2394087"/>
                </a:moveTo>
                <a:cubicBezTo>
                  <a:pt x="9380714" y="2394087"/>
                  <a:pt x="9409815" y="2403280"/>
                  <a:pt x="9409815" y="2403280"/>
                </a:cubicBezTo>
                <a:cubicBezTo>
                  <a:pt x="9409815" y="2394087"/>
                  <a:pt x="9389904" y="2394087"/>
                  <a:pt x="9389904" y="2394087"/>
                </a:cubicBezTo>
                <a:close/>
                <a:moveTo>
                  <a:pt x="7842718" y="2380513"/>
                </a:moveTo>
                <a:cubicBezTo>
                  <a:pt x="7838626" y="2380873"/>
                  <a:pt x="7834893" y="2382213"/>
                  <a:pt x="7832212" y="2384894"/>
                </a:cubicBezTo>
                <a:cubicBezTo>
                  <a:pt x="7832212" y="2384894"/>
                  <a:pt x="7861314" y="2394087"/>
                  <a:pt x="7870503" y="2394087"/>
                </a:cubicBezTo>
                <a:cubicBezTo>
                  <a:pt x="7870503" y="2387193"/>
                  <a:pt x="7854994" y="2379435"/>
                  <a:pt x="7842718" y="2380513"/>
                </a:cubicBezTo>
                <a:close/>
                <a:moveTo>
                  <a:pt x="7881225" y="2374169"/>
                </a:moveTo>
                <a:cubicBezTo>
                  <a:pt x="7870503" y="2374169"/>
                  <a:pt x="7890415" y="2384894"/>
                  <a:pt x="7899604" y="2384894"/>
                </a:cubicBezTo>
                <a:cubicBezTo>
                  <a:pt x="7899604" y="2374169"/>
                  <a:pt x="7881225" y="2374169"/>
                  <a:pt x="7881225" y="2374169"/>
                </a:cubicBezTo>
                <a:close/>
                <a:moveTo>
                  <a:pt x="583664" y="2362678"/>
                </a:moveTo>
                <a:cubicBezTo>
                  <a:pt x="590940" y="2364976"/>
                  <a:pt x="598214" y="2369573"/>
                  <a:pt x="598214" y="2374169"/>
                </a:cubicBezTo>
                <a:cubicBezTo>
                  <a:pt x="587493" y="2374169"/>
                  <a:pt x="559924" y="2364976"/>
                  <a:pt x="569114" y="2364976"/>
                </a:cubicBezTo>
                <a:cubicBezTo>
                  <a:pt x="569114" y="2360380"/>
                  <a:pt x="576389" y="2360380"/>
                  <a:pt x="583664" y="2362678"/>
                </a:cubicBezTo>
                <a:close/>
                <a:moveTo>
                  <a:pt x="9997969" y="2355783"/>
                </a:moveTo>
                <a:cubicBezTo>
                  <a:pt x="9997969" y="2355783"/>
                  <a:pt x="10016348" y="2355783"/>
                  <a:pt x="10016348" y="2364976"/>
                </a:cubicBezTo>
                <a:cubicBezTo>
                  <a:pt x="10016348" y="2364976"/>
                  <a:pt x="9988779" y="2355783"/>
                  <a:pt x="9997969" y="2355783"/>
                </a:cubicBezTo>
                <a:close/>
                <a:moveTo>
                  <a:pt x="8115376" y="2315182"/>
                </a:moveTo>
                <a:cubicBezTo>
                  <a:pt x="8110590" y="2312883"/>
                  <a:pt x="8103314" y="2312883"/>
                  <a:pt x="8098718" y="2317480"/>
                </a:cubicBezTo>
                <a:lnTo>
                  <a:pt x="8117100" y="2326673"/>
                </a:lnTo>
                <a:cubicBezTo>
                  <a:pt x="8122460" y="2322076"/>
                  <a:pt x="8120162" y="2317480"/>
                  <a:pt x="8115376" y="2315182"/>
                </a:cubicBezTo>
                <a:close/>
                <a:moveTo>
                  <a:pt x="2106894" y="2286262"/>
                </a:moveTo>
                <a:cubicBezTo>
                  <a:pt x="2102299" y="2283772"/>
                  <a:pt x="2097703" y="2283772"/>
                  <a:pt x="2097703" y="2288368"/>
                </a:cubicBezTo>
                <a:cubicBezTo>
                  <a:pt x="2088514" y="2288368"/>
                  <a:pt x="2116084" y="2299094"/>
                  <a:pt x="2116084" y="2299094"/>
                </a:cubicBezTo>
                <a:cubicBezTo>
                  <a:pt x="2116084" y="2293731"/>
                  <a:pt x="2111489" y="2288751"/>
                  <a:pt x="2106894" y="2286262"/>
                </a:cubicBezTo>
                <a:close/>
                <a:moveTo>
                  <a:pt x="8206749" y="2282935"/>
                </a:moveTo>
                <a:cubicBezTo>
                  <a:pt x="8206318" y="2284730"/>
                  <a:pt x="8205170" y="2289518"/>
                  <a:pt x="8202872" y="2299094"/>
                </a:cubicBezTo>
                <a:cubicBezTo>
                  <a:pt x="8202872" y="2299094"/>
                  <a:pt x="8208042" y="2277548"/>
                  <a:pt x="8206749" y="2282935"/>
                </a:cubicBezTo>
                <a:close/>
                <a:moveTo>
                  <a:pt x="2471715" y="2275298"/>
                </a:moveTo>
                <a:cubicBezTo>
                  <a:pt x="2460515" y="2275729"/>
                  <a:pt x="2452282" y="2276878"/>
                  <a:pt x="2449985" y="2279177"/>
                </a:cubicBezTo>
                <a:cubicBezTo>
                  <a:pt x="2442517" y="2286646"/>
                  <a:pt x="2476621" y="2288512"/>
                  <a:pt x="2515139" y="2287929"/>
                </a:cubicBezTo>
                <a:cubicBezTo>
                  <a:pt x="2579337" y="2286957"/>
                  <a:pt x="2655800" y="2279177"/>
                  <a:pt x="2572517" y="2279177"/>
                </a:cubicBezTo>
                <a:cubicBezTo>
                  <a:pt x="2565624" y="2279177"/>
                  <a:pt x="2505316" y="2274005"/>
                  <a:pt x="2471715" y="2275298"/>
                </a:cubicBezTo>
                <a:close/>
                <a:moveTo>
                  <a:pt x="2956195" y="2256194"/>
                </a:moveTo>
                <a:cubicBezTo>
                  <a:pt x="2921733" y="2253896"/>
                  <a:pt x="2857404" y="2256194"/>
                  <a:pt x="2819112" y="2269983"/>
                </a:cubicBezTo>
                <a:cubicBezTo>
                  <a:pt x="2776609" y="2256194"/>
                  <a:pt x="2787522" y="2279463"/>
                  <a:pt x="2803389" y="2279679"/>
                </a:cubicBezTo>
                <a:cubicBezTo>
                  <a:pt x="2808678" y="2279751"/>
                  <a:pt x="2814517" y="2277260"/>
                  <a:pt x="2819112" y="2269983"/>
                </a:cubicBezTo>
                <a:cubicBezTo>
                  <a:pt x="2848214" y="2260790"/>
                  <a:pt x="2875784" y="2269983"/>
                  <a:pt x="2914075" y="2269983"/>
                </a:cubicBezTo>
                <a:cubicBezTo>
                  <a:pt x="2995253" y="2265387"/>
                  <a:pt x="2990657" y="2258492"/>
                  <a:pt x="2956195" y="2256194"/>
                </a:cubicBezTo>
                <a:close/>
                <a:moveTo>
                  <a:pt x="5719171" y="2211495"/>
                </a:moveTo>
                <a:lnTo>
                  <a:pt x="5733848" y="2213294"/>
                </a:lnTo>
                <a:cubicBezTo>
                  <a:pt x="5733848" y="2213294"/>
                  <a:pt x="5729157" y="2212719"/>
                  <a:pt x="5723294" y="2212001"/>
                </a:cubicBezTo>
                <a:close/>
                <a:moveTo>
                  <a:pt x="5706659" y="2209964"/>
                </a:moveTo>
                <a:lnTo>
                  <a:pt x="5712300" y="2210654"/>
                </a:lnTo>
                <a:lnTo>
                  <a:pt x="5719171" y="2211495"/>
                </a:lnTo>
                <a:close/>
                <a:moveTo>
                  <a:pt x="5704565" y="2209707"/>
                </a:moveTo>
                <a:lnTo>
                  <a:pt x="5705703" y="2209847"/>
                </a:lnTo>
                <a:lnTo>
                  <a:pt x="5706659" y="2209964"/>
                </a:lnTo>
                <a:close/>
                <a:moveTo>
                  <a:pt x="5700866" y="2209254"/>
                </a:moveTo>
                <a:cubicBezTo>
                  <a:pt x="5700133" y="2209163"/>
                  <a:pt x="5700427" y="2209199"/>
                  <a:pt x="5702185" y="2209415"/>
                </a:cubicBezTo>
                <a:lnTo>
                  <a:pt x="5704565" y="2209707"/>
                </a:lnTo>
                <a:close/>
                <a:moveTo>
                  <a:pt x="5914956" y="2187732"/>
                </a:moveTo>
                <a:lnTo>
                  <a:pt x="5917454" y="2188204"/>
                </a:lnTo>
                <a:cubicBezTo>
                  <a:pt x="5920997" y="2188875"/>
                  <a:pt x="5922768" y="2189210"/>
                  <a:pt x="5920112" y="2188707"/>
                </a:cubicBezTo>
                <a:close/>
                <a:moveTo>
                  <a:pt x="5907962" y="2186408"/>
                </a:moveTo>
                <a:lnTo>
                  <a:pt x="5914956" y="2187732"/>
                </a:lnTo>
                <a:lnTo>
                  <a:pt x="5912474" y="2187262"/>
                </a:lnTo>
                <a:close/>
                <a:moveTo>
                  <a:pt x="5896203" y="2184183"/>
                </a:moveTo>
                <a:cubicBezTo>
                  <a:pt x="5848722" y="2204101"/>
                  <a:pt x="5801240" y="2213294"/>
                  <a:pt x="5733848" y="2213294"/>
                </a:cubicBezTo>
                <a:cubicBezTo>
                  <a:pt x="5781329" y="2204101"/>
                  <a:pt x="5839531" y="2194908"/>
                  <a:pt x="5896203" y="2184183"/>
                </a:cubicBezTo>
                <a:close/>
                <a:moveTo>
                  <a:pt x="5896203" y="2184183"/>
                </a:moveTo>
                <a:cubicBezTo>
                  <a:pt x="5896203" y="2184183"/>
                  <a:pt x="5899745" y="2184852"/>
                  <a:pt x="5904173" y="2185691"/>
                </a:cubicBezTo>
                <a:lnTo>
                  <a:pt x="5907962" y="2186408"/>
                </a:lnTo>
                <a:close/>
                <a:moveTo>
                  <a:pt x="5952874" y="2165797"/>
                </a:moveTo>
                <a:cubicBezTo>
                  <a:pt x="5962064" y="2165797"/>
                  <a:pt x="5991165" y="2174990"/>
                  <a:pt x="5981975" y="2174990"/>
                </a:cubicBezTo>
                <a:cubicBezTo>
                  <a:pt x="5981975" y="2177289"/>
                  <a:pt x="5980157" y="2178437"/>
                  <a:pt x="5977428" y="2178725"/>
                </a:cubicBezTo>
                <a:cubicBezTo>
                  <a:pt x="5969244" y="2179586"/>
                  <a:pt x="5952874" y="2172691"/>
                  <a:pt x="5952874" y="2165797"/>
                </a:cubicBezTo>
                <a:close/>
                <a:moveTo>
                  <a:pt x="6028874" y="2155018"/>
                </a:moveTo>
                <a:lnTo>
                  <a:pt x="6030677" y="2155311"/>
                </a:lnTo>
                <a:cubicBezTo>
                  <a:pt x="6035105" y="2156030"/>
                  <a:pt x="6038647" y="2156603"/>
                  <a:pt x="6038647" y="2156603"/>
                </a:cubicBezTo>
                <a:close/>
                <a:moveTo>
                  <a:pt x="6022200" y="2153936"/>
                </a:moveTo>
                <a:lnTo>
                  <a:pt x="6022376" y="2153964"/>
                </a:lnTo>
                <a:lnTo>
                  <a:pt x="6028874" y="2155018"/>
                </a:lnTo>
                <a:close/>
                <a:moveTo>
                  <a:pt x="6013535" y="2152531"/>
                </a:moveTo>
                <a:cubicBezTo>
                  <a:pt x="6013078" y="2152457"/>
                  <a:pt x="6014738" y="2152725"/>
                  <a:pt x="6017396" y="2153156"/>
                </a:cubicBezTo>
                <a:lnTo>
                  <a:pt x="6022200" y="2153936"/>
                </a:lnTo>
                <a:close/>
                <a:moveTo>
                  <a:pt x="6095318" y="2127494"/>
                </a:moveTo>
                <a:cubicBezTo>
                  <a:pt x="6088426" y="2134387"/>
                  <a:pt x="6102211" y="2142145"/>
                  <a:pt x="6114057" y="2141067"/>
                </a:cubicBezTo>
                <a:cubicBezTo>
                  <a:pt x="6118006" y="2140708"/>
                  <a:pt x="6121739" y="2139367"/>
                  <a:pt x="6124420" y="2136686"/>
                </a:cubicBezTo>
                <a:close/>
                <a:moveTo>
                  <a:pt x="6181090" y="2118300"/>
                </a:moveTo>
                <a:cubicBezTo>
                  <a:pt x="6199470" y="2118300"/>
                  <a:pt x="6208660" y="2118300"/>
                  <a:pt x="6228571" y="2118300"/>
                </a:cubicBezTo>
                <a:cubicBezTo>
                  <a:pt x="6228571" y="2136686"/>
                  <a:pt x="6190280" y="2118300"/>
                  <a:pt x="6181090" y="2127494"/>
                </a:cubicBezTo>
                <a:close/>
                <a:moveTo>
                  <a:pt x="10053814" y="2108087"/>
                </a:moveTo>
                <a:cubicBezTo>
                  <a:pt x="10054354" y="2107504"/>
                  <a:pt x="10054642" y="2107767"/>
                  <a:pt x="10054642" y="2109108"/>
                </a:cubicBezTo>
                <a:lnTo>
                  <a:pt x="10053394" y="2108809"/>
                </a:lnTo>
                <a:close/>
                <a:moveTo>
                  <a:pt x="6312812" y="2089190"/>
                </a:moveTo>
                <a:cubicBezTo>
                  <a:pt x="6332724" y="2089190"/>
                  <a:pt x="6351104" y="2089190"/>
                  <a:pt x="6361825" y="2089190"/>
                </a:cubicBezTo>
                <a:cubicBezTo>
                  <a:pt x="6332724" y="2109108"/>
                  <a:pt x="6285243" y="2118300"/>
                  <a:pt x="6228571" y="2118300"/>
                </a:cubicBezTo>
                <a:lnTo>
                  <a:pt x="6228571" y="2109108"/>
                </a:lnTo>
                <a:cubicBezTo>
                  <a:pt x="6246952" y="2109108"/>
                  <a:pt x="6266863" y="2109108"/>
                  <a:pt x="6266863" y="2098383"/>
                </a:cubicBezTo>
                <a:cubicBezTo>
                  <a:pt x="6285243" y="2089190"/>
                  <a:pt x="6312812" y="2109108"/>
                  <a:pt x="6312812" y="2089190"/>
                </a:cubicBezTo>
                <a:close/>
                <a:moveTo>
                  <a:pt x="6409307" y="2079997"/>
                </a:moveTo>
                <a:cubicBezTo>
                  <a:pt x="6398585" y="2089190"/>
                  <a:pt x="6380205" y="2089190"/>
                  <a:pt x="6361825" y="2089190"/>
                </a:cubicBezTo>
                <a:cubicBezTo>
                  <a:pt x="6371015" y="2079997"/>
                  <a:pt x="6389395" y="2079997"/>
                  <a:pt x="6409307" y="2079997"/>
                </a:cubicBezTo>
                <a:close/>
                <a:moveTo>
                  <a:pt x="6466800" y="2072428"/>
                </a:moveTo>
                <a:lnTo>
                  <a:pt x="6478040" y="2074251"/>
                </a:lnTo>
                <a:cubicBezTo>
                  <a:pt x="6481582" y="2074825"/>
                  <a:pt x="6483353" y="2075112"/>
                  <a:pt x="6480695" y="2074682"/>
                </a:cubicBezTo>
                <a:cubicBezTo>
                  <a:pt x="6479367" y="2074466"/>
                  <a:pt x="6476933" y="2074072"/>
                  <a:pt x="6473059" y="2073444"/>
                </a:cubicBezTo>
                <a:close/>
                <a:moveTo>
                  <a:pt x="6456788" y="2070803"/>
                </a:moveTo>
                <a:lnTo>
                  <a:pt x="6466800" y="2072428"/>
                </a:lnTo>
                <a:lnTo>
                  <a:pt x="6464758" y="2072097"/>
                </a:lnTo>
                <a:cubicBezTo>
                  <a:pt x="6460330" y="2071378"/>
                  <a:pt x="6456788" y="2070803"/>
                  <a:pt x="6456788" y="2070803"/>
                </a:cubicBezTo>
                <a:close/>
                <a:moveTo>
                  <a:pt x="6421560" y="2068506"/>
                </a:moveTo>
                <a:cubicBezTo>
                  <a:pt x="6432281" y="2068506"/>
                  <a:pt x="6446832" y="2070803"/>
                  <a:pt x="6456788" y="2070803"/>
                </a:cubicBezTo>
                <a:cubicBezTo>
                  <a:pt x="6456788" y="2089190"/>
                  <a:pt x="6418497" y="2070803"/>
                  <a:pt x="6409307" y="2079997"/>
                </a:cubicBezTo>
                <a:cubicBezTo>
                  <a:pt x="6403946" y="2070804"/>
                  <a:pt x="6410838" y="2068506"/>
                  <a:pt x="6421560" y="2068506"/>
                </a:cubicBezTo>
                <a:close/>
                <a:moveTo>
                  <a:pt x="6554431" y="2039586"/>
                </a:moveTo>
                <a:cubicBezTo>
                  <a:pt x="6560558" y="2042076"/>
                  <a:pt x="6565535" y="2047056"/>
                  <a:pt x="6560940" y="2052418"/>
                </a:cubicBezTo>
                <a:lnTo>
                  <a:pt x="6541029" y="2041693"/>
                </a:lnTo>
                <a:cubicBezTo>
                  <a:pt x="6541029" y="2037097"/>
                  <a:pt x="6548304" y="2037097"/>
                  <a:pt x="6554431" y="2039586"/>
                </a:cubicBezTo>
                <a:close/>
                <a:moveTo>
                  <a:pt x="6600763" y="2030202"/>
                </a:moveTo>
                <a:cubicBezTo>
                  <a:pt x="6608038" y="2032500"/>
                  <a:pt x="6613017" y="2037097"/>
                  <a:pt x="6608422" y="2041693"/>
                </a:cubicBezTo>
                <a:lnTo>
                  <a:pt x="6579320" y="2032500"/>
                </a:lnTo>
                <a:cubicBezTo>
                  <a:pt x="6583915" y="2027904"/>
                  <a:pt x="6593488" y="2027904"/>
                  <a:pt x="6600763" y="2030202"/>
                </a:cubicBezTo>
                <a:close/>
                <a:moveTo>
                  <a:pt x="6639055" y="2021009"/>
                </a:moveTo>
                <a:cubicBezTo>
                  <a:pt x="6646330" y="2023308"/>
                  <a:pt x="6651308" y="2027904"/>
                  <a:pt x="6646713" y="2032500"/>
                </a:cubicBezTo>
                <a:lnTo>
                  <a:pt x="6617612" y="2023308"/>
                </a:lnTo>
                <a:cubicBezTo>
                  <a:pt x="6622206" y="2018711"/>
                  <a:pt x="6631779" y="2018711"/>
                  <a:pt x="6639055" y="2021009"/>
                </a:cubicBezTo>
                <a:close/>
                <a:moveTo>
                  <a:pt x="6669431" y="2010840"/>
                </a:moveTo>
                <a:lnTo>
                  <a:pt x="6677729" y="2011816"/>
                </a:lnTo>
                <a:cubicBezTo>
                  <a:pt x="6685770" y="2014115"/>
                  <a:pt x="6692662" y="2018710"/>
                  <a:pt x="6692662" y="2023308"/>
                </a:cubicBezTo>
                <a:cubicBezTo>
                  <a:pt x="6683473" y="2023308"/>
                  <a:pt x="6655902" y="2014115"/>
                  <a:pt x="6655902" y="2014115"/>
                </a:cubicBezTo>
                <a:lnTo>
                  <a:pt x="6660190" y="2012450"/>
                </a:lnTo>
                <a:close/>
                <a:moveTo>
                  <a:pt x="6707083" y="2010473"/>
                </a:moveTo>
                <a:lnTo>
                  <a:pt x="6708661" y="2012839"/>
                </a:lnTo>
                <a:cubicBezTo>
                  <a:pt x="6709918" y="2014725"/>
                  <a:pt x="6710707" y="2015910"/>
                  <a:pt x="6711138" y="2016556"/>
                </a:cubicBezTo>
                <a:cubicBezTo>
                  <a:pt x="6712000" y="2017849"/>
                  <a:pt x="6711425" y="2016987"/>
                  <a:pt x="6710276" y="2015264"/>
                </a:cubicBezTo>
                <a:close/>
                <a:moveTo>
                  <a:pt x="6703384" y="2004921"/>
                </a:moveTo>
                <a:lnTo>
                  <a:pt x="6707083" y="2010473"/>
                </a:lnTo>
                <a:lnTo>
                  <a:pt x="6705968" y="2008799"/>
                </a:lnTo>
                <a:cubicBezTo>
                  <a:pt x="6704532" y="2006644"/>
                  <a:pt x="6703384" y="2004921"/>
                  <a:pt x="6703384" y="2004921"/>
                </a:cubicBezTo>
                <a:close/>
                <a:moveTo>
                  <a:pt x="7418522" y="1998099"/>
                </a:moveTo>
                <a:cubicBezTo>
                  <a:pt x="7410050" y="1998027"/>
                  <a:pt x="7391862" y="1999942"/>
                  <a:pt x="7358931" y="2004921"/>
                </a:cubicBezTo>
                <a:cubicBezTo>
                  <a:pt x="7225678" y="2023308"/>
                  <a:pt x="7092424" y="2070803"/>
                  <a:pt x="6968360" y="2098383"/>
                </a:cubicBezTo>
                <a:cubicBezTo>
                  <a:pt x="5991165" y="2346591"/>
                  <a:pt x="4917477" y="2489081"/>
                  <a:pt x="3825408" y="2631570"/>
                </a:cubicBezTo>
                <a:cubicBezTo>
                  <a:pt x="3768736" y="2640763"/>
                  <a:pt x="3588001" y="2668341"/>
                  <a:pt x="3588001" y="2668341"/>
                </a:cubicBezTo>
                <a:cubicBezTo>
                  <a:pt x="3592980" y="2673321"/>
                  <a:pt x="3606191" y="2675236"/>
                  <a:pt x="3624403" y="2675164"/>
                </a:cubicBezTo>
                <a:cubicBezTo>
                  <a:pt x="3679040" y="2674949"/>
                  <a:pt x="3778693" y="2656851"/>
                  <a:pt x="3836130" y="2649956"/>
                </a:cubicBezTo>
                <a:cubicBezTo>
                  <a:pt x="4451853" y="2584073"/>
                  <a:pt x="4984869" y="2507466"/>
                  <a:pt x="5573024" y="2412473"/>
                </a:cubicBezTo>
                <a:cubicBezTo>
                  <a:pt x="5876291" y="2364976"/>
                  <a:pt x="6208660" y="2299094"/>
                  <a:pt x="6513459" y="2222487"/>
                </a:cubicBezTo>
                <a:cubicBezTo>
                  <a:pt x="6760056" y="2165797"/>
                  <a:pt x="7101614" y="2109108"/>
                  <a:pt x="7368121" y="2023308"/>
                </a:cubicBezTo>
                <a:cubicBezTo>
                  <a:pt x="7381907" y="2016412"/>
                  <a:pt x="7443938" y="1998314"/>
                  <a:pt x="7418522" y="1998099"/>
                </a:cubicBezTo>
                <a:close/>
                <a:moveTo>
                  <a:pt x="6760055" y="1992090"/>
                </a:moveTo>
                <a:cubicBezTo>
                  <a:pt x="6764650" y="1994579"/>
                  <a:pt x="6769245" y="1999559"/>
                  <a:pt x="6769245" y="2004921"/>
                </a:cubicBezTo>
                <a:cubicBezTo>
                  <a:pt x="6769245" y="2004921"/>
                  <a:pt x="6741676" y="1994197"/>
                  <a:pt x="6750865" y="1994197"/>
                </a:cubicBezTo>
                <a:cubicBezTo>
                  <a:pt x="6750865" y="1989600"/>
                  <a:pt x="6755460" y="1989600"/>
                  <a:pt x="6760055" y="1992090"/>
                </a:cubicBezTo>
                <a:close/>
                <a:moveTo>
                  <a:pt x="6798347" y="1982706"/>
                </a:moveTo>
                <a:cubicBezTo>
                  <a:pt x="6802942" y="1985003"/>
                  <a:pt x="6807536" y="1989600"/>
                  <a:pt x="6807536" y="1994197"/>
                </a:cubicBezTo>
                <a:cubicBezTo>
                  <a:pt x="6807536" y="1994197"/>
                  <a:pt x="6778436" y="1985003"/>
                  <a:pt x="6789157" y="1985003"/>
                </a:cubicBezTo>
                <a:cubicBezTo>
                  <a:pt x="6789157" y="1980407"/>
                  <a:pt x="6793752" y="1980407"/>
                  <a:pt x="6798347" y="1982706"/>
                </a:cubicBezTo>
                <a:close/>
                <a:moveTo>
                  <a:pt x="6847359" y="1973512"/>
                </a:moveTo>
                <a:cubicBezTo>
                  <a:pt x="6854635" y="1975811"/>
                  <a:pt x="6859613" y="1980407"/>
                  <a:pt x="6855018" y="1985003"/>
                </a:cubicBezTo>
                <a:lnTo>
                  <a:pt x="6825916" y="1975811"/>
                </a:lnTo>
                <a:cubicBezTo>
                  <a:pt x="6830511" y="1971214"/>
                  <a:pt x="6840084" y="1971214"/>
                  <a:pt x="6847359" y="1973512"/>
                </a:cubicBezTo>
                <a:close/>
                <a:moveTo>
                  <a:pt x="6864207" y="1957424"/>
                </a:moveTo>
                <a:cubicBezTo>
                  <a:pt x="6873398" y="1957424"/>
                  <a:pt x="6902499" y="1966618"/>
                  <a:pt x="6893309" y="1975811"/>
                </a:cubicBezTo>
                <a:cubicBezTo>
                  <a:pt x="6893309" y="1975811"/>
                  <a:pt x="6864207" y="1966618"/>
                  <a:pt x="6864207" y="1957424"/>
                </a:cubicBezTo>
                <a:close/>
                <a:moveTo>
                  <a:pt x="6902499" y="1946700"/>
                </a:moveTo>
                <a:cubicBezTo>
                  <a:pt x="6920879" y="1946700"/>
                  <a:pt x="6931601" y="1946700"/>
                  <a:pt x="6940791" y="1946700"/>
                </a:cubicBezTo>
                <a:cubicBezTo>
                  <a:pt x="6945385" y="1956659"/>
                  <a:pt x="6935812" y="1961638"/>
                  <a:pt x="6925091" y="1961638"/>
                </a:cubicBezTo>
                <a:cubicBezTo>
                  <a:pt x="6914369" y="1961638"/>
                  <a:pt x="6902499" y="1956659"/>
                  <a:pt x="6902499" y="1946700"/>
                </a:cubicBezTo>
                <a:close/>
                <a:moveTo>
                  <a:pt x="6940791" y="1937507"/>
                </a:moveTo>
                <a:cubicBezTo>
                  <a:pt x="6959171" y="1937507"/>
                  <a:pt x="6968360" y="1937507"/>
                  <a:pt x="6988271" y="1937507"/>
                </a:cubicBezTo>
                <a:cubicBezTo>
                  <a:pt x="6983677" y="1947466"/>
                  <a:pt x="6976401" y="1949765"/>
                  <a:pt x="6967977" y="1949573"/>
                </a:cubicBezTo>
                <a:cubicBezTo>
                  <a:pt x="6959553" y="1949381"/>
                  <a:pt x="6949981" y="1946700"/>
                  <a:pt x="6940791" y="1946700"/>
                </a:cubicBezTo>
                <a:cubicBezTo>
                  <a:pt x="6940791" y="1946700"/>
                  <a:pt x="6940791" y="1946700"/>
                  <a:pt x="6940791" y="1937507"/>
                </a:cubicBezTo>
                <a:close/>
                <a:moveTo>
                  <a:pt x="7110804" y="1899203"/>
                </a:moveTo>
                <a:cubicBezTo>
                  <a:pt x="7121525" y="1899203"/>
                  <a:pt x="7130716" y="1899203"/>
                  <a:pt x="7139905" y="1899203"/>
                </a:cubicBezTo>
                <a:cubicBezTo>
                  <a:pt x="7139905" y="1899203"/>
                  <a:pt x="7134735" y="1904374"/>
                  <a:pt x="7123751" y="1903082"/>
                </a:cubicBezTo>
                <a:cubicBezTo>
                  <a:pt x="7120089" y="1902650"/>
                  <a:pt x="7115782" y="1901501"/>
                  <a:pt x="7110804" y="1899203"/>
                </a:cubicBezTo>
                <a:close/>
                <a:moveTo>
                  <a:pt x="7187386" y="1871624"/>
                </a:moveTo>
                <a:cubicBezTo>
                  <a:pt x="7187386" y="1880818"/>
                  <a:pt x="7205766" y="1880818"/>
                  <a:pt x="7205766" y="1880818"/>
                </a:cubicBezTo>
                <a:cubicBezTo>
                  <a:pt x="7214956" y="1880818"/>
                  <a:pt x="7196576" y="1871624"/>
                  <a:pt x="7187386" y="1871624"/>
                </a:cubicBezTo>
                <a:close/>
                <a:moveTo>
                  <a:pt x="7225678" y="1862432"/>
                </a:moveTo>
                <a:cubicBezTo>
                  <a:pt x="7225678" y="1871624"/>
                  <a:pt x="7244058" y="1871624"/>
                  <a:pt x="7244058" y="1871624"/>
                </a:cubicBezTo>
                <a:cubicBezTo>
                  <a:pt x="7253247" y="1871624"/>
                  <a:pt x="7234867" y="1862432"/>
                  <a:pt x="7225678" y="1862432"/>
                </a:cubicBezTo>
                <a:close/>
                <a:moveTo>
                  <a:pt x="2279013" y="1854029"/>
                </a:moveTo>
                <a:cubicBezTo>
                  <a:pt x="2265132" y="1854962"/>
                  <a:pt x="2254315" y="1857453"/>
                  <a:pt x="2249338" y="1862432"/>
                </a:cubicBezTo>
                <a:cubicBezTo>
                  <a:pt x="2264271" y="1847493"/>
                  <a:pt x="2411884" y="1880818"/>
                  <a:pt x="2497034" y="1882900"/>
                </a:cubicBezTo>
                <a:cubicBezTo>
                  <a:pt x="2525418" y="1883595"/>
                  <a:pt x="2546861" y="1880818"/>
                  <a:pt x="2554137" y="1871624"/>
                </a:cubicBezTo>
                <a:cubicBezTo>
                  <a:pt x="2543415" y="1880818"/>
                  <a:pt x="2449985" y="1862432"/>
                  <a:pt x="2411693" y="1862432"/>
                </a:cubicBezTo>
                <a:cubicBezTo>
                  <a:pt x="2389866" y="1862432"/>
                  <a:pt x="2320655" y="1851228"/>
                  <a:pt x="2279013" y="1854029"/>
                </a:cubicBezTo>
                <a:close/>
                <a:moveTo>
                  <a:pt x="7262438" y="1851707"/>
                </a:moveTo>
                <a:cubicBezTo>
                  <a:pt x="7255545" y="1859750"/>
                  <a:pt x="7270191" y="1866933"/>
                  <a:pt x="7281822" y="1866142"/>
                </a:cubicBezTo>
                <a:cubicBezTo>
                  <a:pt x="7285699" y="1865879"/>
                  <a:pt x="7289242" y="1864730"/>
                  <a:pt x="7291539" y="1862432"/>
                </a:cubicBezTo>
                <a:close/>
                <a:moveTo>
                  <a:pt x="2596879" y="1849504"/>
                </a:moveTo>
                <a:cubicBezTo>
                  <a:pt x="2593289" y="1848930"/>
                  <a:pt x="2590896" y="1849409"/>
                  <a:pt x="2590896" y="1851707"/>
                </a:cubicBezTo>
                <a:cubicBezTo>
                  <a:pt x="2584003" y="1859750"/>
                  <a:pt x="2603820" y="1866933"/>
                  <a:pt x="2618035" y="1866142"/>
                </a:cubicBezTo>
                <a:cubicBezTo>
                  <a:pt x="2622774" y="1865879"/>
                  <a:pt x="2626891" y="1864730"/>
                  <a:pt x="2629188" y="1862432"/>
                </a:cubicBezTo>
                <a:cubicBezTo>
                  <a:pt x="2629188" y="1862432"/>
                  <a:pt x="2607649" y="1851228"/>
                  <a:pt x="2596879" y="1849504"/>
                </a:cubicBezTo>
                <a:close/>
                <a:moveTo>
                  <a:pt x="2670686" y="1847828"/>
                </a:moveTo>
                <a:cubicBezTo>
                  <a:pt x="2659629" y="1848259"/>
                  <a:pt x="2651396" y="1849409"/>
                  <a:pt x="2649098" y="1851707"/>
                </a:cubicBezTo>
                <a:cubicBezTo>
                  <a:pt x="2641632" y="1859176"/>
                  <a:pt x="2671643" y="1862551"/>
                  <a:pt x="2706096" y="1863287"/>
                </a:cubicBezTo>
                <a:cubicBezTo>
                  <a:pt x="2763519" y="1864515"/>
                  <a:pt x="2833281" y="1858410"/>
                  <a:pt x="2762442" y="1851707"/>
                </a:cubicBezTo>
                <a:cubicBezTo>
                  <a:pt x="2762442" y="1851707"/>
                  <a:pt x="2703856" y="1846535"/>
                  <a:pt x="2670686" y="1847828"/>
                </a:cubicBezTo>
                <a:close/>
                <a:moveTo>
                  <a:pt x="7300728" y="1842514"/>
                </a:moveTo>
                <a:cubicBezTo>
                  <a:pt x="7291539" y="1851707"/>
                  <a:pt x="7311451" y="1851707"/>
                  <a:pt x="7320640" y="1851707"/>
                </a:cubicBezTo>
                <a:close/>
                <a:moveTo>
                  <a:pt x="996445" y="1842514"/>
                </a:moveTo>
                <a:cubicBezTo>
                  <a:pt x="996445" y="1849408"/>
                  <a:pt x="1012815" y="1857164"/>
                  <a:pt x="1020999" y="1856087"/>
                </a:cubicBezTo>
                <a:cubicBezTo>
                  <a:pt x="1023728" y="1855728"/>
                  <a:pt x="1025546" y="1854387"/>
                  <a:pt x="1025546" y="1851707"/>
                </a:cubicBezTo>
                <a:cubicBezTo>
                  <a:pt x="1034736" y="1851707"/>
                  <a:pt x="1005635" y="1842514"/>
                  <a:pt x="996445" y="1842514"/>
                </a:cubicBezTo>
                <a:close/>
                <a:moveTo>
                  <a:pt x="2841082" y="1838636"/>
                </a:moveTo>
                <a:cubicBezTo>
                  <a:pt x="2829739" y="1839066"/>
                  <a:pt x="2821410" y="1840215"/>
                  <a:pt x="2819112" y="1842514"/>
                </a:cubicBezTo>
                <a:cubicBezTo>
                  <a:pt x="2815666" y="1849983"/>
                  <a:pt x="2846897" y="1853143"/>
                  <a:pt x="2881791" y="1853690"/>
                </a:cubicBezTo>
                <a:cubicBezTo>
                  <a:pt x="2893422" y="1853873"/>
                  <a:pt x="2905460" y="1853765"/>
                  <a:pt x="2916755" y="1853430"/>
                </a:cubicBezTo>
                <a:cubicBezTo>
                  <a:pt x="2961939" y="1852090"/>
                  <a:pt x="2995253" y="1847110"/>
                  <a:pt x="2943176" y="1842514"/>
                </a:cubicBezTo>
                <a:cubicBezTo>
                  <a:pt x="2936283" y="1842514"/>
                  <a:pt x="2875113" y="1837342"/>
                  <a:pt x="2841082" y="1838636"/>
                </a:cubicBezTo>
                <a:close/>
                <a:moveTo>
                  <a:pt x="3021003" y="1827001"/>
                </a:moveTo>
                <a:cubicBezTo>
                  <a:pt x="3012100" y="1827001"/>
                  <a:pt x="3004443" y="1828724"/>
                  <a:pt x="2999847" y="1833321"/>
                </a:cubicBezTo>
                <a:cubicBezTo>
                  <a:pt x="3006739" y="1826426"/>
                  <a:pt x="3046371" y="1840216"/>
                  <a:pt x="3069633" y="1843664"/>
                </a:cubicBezTo>
                <a:cubicBezTo>
                  <a:pt x="3077387" y="1844812"/>
                  <a:pt x="3083322" y="1844812"/>
                  <a:pt x="3085620" y="1842514"/>
                </a:cubicBezTo>
                <a:cubicBezTo>
                  <a:pt x="3085620" y="1842514"/>
                  <a:pt x="3047711" y="1827001"/>
                  <a:pt x="3021003" y="1827001"/>
                </a:cubicBezTo>
                <a:close/>
                <a:moveTo>
                  <a:pt x="438522" y="1821650"/>
                </a:moveTo>
                <a:cubicBezTo>
                  <a:pt x="457708" y="1826444"/>
                  <a:pt x="446575" y="1848691"/>
                  <a:pt x="430476" y="1849121"/>
                </a:cubicBezTo>
                <a:cubicBezTo>
                  <a:pt x="423320" y="1849313"/>
                  <a:pt x="415182" y="1845195"/>
                  <a:pt x="408291" y="1833321"/>
                </a:cubicBezTo>
                <a:lnTo>
                  <a:pt x="408291" y="1824128"/>
                </a:lnTo>
                <a:cubicBezTo>
                  <a:pt x="422362" y="1820393"/>
                  <a:pt x="432126" y="1820053"/>
                  <a:pt x="438522" y="1821650"/>
                </a:cubicBezTo>
                <a:close/>
                <a:moveTo>
                  <a:pt x="7364580" y="1737178"/>
                </a:moveTo>
                <a:cubicBezTo>
                  <a:pt x="7359219" y="1737753"/>
                  <a:pt x="7353188" y="1740626"/>
                  <a:pt x="7348210" y="1747521"/>
                </a:cubicBezTo>
                <a:cubicBezTo>
                  <a:pt x="7339020" y="1747521"/>
                  <a:pt x="7320640" y="1747521"/>
                  <a:pt x="7320640" y="1756714"/>
                </a:cubicBezTo>
                <a:cubicBezTo>
                  <a:pt x="7300728" y="1756714"/>
                  <a:pt x="7282349" y="1747521"/>
                  <a:pt x="7282349" y="1767438"/>
                </a:cubicBezTo>
                <a:cubicBezTo>
                  <a:pt x="7234867" y="1767438"/>
                  <a:pt x="7196576" y="1776631"/>
                  <a:pt x="7169006" y="1795017"/>
                </a:cubicBezTo>
                <a:cubicBezTo>
                  <a:pt x="6760056" y="1890011"/>
                  <a:pt x="6323533" y="1994197"/>
                  <a:pt x="5905393" y="2079997"/>
                </a:cubicBezTo>
                <a:cubicBezTo>
                  <a:pt x="5845084" y="2094360"/>
                  <a:pt x="5830007" y="2100537"/>
                  <a:pt x="5839726" y="2101677"/>
                </a:cubicBezTo>
                <a:cubicBezTo>
                  <a:pt x="5855926" y="2103578"/>
                  <a:pt x="5941004" y="2091488"/>
                  <a:pt x="6000355" y="2079997"/>
                </a:cubicBezTo>
                <a:cubicBezTo>
                  <a:pt x="6389395" y="2004921"/>
                  <a:pt x="6835106" y="1880818"/>
                  <a:pt x="7169006" y="1795017"/>
                </a:cubicBezTo>
                <a:cubicBezTo>
                  <a:pt x="7214956" y="1795017"/>
                  <a:pt x="7253247" y="1785824"/>
                  <a:pt x="7282349" y="1767438"/>
                </a:cubicBezTo>
                <a:cubicBezTo>
                  <a:pt x="7291539" y="1767438"/>
                  <a:pt x="7311451" y="1767438"/>
                  <a:pt x="7320640" y="1756714"/>
                </a:cubicBezTo>
                <a:cubicBezTo>
                  <a:pt x="7329830" y="1756714"/>
                  <a:pt x="7348210" y="1756714"/>
                  <a:pt x="7348210" y="1747521"/>
                </a:cubicBezTo>
                <a:cubicBezTo>
                  <a:pt x="7390713" y="1754415"/>
                  <a:pt x="7380662" y="1735455"/>
                  <a:pt x="7364580" y="1737178"/>
                </a:cubicBezTo>
                <a:close/>
                <a:moveTo>
                  <a:pt x="7028094" y="1726837"/>
                </a:moveTo>
                <a:cubicBezTo>
                  <a:pt x="7020819" y="1726837"/>
                  <a:pt x="7015841" y="1729134"/>
                  <a:pt x="7015841" y="1738327"/>
                </a:cubicBezTo>
                <a:cubicBezTo>
                  <a:pt x="6968360" y="1738327"/>
                  <a:pt x="6920879" y="1747521"/>
                  <a:pt x="6864207" y="1767438"/>
                </a:cubicBezTo>
                <a:cubicBezTo>
                  <a:pt x="6848125" y="1767438"/>
                  <a:pt x="6707740" y="1810841"/>
                  <a:pt x="6730356" y="1815533"/>
                </a:cubicBezTo>
                <a:cubicBezTo>
                  <a:pt x="6733586" y="1816204"/>
                  <a:pt x="6740144" y="1816084"/>
                  <a:pt x="6750865" y="1814935"/>
                </a:cubicBezTo>
                <a:cubicBezTo>
                  <a:pt x="6816726" y="1804210"/>
                  <a:pt x="6979082" y="1738327"/>
                  <a:pt x="7015841" y="1738327"/>
                </a:cubicBezTo>
                <a:cubicBezTo>
                  <a:pt x="7025031" y="1738327"/>
                  <a:pt x="7054133" y="1738327"/>
                  <a:pt x="7054133" y="1729135"/>
                </a:cubicBezTo>
                <a:cubicBezTo>
                  <a:pt x="7044943" y="1729135"/>
                  <a:pt x="7035370" y="1726837"/>
                  <a:pt x="7028094" y="1726837"/>
                </a:cubicBezTo>
                <a:close/>
                <a:moveTo>
                  <a:pt x="7752136" y="1715561"/>
                </a:moveTo>
                <a:cubicBezTo>
                  <a:pt x="7749694" y="1715920"/>
                  <a:pt x="7747972" y="1717261"/>
                  <a:pt x="7747972" y="1719942"/>
                </a:cubicBezTo>
                <a:lnTo>
                  <a:pt x="7766352" y="1729135"/>
                </a:lnTo>
                <a:cubicBezTo>
                  <a:pt x="7773244" y="1722240"/>
                  <a:pt x="7759458" y="1714484"/>
                  <a:pt x="7752136" y="1715561"/>
                </a:cubicBezTo>
                <a:close/>
                <a:moveTo>
                  <a:pt x="7428957" y="1715561"/>
                </a:moveTo>
                <a:cubicBezTo>
                  <a:pt x="7426516" y="1715920"/>
                  <a:pt x="7424793" y="1717261"/>
                  <a:pt x="7424793" y="1719942"/>
                </a:cubicBezTo>
                <a:lnTo>
                  <a:pt x="7443173" y="1729135"/>
                </a:lnTo>
                <a:cubicBezTo>
                  <a:pt x="7450065" y="1722240"/>
                  <a:pt x="7436279" y="1714484"/>
                  <a:pt x="7428957" y="1715561"/>
                </a:cubicBezTo>
                <a:close/>
                <a:moveTo>
                  <a:pt x="7546942" y="1688533"/>
                </a:moveTo>
                <a:cubicBezTo>
                  <a:pt x="7540815" y="1686235"/>
                  <a:pt x="7533540" y="1686235"/>
                  <a:pt x="7528945" y="1690831"/>
                </a:cubicBezTo>
                <a:cubicBezTo>
                  <a:pt x="7528945" y="1690831"/>
                  <a:pt x="7547325" y="1700024"/>
                  <a:pt x="7558047" y="1700024"/>
                </a:cubicBezTo>
                <a:cubicBezTo>
                  <a:pt x="7558047" y="1695428"/>
                  <a:pt x="7553068" y="1690831"/>
                  <a:pt x="7546942" y="1688533"/>
                </a:cubicBezTo>
                <a:close/>
                <a:moveTo>
                  <a:pt x="7605528" y="1661720"/>
                </a:moveTo>
                <a:cubicBezTo>
                  <a:pt x="7597486" y="1669764"/>
                  <a:pt x="7606676" y="1676945"/>
                  <a:pt x="7615651" y="1676156"/>
                </a:cubicBezTo>
                <a:cubicBezTo>
                  <a:pt x="7618642" y="1675892"/>
                  <a:pt x="7621610" y="1674744"/>
                  <a:pt x="7623908" y="1672445"/>
                </a:cubicBezTo>
                <a:close/>
                <a:moveTo>
                  <a:pt x="8630203" y="1643334"/>
                </a:moveTo>
                <a:cubicBezTo>
                  <a:pt x="8630203" y="1650229"/>
                  <a:pt x="8641404" y="1657124"/>
                  <a:pt x="8647004" y="1656262"/>
                </a:cubicBezTo>
                <a:cubicBezTo>
                  <a:pt x="8648870" y="1655975"/>
                  <a:pt x="8650114" y="1654826"/>
                  <a:pt x="8650114" y="1652527"/>
                </a:cubicBezTo>
                <a:cubicBezTo>
                  <a:pt x="8659304" y="1652527"/>
                  <a:pt x="8630203" y="1643334"/>
                  <a:pt x="8630203" y="1643334"/>
                </a:cubicBezTo>
                <a:close/>
                <a:moveTo>
                  <a:pt x="7671389" y="1643334"/>
                </a:moveTo>
                <a:cubicBezTo>
                  <a:pt x="7664496" y="1650229"/>
                  <a:pt x="7679142" y="1657124"/>
                  <a:pt x="7686896" y="1656262"/>
                </a:cubicBezTo>
                <a:cubicBezTo>
                  <a:pt x="7689482" y="1655975"/>
                  <a:pt x="7691300" y="1654826"/>
                  <a:pt x="7691300" y="1652527"/>
                </a:cubicBezTo>
                <a:close/>
                <a:moveTo>
                  <a:pt x="8659304" y="1634142"/>
                </a:moveTo>
                <a:cubicBezTo>
                  <a:pt x="8659304" y="1641037"/>
                  <a:pt x="8674812" y="1647931"/>
                  <a:pt x="8682566" y="1647068"/>
                </a:cubicBezTo>
                <a:cubicBezTo>
                  <a:pt x="8685151" y="1646782"/>
                  <a:pt x="8686874" y="1645633"/>
                  <a:pt x="8686874" y="1643334"/>
                </a:cubicBezTo>
                <a:cubicBezTo>
                  <a:pt x="8697596" y="1643334"/>
                  <a:pt x="8668494" y="1634142"/>
                  <a:pt x="8659304" y="1634142"/>
                </a:cubicBezTo>
                <a:close/>
                <a:moveTo>
                  <a:pt x="7700490" y="1634142"/>
                </a:moveTo>
                <a:cubicBezTo>
                  <a:pt x="7700490" y="1641037"/>
                  <a:pt x="7715998" y="1647931"/>
                  <a:pt x="7723752" y="1647068"/>
                </a:cubicBezTo>
                <a:cubicBezTo>
                  <a:pt x="7726337" y="1646782"/>
                  <a:pt x="7728060" y="1645633"/>
                  <a:pt x="7728060" y="1643334"/>
                </a:cubicBezTo>
                <a:cubicBezTo>
                  <a:pt x="7737250" y="1643334"/>
                  <a:pt x="7709680" y="1634142"/>
                  <a:pt x="7700490" y="1634142"/>
                </a:cubicBezTo>
                <a:close/>
                <a:moveTo>
                  <a:pt x="8697596" y="1624949"/>
                </a:moveTo>
                <a:cubicBezTo>
                  <a:pt x="8697596" y="1631843"/>
                  <a:pt x="8707935" y="1638738"/>
                  <a:pt x="8716981" y="1637877"/>
                </a:cubicBezTo>
                <a:cubicBezTo>
                  <a:pt x="8719996" y="1637588"/>
                  <a:pt x="8722868" y="1636439"/>
                  <a:pt x="8725166" y="1634142"/>
                </a:cubicBezTo>
                <a:cubicBezTo>
                  <a:pt x="8725166" y="1634142"/>
                  <a:pt x="8706787" y="1624949"/>
                  <a:pt x="8697596" y="1624949"/>
                </a:cubicBezTo>
                <a:close/>
                <a:moveTo>
                  <a:pt x="7737250" y="1624949"/>
                </a:moveTo>
                <a:cubicBezTo>
                  <a:pt x="7737250" y="1631843"/>
                  <a:pt x="7748450" y="1638738"/>
                  <a:pt x="7754050" y="1637877"/>
                </a:cubicBezTo>
                <a:cubicBezTo>
                  <a:pt x="7755917" y="1637588"/>
                  <a:pt x="7757162" y="1636439"/>
                  <a:pt x="7757162" y="1634142"/>
                </a:cubicBezTo>
                <a:cubicBezTo>
                  <a:pt x="7766352" y="1634142"/>
                  <a:pt x="7737250" y="1624949"/>
                  <a:pt x="7737250" y="1624949"/>
                </a:cubicBezTo>
                <a:close/>
                <a:moveTo>
                  <a:pt x="8745077" y="1614224"/>
                </a:moveTo>
                <a:cubicBezTo>
                  <a:pt x="8737036" y="1622268"/>
                  <a:pt x="8746227" y="1629449"/>
                  <a:pt x="8755201" y="1628659"/>
                </a:cubicBezTo>
                <a:cubicBezTo>
                  <a:pt x="8758191" y="1628396"/>
                  <a:pt x="8761160" y="1627247"/>
                  <a:pt x="8763457" y="1624949"/>
                </a:cubicBezTo>
                <a:close/>
                <a:moveTo>
                  <a:pt x="8772647" y="1605030"/>
                </a:moveTo>
                <a:cubicBezTo>
                  <a:pt x="8765754" y="1611925"/>
                  <a:pt x="8780401" y="1619682"/>
                  <a:pt x="8792032" y="1618605"/>
                </a:cubicBezTo>
                <a:cubicBezTo>
                  <a:pt x="8795908" y="1618246"/>
                  <a:pt x="8799452" y="1616905"/>
                  <a:pt x="8801749" y="1614224"/>
                </a:cubicBezTo>
                <a:close/>
                <a:moveTo>
                  <a:pt x="8810939" y="1595838"/>
                </a:moveTo>
                <a:cubicBezTo>
                  <a:pt x="8804046" y="1602733"/>
                  <a:pt x="8817830" y="1609628"/>
                  <a:pt x="8825153" y="1608765"/>
                </a:cubicBezTo>
                <a:cubicBezTo>
                  <a:pt x="8827595" y="1608479"/>
                  <a:pt x="8829318" y="1607329"/>
                  <a:pt x="8829318" y="1605030"/>
                </a:cubicBezTo>
                <a:close/>
                <a:moveTo>
                  <a:pt x="8944456" y="1561293"/>
                </a:moveTo>
                <a:cubicBezTo>
                  <a:pt x="8933663" y="1563088"/>
                  <a:pt x="8920069" y="1567876"/>
                  <a:pt x="8905902" y="1577452"/>
                </a:cubicBezTo>
                <a:cubicBezTo>
                  <a:pt x="8896712" y="1577452"/>
                  <a:pt x="8867610" y="1577452"/>
                  <a:pt x="8867610" y="1586645"/>
                </a:cubicBezTo>
                <a:cubicBezTo>
                  <a:pt x="8877565" y="1586645"/>
                  <a:pt x="8887138" y="1588943"/>
                  <a:pt x="8894221" y="1588943"/>
                </a:cubicBezTo>
                <a:cubicBezTo>
                  <a:pt x="8901305" y="1588943"/>
                  <a:pt x="8905902" y="1586645"/>
                  <a:pt x="8905902" y="1577452"/>
                </a:cubicBezTo>
                <a:cubicBezTo>
                  <a:pt x="8984015" y="1577452"/>
                  <a:pt x="8976836" y="1555906"/>
                  <a:pt x="8944456" y="1561293"/>
                </a:cubicBezTo>
                <a:close/>
                <a:moveTo>
                  <a:pt x="9019243" y="1539148"/>
                </a:moveTo>
                <a:cubicBezTo>
                  <a:pt x="9010053" y="1548342"/>
                  <a:pt x="9029965" y="1548342"/>
                  <a:pt x="9039154" y="1548342"/>
                </a:cubicBezTo>
                <a:close/>
                <a:moveTo>
                  <a:pt x="7377311" y="1529956"/>
                </a:moveTo>
                <a:cubicBezTo>
                  <a:pt x="6190280" y="1851707"/>
                  <a:pt x="4880717" y="2052418"/>
                  <a:pt x="3531331" y="2204101"/>
                </a:cubicBezTo>
                <a:cubicBezTo>
                  <a:pt x="3512951" y="2204101"/>
                  <a:pt x="3483849" y="2204101"/>
                  <a:pt x="3474659" y="2204101"/>
                </a:cubicBezTo>
                <a:cubicBezTo>
                  <a:pt x="3436368" y="2213294"/>
                  <a:pt x="3218873" y="2231680"/>
                  <a:pt x="3303114" y="2231680"/>
                </a:cubicBezTo>
                <a:cubicBezTo>
                  <a:pt x="3322260" y="2234361"/>
                  <a:pt x="3342555" y="2234552"/>
                  <a:pt x="3363113" y="2233188"/>
                </a:cubicBezTo>
                <a:cubicBezTo>
                  <a:pt x="3424785" y="2229094"/>
                  <a:pt x="3488827" y="2210996"/>
                  <a:pt x="3531331" y="2204101"/>
                </a:cubicBezTo>
                <a:cubicBezTo>
                  <a:pt x="4908286" y="2070803"/>
                  <a:pt x="6208660" y="1871624"/>
                  <a:pt x="7377311" y="1529956"/>
                </a:cubicBezTo>
                <a:close/>
                <a:moveTo>
                  <a:pt x="5558473" y="1517124"/>
                </a:moveTo>
                <a:cubicBezTo>
                  <a:pt x="5551197" y="1514634"/>
                  <a:pt x="5543922" y="1514634"/>
                  <a:pt x="5543922" y="1519230"/>
                </a:cubicBezTo>
                <a:cubicBezTo>
                  <a:pt x="5537030" y="1519230"/>
                  <a:pt x="5551677" y="1530434"/>
                  <a:pt x="5563307" y="1532158"/>
                </a:cubicBezTo>
                <a:cubicBezTo>
                  <a:pt x="5567185" y="1532733"/>
                  <a:pt x="5570726" y="1532254"/>
                  <a:pt x="5573024" y="1529956"/>
                </a:cubicBezTo>
                <a:cubicBezTo>
                  <a:pt x="5573024" y="1524593"/>
                  <a:pt x="5565748" y="1519614"/>
                  <a:pt x="5558473" y="1517124"/>
                </a:cubicBezTo>
                <a:close/>
                <a:moveTo>
                  <a:pt x="7436279" y="1507739"/>
                </a:moveTo>
                <a:cubicBezTo>
                  <a:pt x="7429387" y="1505441"/>
                  <a:pt x="7420197" y="1505441"/>
                  <a:pt x="7415603" y="1510038"/>
                </a:cubicBezTo>
                <a:lnTo>
                  <a:pt x="7443173" y="1519230"/>
                </a:lnTo>
                <a:cubicBezTo>
                  <a:pt x="7447767" y="1514634"/>
                  <a:pt x="7443173" y="1510038"/>
                  <a:pt x="7436279" y="1507739"/>
                </a:cubicBezTo>
                <a:close/>
                <a:moveTo>
                  <a:pt x="5660520" y="1498546"/>
                </a:moveTo>
                <a:cubicBezTo>
                  <a:pt x="5648458" y="1498546"/>
                  <a:pt x="5638885" y="1500845"/>
                  <a:pt x="5638885" y="1510038"/>
                </a:cubicBezTo>
                <a:cubicBezTo>
                  <a:pt x="5582597" y="1503143"/>
                  <a:pt x="5595233" y="1522965"/>
                  <a:pt x="5616700" y="1521026"/>
                </a:cubicBezTo>
                <a:cubicBezTo>
                  <a:pt x="5623856" y="1520379"/>
                  <a:pt x="5631992" y="1517316"/>
                  <a:pt x="5638885" y="1510038"/>
                </a:cubicBezTo>
                <a:cubicBezTo>
                  <a:pt x="5658796" y="1500845"/>
                  <a:pt x="5697088" y="1519230"/>
                  <a:pt x="5697088" y="1500845"/>
                </a:cubicBezTo>
                <a:cubicBezTo>
                  <a:pt x="5687133" y="1500845"/>
                  <a:pt x="5672582" y="1498546"/>
                  <a:pt x="5660520" y="1498546"/>
                </a:cubicBezTo>
                <a:close/>
                <a:moveTo>
                  <a:pt x="5783435" y="1478078"/>
                </a:moveTo>
                <a:cubicBezTo>
                  <a:pt x="5778553" y="1478437"/>
                  <a:pt x="5774436" y="1479778"/>
                  <a:pt x="5772139" y="1482459"/>
                </a:cubicBezTo>
                <a:cubicBezTo>
                  <a:pt x="5772139" y="1482459"/>
                  <a:pt x="5793678" y="1492801"/>
                  <a:pt x="5808325" y="1494094"/>
                </a:cubicBezTo>
                <a:cubicBezTo>
                  <a:pt x="5813206" y="1494525"/>
                  <a:pt x="5817323" y="1493951"/>
                  <a:pt x="5819620" y="1491652"/>
                </a:cubicBezTo>
                <a:cubicBezTo>
                  <a:pt x="5819620" y="1484757"/>
                  <a:pt x="5798081" y="1477001"/>
                  <a:pt x="5783435" y="1478078"/>
                </a:cubicBezTo>
                <a:close/>
                <a:moveTo>
                  <a:pt x="5844630" y="1465653"/>
                </a:moveTo>
                <a:cubicBezTo>
                  <a:pt x="5839245" y="1465510"/>
                  <a:pt x="5833788" y="1467138"/>
                  <a:pt x="5828810" y="1471734"/>
                </a:cubicBezTo>
                <a:cubicBezTo>
                  <a:pt x="5828810" y="1471734"/>
                  <a:pt x="5867102" y="1482459"/>
                  <a:pt x="5876291" y="1482459"/>
                </a:cubicBezTo>
                <a:cubicBezTo>
                  <a:pt x="5876291" y="1482459"/>
                  <a:pt x="5860784" y="1466084"/>
                  <a:pt x="5844630" y="1465653"/>
                </a:cubicBezTo>
                <a:close/>
                <a:moveTo>
                  <a:pt x="8735121" y="1460243"/>
                </a:moveTo>
                <a:cubicBezTo>
                  <a:pt x="8740099" y="1462541"/>
                  <a:pt x="8745077" y="1467137"/>
                  <a:pt x="8745077" y="1471734"/>
                </a:cubicBezTo>
                <a:cubicBezTo>
                  <a:pt x="8734356" y="1471734"/>
                  <a:pt x="8715977" y="1462541"/>
                  <a:pt x="8725166" y="1462541"/>
                </a:cubicBezTo>
                <a:cubicBezTo>
                  <a:pt x="8725166" y="1457944"/>
                  <a:pt x="8730144" y="1457944"/>
                  <a:pt x="8735121" y="1460243"/>
                </a:cubicBezTo>
                <a:close/>
                <a:moveTo>
                  <a:pt x="5912860" y="1460243"/>
                </a:moveTo>
                <a:cubicBezTo>
                  <a:pt x="5903478" y="1457944"/>
                  <a:pt x="5891607" y="1457944"/>
                  <a:pt x="5887013" y="1462541"/>
                </a:cubicBezTo>
                <a:cubicBezTo>
                  <a:pt x="5876291" y="1462541"/>
                  <a:pt x="5914583" y="1471734"/>
                  <a:pt x="5923773" y="1471734"/>
                </a:cubicBezTo>
                <a:cubicBezTo>
                  <a:pt x="5929134" y="1467137"/>
                  <a:pt x="5922241" y="1462541"/>
                  <a:pt x="5912860" y="1460243"/>
                </a:cubicBezTo>
                <a:close/>
                <a:moveTo>
                  <a:pt x="9941298" y="1453348"/>
                </a:moveTo>
                <a:cubicBezTo>
                  <a:pt x="9941298" y="1453348"/>
                  <a:pt x="9968008" y="1458519"/>
                  <a:pt x="9961329" y="1457226"/>
                </a:cubicBezTo>
                <a:cubicBezTo>
                  <a:pt x="9959104" y="1456795"/>
                  <a:pt x="9953169" y="1455647"/>
                  <a:pt x="9941298" y="1453348"/>
                </a:cubicBezTo>
                <a:close/>
                <a:moveTo>
                  <a:pt x="9914685" y="1451050"/>
                </a:moveTo>
                <a:cubicBezTo>
                  <a:pt x="9921769" y="1451050"/>
                  <a:pt x="9931342" y="1453348"/>
                  <a:pt x="9941298" y="1453348"/>
                </a:cubicBezTo>
                <a:cubicBezTo>
                  <a:pt x="9932108" y="1462541"/>
                  <a:pt x="9912197" y="1462541"/>
                  <a:pt x="9903007" y="1462541"/>
                </a:cubicBezTo>
                <a:cubicBezTo>
                  <a:pt x="9903007" y="1453348"/>
                  <a:pt x="9907601" y="1451050"/>
                  <a:pt x="9914685" y="1451050"/>
                </a:cubicBezTo>
                <a:close/>
                <a:moveTo>
                  <a:pt x="8763458" y="1451050"/>
                </a:moveTo>
                <a:cubicBezTo>
                  <a:pt x="8768052" y="1453348"/>
                  <a:pt x="8772647" y="1457944"/>
                  <a:pt x="8772647" y="1462541"/>
                </a:cubicBezTo>
                <a:cubicBezTo>
                  <a:pt x="8763457" y="1462541"/>
                  <a:pt x="8745077" y="1453348"/>
                  <a:pt x="8754267" y="1453348"/>
                </a:cubicBezTo>
                <a:cubicBezTo>
                  <a:pt x="8754267" y="1448752"/>
                  <a:pt x="8758862" y="1448752"/>
                  <a:pt x="8763458" y="1451050"/>
                </a:cubicBezTo>
                <a:close/>
                <a:moveTo>
                  <a:pt x="8801749" y="1441857"/>
                </a:moveTo>
                <a:cubicBezTo>
                  <a:pt x="8806344" y="1444155"/>
                  <a:pt x="8810939" y="1448752"/>
                  <a:pt x="8810939" y="1453348"/>
                </a:cubicBezTo>
                <a:cubicBezTo>
                  <a:pt x="8810939" y="1453348"/>
                  <a:pt x="8781836" y="1444155"/>
                  <a:pt x="8792558" y="1444155"/>
                </a:cubicBezTo>
                <a:cubicBezTo>
                  <a:pt x="8792558" y="1439559"/>
                  <a:pt x="8797154" y="1439559"/>
                  <a:pt x="8801749" y="1441857"/>
                </a:cubicBezTo>
                <a:close/>
                <a:moveTo>
                  <a:pt x="9983898" y="1430581"/>
                </a:moveTo>
                <a:cubicBezTo>
                  <a:pt x="9991652" y="1429504"/>
                  <a:pt x="10007159" y="1437261"/>
                  <a:pt x="10007159" y="1444155"/>
                </a:cubicBezTo>
                <a:cubicBezTo>
                  <a:pt x="9997969" y="1444155"/>
                  <a:pt x="9968868" y="1434962"/>
                  <a:pt x="9979590" y="1434962"/>
                </a:cubicBezTo>
                <a:cubicBezTo>
                  <a:pt x="9979590" y="1432281"/>
                  <a:pt x="9981313" y="1430941"/>
                  <a:pt x="9983898" y="1430581"/>
                </a:cubicBezTo>
                <a:close/>
                <a:moveTo>
                  <a:pt x="6056093" y="1430581"/>
                </a:moveTo>
                <a:cubicBezTo>
                  <a:pt x="6053101" y="1430941"/>
                  <a:pt x="6050134" y="1432281"/>
                  <a:pt x="6047836" y="1434962"/>
                </a:cubicBezTo>
                <a:lnTo>
                  <a:pt x="6066216" y="1444155"/>
                </a:lnTo>
                <a:cubicBezTo>
                  <a:pt x="6074257" y="1437261"/>
                  <a:pt x="6065068" y="1429504"/>
                  <a:pt x="6056093" y="1430581"/>
                </a:cubicBezTo>
                <a:close/>
                <a:moveTo>
                  <a:pt x="10022188" y="1420527"/>
                </a:moveTo>
                <a:cubicBezTo>
                  <a:pt x="10025634" y="1420263"/>
                  <a:pt x="10030134" y="1420886"/>
                  <a:pt x="10034347" y="1422130"/>
                </a:cubicBezTo>
                <a:cubicBezTo>
                  <a:pt x="10042771" y="1424621"/>
                  <a:pt x="10050046" y="1429599"/>
                  <a:pt x="10045452" y="1434962"/>
                </a:cubicBezTo>
                <a:cubicBezTo>
                  <a:pt x="10045452" y="1434962"/>
                  <a:pt x="10007159" y="1424238"/>
                  <a:pt x="10016348" y="1424238"/>
                </a:cubicBezTo>
                <a:cubicBezTo>
                  <a:pt x="10016348" y="1421939"/>
                  <a:pt x="10018741" y="1420790"/>
                  <a:pt x="10022188" y="1420527"/>
                </a:cubicBezTo>
                <a:close/>
                <a:moveTo>
                  <a:pt x="9238269" y="1310858"/>
                </a:moveTo>
                <a:cubicBezTo>
                  <a:pt x="9247459" y="1310858"/>
                  <a:pt x="9267371" y="1320051"/>
                  <a:pt x="9256650" y="1320051"/>
                </a:cubicBezTo>
                <a:cubicBezTo>
                  <a:pt x="9256650" y="1322350"/>
                  <a:pt x="9255501" y="1323499"/>
                  <a:pt x="9253778" y="1323786"/>
                </a:cubicBezTo>
                <a:cubicBezTo>
                  <a:pt x="9248608" y="1324647"/>
                  <a:pt x="9238269" y="1317752"/>
                  <a:pt x="9238269" y="1310858"/>
                </a:cubicBezTo>
                <a:close/>
                <a:moveTo>
                  <a:pt x="9195168" y="1145602"/>
                </a:moveTo>
                <a:cubicBezTo>
                  <a:pt x="9192608" y="1145961"/>
                  <a:pt x="9190789" y="1147302"/>
                  <a:pt x="9190789" y="1149983"/>
                </a:cubicBezTo>
                <a:lnTo>
                  <a:pt x="9209168" y="1159176"/>
                </a:lnTo>
                <a:cubicBezTo>
                  <a:pt x="9217209" y="1152281"/>
                  <a:pt x="9202851" y="1144524"/>
                  <a:pt x="9195168" y="1145602"/>
                </a:cubicBezTo>
                <a:close/>
                <a:moveTo>
                  <a:pt x="9342422" y="1109381"/>
                </a:moveTo>
                <a:cubicBezTo>
                  <a:pt x="9337827" y="1107083"/>
                  <a:pt x="9333231" y="1107083"/>
                  <a:pt x="9333231" y="1111679"/>
                </a:cubicBezTo>
                <a:cubicBezTo>
                  <a:pt x="9324042" y="1111679"/>
                  <a:pt x="9342421" y="1120872"/>
                  <a:pt x="9351612" y="1120872"/>
                </a:cubicBezTo>
                <a:cubicBezTo>
                  <a:pt x="9351612" y="1116275"/>
                  <a:pt x="9347017" y="1111679"/>
                  <a:pt x="9342422" y="1109381"/>
                </a:cubicBezTo>
                <a:close/>
                <a:moveTo>
                  <a:pt x="9365206" y="1098105"/>
                </a:moveTo>
                <a:cubicBezTo>
                  <a:pt x="9363483" y="1098465"/>
                  <a:pt x="9362334" y="1099805"/>
                  <a:pt x="9362334" y="1102486"/>
                </a:cubicBezTo>
                <a:cubicBezTo>
                  <a:pt x="9351612" y="1102486"/>
                  <a:pt x="9371523" y="1111679"/>
                  <a:pt x="9380714" y="1111679"/>
                </a:cubicBezTo>
                <a:cubicBezTo>
                  <a:pt x="9380714" y="1104785"/>
                  <a:pt x="9370375" y="1097028"/>
                  <a:pt x="9365206" y="1098105"/>
                </a:cubicBezTo>
                <a:close/>
                <a:moveTo>
                  <a:pt x="9466485" y="1064182"/>
                </a:moveTo>
                <a:cubicBezTo>
                  <a:pt x="9466485" y="1071077"/>
                  <a:pt x="9476824" y="1077972"/>
                  <a:pt x="9481995" y="1077110"/>
                </a:cubicBezTo>
                <a:cubicBezTo>
                  <a:pt x="9483717" y="1076822"/>
                  <a:pt x="9484866" y="1075674"/>
                  <a:pt x="9484866" y="1073376"/>
                </a:cubicBezTo>
                <a:cubicBezTo>
                  <a:pt x="9494056" y="1073376"/>
                  <a:pt x="9466485" y="1064182"/>
                  <a:pt x="9466485" y="1064182"/>
                </a:cubicBezTo>
                <a:close/>
                <a:moveTo>
                  <a:pt x="9917731" y="972040"/>
                </a:moveTo>
                <a:lnTo>
                  <a:pt x="9922726" y="973007"/>
                </a:lnTo>
                <a:cubicBezTo>
                  <a:pt x="9924292" y="973310"/>
                  <a:pt x="9924709" y="973391"/>
                  <a:pt x="9923039" y="973068"/>
                </a:cubicBezTo>
                <a:close/>
                <a:moveTo>
                  <a:pt x="9903007" y="969189"/>
                </a:moveTo>
                <a:cubicBezTo>
                  <a:pt x="9903007" y="969189"/>
                  <a:pt x="9909684" y="970482"/>
                  <a:pt x="9915528" y="971613"/>
                </a:cubicBezTo>
                <a:lnTo>
                  <a:pt x="9917731" y="972040"/>
                </a:lnTo>
                <a:lnTo>
                  <a:pt x="9916639" y="971829"/>
                </a:lnTo>
                <a:cubicBezTo>
                  <a:pt x="9913394" y="971200"/>
                  <a:pt x="9908943" y="970338"/>
                  <a:pt x="9903007" y="969189"/>
                </a:cubicBezTo>
                <a:close/>
                <a:moveTo>
                  <a:pt x="10122033" y="702595"/>
                </a:moveTo>
                <a:cubicBezTo>
                  <a:pt x="10136202" y="705276"/>
                  <a:pt x="10143286" y="706618"/>
                  <a:pt x="10145942" y="707121"/>
                </a:cubicBezTo>
                <a:cubicBezTo>
                  <a:pt x="10153910" y="708629"/>
                  <a:pt x="10122033" y="702595"/>
                  <a:pt x="10122033" y="702595"/>
                </a:cubicBezTo>
                <a:close/>
                <a:moveTo>
                  <a:pt x="10368630" y="541720"/>
                </a:moveTo>
                <a:cubicBezTo>
                  <a:pt x="10385095" y="544018"/>
                  <a:pt x="10393329" y="545167"/>
                  <a:pt x="10396417" y="545598"/>
                </a:cubicBezTo>
                <a:cubicBezTo>
                  <a:pt x="10405677" y="546891"/>
                  <a:pt x="10368630" y="541720"/>
                  <a:pt x="10368630" y="541720"/>
                </a:cubicBezTo>
                <a:close/>
                <a:moveTo>
                  <a:pt x="10425588" y="518953"/>
                </a:moveTo>
                <a:cubicBezTo>
                  <a:pt x="10436788" y="517876"/>
                  <a:pt x="10450573" y="525632"/>
                  <a:pt x="10443681" y="532527"/>
                </a:cubicBezTo>
                <a:lnTo>
                  <a:pt x="10416110" y="523334"/>
                </a:lnTo>
                <a:cubicBezTo>
                  <a:pt x="10418408" y="520653"/>
                  <a:pt x="10421854" y="519312"/>
                  <a:pt x="10425588" y="518953"/>
                </a:cubicBezTo>
                <a:close/>
                <a:moveTo>
                  <a:pt x="8754267" y="475838"/>
                </a:moveTo>
                <a:cubicBezTo>
                  <a:pt x="8747375" y="482733"/>
                  <a:pt x="8755990" y="489627"/>
                  <a:pt x="8764606" y="488766"/>
                </a:cubicBezTo>
                <a:cubicBezTo>
                  <a:pt x="8767478" y="488478"/>
                  <a:pt x="8770351" y="487329"/>
                  <a:pt x="8772647" y="485031"/>
                </a:cubicBezTo>
                <a:close/>
                <a:moveTo>
                  <a:pt x="8810939" y="465112"/>
                </a:moveTo>
                <a:cubicBezTo>
                  <a:pt x="8807492" y="479477"/>
                  <a:pt x="8806629" y="483068"/>
                  <a:pt x="8806900" y="481945"/>
                </a:cubicBezTo>
                <a:cubicBezTo>
                  <a:pt x="8807348" y="480075"/>
                  <a:pt x="8810939" y="465112"/>
                  <a:pt x="8810939" y="465112"/>
                </a:cubicBezTo>
                <a:close/>
                <a:moveTo>
                  <a:pt x="10235377" y="455920"/>
                </a:moveTo>
                <a:cubicBezTo>
                  <a:pt x="10228483" y="462814"/>
                  <a:pt x="10237099" y="470571"/>
                  <a:pt x="10245715" y="469493"/>
                </a:cubicBezTo>
                <a:cubicBezTo>
                  <a:pt x="10248588" y="469134"/>
                  <a:pt x="10251461" y="467794"/>
                  <a:pt x="10253756" y="465112"/>
                </a:cubicBezTo>
                <a:close/>
                <a:moveTo>
                  <a:pt x="9722271" y="446727"/>
                </a:moveTo>
                <a:cubicBezTo>
                  <a:pt x="9719973" y="449025"/>
                  <a:pt x="9718825" y="450174"/>
                  <a:pt x="9718394" y="450605"/>
                </a:cubicBezTo>
                <a:cubicBezTo>
                  <a:pt x="9717102" y="451898"/>
                  <a:pt x="9722271" y="446727"/>
                  <a:pt x="9722271" y="446727"/>
                </a:cubicBezTo>
                <a:close/>
                <a:moveTo>
                  <a:pt x="8858419" y="446727"/>
                </a:moveTo>
                <a:cubicBezTo>
                  <a:pt x="8858419" y="453622"/>
                  <a:pt x="8868759" y="460517"/>
                  <a:pt x="8873927" y="459654"/>
                </a:cubicBezTo>
                <a:cubicBezTo>
                  <a:pt x="8875650" y="459367"/>
                  <a:pt x="8876800" y="458218"/>
                  <a:pt x="8876800" y="455920"/>
                </a:cubicBezTo>
                <a:cubicBezTo>
                  <a:pt x="8887521" y="455920"/>
                  <a:pt x="8858419" y="446727"/>
                  <a:pt x="8858419" y="446727"/>
                </a:cubicBezTo>
                <a:close/>
                <a:moveTo>
                  <a:pt x="9769754" y="437534"/>
                </a:moveTo>
                <a:cubicBezTo>
                  <a:pt x="9767456" y="444429"/>
                  <a:pt x="9766308" y="447875"/>
                  <a:pt x="9765876" y="449168"/>
                </a:cubicBezTo>
                <a:cubicBezTo>
                  <a:pt x="9764585" y="453047"/>
                  <a:pt x="9769754" y="437534"/>
                  <a:pt x="9769754" y="437534"/>
                </a:cubicBezTo>
                <a:close/>
                <a:moveTo>
                  <a:pt x="8971762" y="417616"/>
                </a:moveTo>
                <a:cubicBezTo>
                  <a:pt x="8971762" y="417616"/>
                  <a:pt x="8971440" y="418639"/>
                  <a:pt x="8970975" y="420110"/>
                </a:cubicBezTo>
                <a:lnTo>
                  <a:pt x="8969520" y="424722"/>
                </a:lnTo>
                <a:lnTo>
                  <a:pt x="8969339" y="425292"/>
                </a:lnTo>
                <a:lnTo>
                  <a:pt x="8969154" y="425877"/>
                </a:lnTo>
                <a:lnTo>
                  <a:pt x="8969034" y="426259"/>
                </a:lnTo>
                <a:lnTo>
                  <a:pt x="8967886" y="429897"/>
                </a:lnTo>
                <a:cubicBezTo>
                  <a:pt x="8967562" y="430920"/>
                  <a:pt x="8967643" y="430664"/>
                  <a:pt x="8967947" y="429705"/>
                </a:cubicBezTo>
                <a:lnTo>
                  <a:pt x="8969034" y="426259"/>
                </a:lnTo>
                <a:lnTo>
                  <a:pt x="8969124" y="425974"/>
                </a:lnTo>
                <a:lnTo>
                  <a:pt x="8969154" y="425877"/>
                </a:lnTo>
                <a:lnTo>
                  <a:pt x="8969520" y="424722"/>
                </a:lnTo>
                <a:close/>
                <a:moveTo>
                  <a:pt x="10396199" y="399231"/>
                </a:moveTo>
                <a:cubicBezTo>
                  <a:pt x="10405388" y="399231"/>
                  <a:pt x="10425302" y="408423"/>
                  <a:pt x="10416110" y="408423"/>
                </a:cubicBezTo>
                <a:cubicBezTo>
                  <a:pt x="10416110" y="408423"/>
                  <a:pt x="10396199" y="408423"/>
                  <a:pt x="10396199" y="399231"/>
                </a:cubicBezTo>
                <a:close/>
                <a:moveTo>
                  <a:pt x="9019243" y="399231"/>
                </a:moveTo>
                <a:cubicBezTo>
                  <a:pt x="9012351" y="406126"/>
                  <a:pt x="9026997" y="413019"/>
                  <a:pt x="9038627" y="412157"/>
                </a:cubicBezTo>
                <a:cubicBezTo>
                  <a:pt x="9042506" y="411870"/>
                  <a:pt x="9046047" y="410721"/>
                  <a:pt x="9048344" y="408423"/>
                </a:cubicBezTo>
                <a:close/>
                <a:moveTo>
                  <a:pt x="10396199" y="360926"/>
                </a:moveTo>
                <a:cubicBezTo>
                  <a:pt x="10405388" y="360926"/>
                  <a:pt x="10425302" y="370119"/>
                  <a:pt x="10416110" y="370119"/>
                </a:cubicBezTo>
                <a:cubicBezTo>
                  <a:pt x="10416110" y="370119"/>
                  <a:pt x="10396199" y="370119"/>
                  <a:pt x="10396199" y="360926"/>
                </a:cubicBezTo>
                <a:close/>
                <a:moveTo>
                  <a:pt x="10169515" y="351734"/>
                </a:moveTo>
                <a:cubicBezTo>
                  <a:pt x="10183683" y="354032"/>
                  <a:pt x="10190766" y="355181"/>
                  <a:pt x="10193422" y="355612"/>
                </a:cubicBezTo>
                <a:cubicBezTo>
                  <a:pt x="10201393" y="356905"/>
                  <a:pt x="10169515" y="351734"/>
                  <a:pt x="10169515" y="351734"/>
                </a:cubicBezTo>
                <a:close/>
                <a:moveTo>
                  <a:pt x="10220010" y="328966"/>
                </a:moveTo>
                <a:cubicBezTo>
                  <a:pt x="10228196" y="327889"/>
                  <a:pt x="10244567" y="335646"/>
                  <a:pt x="10244567" y="342541"/>
                </a:cubicBezTo>
                <a:cubicBezTo>
                  <a:pt x="10235377" y="342541"/>
                  <a:pt x="10206274" y="333347"/>
                  <a:pt x="10215463" y="333347"/>
                </a:cubicBezTo>
                <a:cubicBezTo>
                  <a:pt x="10215463" y="330666"/>
                  <a:pt x="10217282" y="329326"/>
                  <a:pt x="10220010" y="328966"/>
                </a:cubicBezTo>
                <a:close/>
                <a:moveTo>
                  <a:pt x="10268307" y="320516"/>
                </a:moveTo>
                <a:cubicBezTo>
                  <a:pt x="10275581" y="323006"/>
                  <a:pt x="10282857" y="327985"/>
                  <a:pt x="10282857" y="333347"/>
                </a:cubicBezTo>
                <a:cubicBezTo>
                  <a:pt x="10273668" y="333347"/>
                  <a:pt x="10244567" y="322623"/>
                  <a:pt x="10253756" y="322623"/>
                </a:cubicBezTo>
                <a:cubicBezTo>
                  <a:pt x="10253756" y="318027"/>
                  <a:pt x="10261031" y="318027"/>
                  <a:pt x="10268307" y="320516"/>
                </a:cubicBezTo>
                <a:close/>
                <a:moveTo>
                  <a:pt x="10306596" y="311132"/>
                </a:moveTo>
                <a:cubicBezTo>
                  <a:pt x="10313872" y="313430"/>
                  <a:pt x="10321147" y="318027"/>
                  <a:pt x="10321147" y="322623"/>
                </a:cubicBezTo>
                <a:cubicBezTo>
                  <a:pt x="10311957" y="322623"/>
                  <a:pt x="10282857" y="313431"/>
                  <a:pt x="10292046" y="313431"/>
                </a:cubicBezTo>
                <a:cubicBezTo>
                  <a:pt x="10292046" y="308833"/>
                  <a:pt x="10299322" y="308833"/>
                  <a:pt x="10306596" y="311132"/>
                </a:cubicBezTo>
                <a:close/>
                <a:moveTo>
                  <a:pt x="10218575" y="243166"/>
                </a:moveTo>
                <a:cubicBezTo>
                  <a:pt x="10224176" y="242088"/>
                  <a:pt x="10235377" y="249846"/>
                  <a:pt x="10235377" y="256741"/>
                </a:cubicBezTo>
                <a:cubicBezTo>
                  <a:pt x="10226185" y="256741"/>
                  <a:pt x="10206274" y="247547"/>
                  <a:pt x="10215463" y="247547"/>
                </a:cubicBezTo>
                <a:cubicBezTo>
                  <a:pt x="10215463" y="244866"/>
                  <a:pt x="10216708" y="243526"/>
                  <a:pt x="10218575" y="243166"/>
                </a:cubicBezTo>
                <a:close/>
                <a:moveTo>
                  <a:pt x="10130458" y="1446"/>
                </a:moveTo>
                <a:cubicBezTo>
                  <a:pt x="10144626" y="-2193"/>
                  <a:pt x="10154199" y="105"/>
                  <a:pt x="10149604" y="19257"/>
                </a:cubicBezTo>
                <a:cubicBezTo>
                  <a:pt x="10149604" y="19257"/>
                  <a:pt x="10025538" y="75947"/>
                  <a:pt x="10016348" y="85140"/>
                </a:cubicBezTo>
                <a:cubicBezTo>
                  <a:pt x="9912197" y="143362"/>
                  <a:pt x="9751374" y="170940"/>
                  <a:pt x="9608930" y="218437"/>
                </a:cubicBezTo>
                <a:cubicBezTo>
                  <a:pt x="9466485" y="256741"/>
                  <a:pt x="9333231" y="304237"/>
                  <a:pt x="9209168" y="351734"/>
                </a:cubicBezTo>
                <a:cubicBezTo>
                  <a:pt x="9199979" y="351734"/>
                  <a:pt x="9181598" y="351734"/>
                  <a:pt x="9181598" y="360926"/>
                </a:cubicBezTo>
                <a:cubicBezTo>
                  <a:pt x="9134117" y="351734"/>
                  <a:pt x="9172408" y="390038"/>
                  <a:pt x="9181598" y="360926"/>
                </a:cubicBezTo>
                <a:cubicBezTo>
                  <a:pt x="9190789" y="360926"/>
                  <a:pt x="9209168" y="360926"/>
                  <a:pt x="9209168" y="351734"/>
                </a:cubicBezTo>
                <a:cubicBezTo>
                  <a:pt x="9541537" y="265934"/>
                  <a:pt x="9979590" y="132637"/>
                  <a:pt x="10368630" y="37644"/>
                </a:cubicBezTo>
                <a:cubicBezTo>
                  <a:pt x="10387009" y="37644"/>
                  <a:pt x="10511072" y="-19047"/>
                  <a:pt x="10529454" y="28450"/>
                </a:cubicBezTo>
                <a:lnTo>
                  <a:pt x="10434492" y="66753"/>
                </a:lnTo>
                <a:cubicBezTo>
                  <a:pt x="10463592" y="85140"/>
                  <a:pt x="10491161" y="37644"/>
                  <a:pt x="10529454" y="57562"/>
                </a:cubicBezTo>
                <a:cubicBezTo>
                  <a:pt x="10472782" y="95866"/>
                  <a:pt x="10292046" y="132637"/>
                  <a:pt x="10416110" y="132637"/>
                </a:cubicBezTo>
                <a:cubicBezTo>
                  <a:pt x="10443681" y="132637"/>
                  <a:pt x="10472782" y="123444"/>
                  <a:pt x="10416110" y="143362"/>
                </a:cubicBezTo>
                <a:cubicBezTo>
                  <a:pt x="10396199" y="152554"/>
                  <a:pt x="10357908" y="190858"/>
                  <a:pt x="10330339" y="200050"/>
                </a:cubicBezTo>
                <a:cubicBezTo>
                  <a:pt x="10273668" y="227629"/>
                  <a:pt x="10215463" y="227629"/>
                  <a:pt x="10187894" y="247547"/>
                </a:cubicBezTo>
                <a:cubicBezTo>
                  <a:pt x="10178705" y="247547"/>
                  <a:pt x="10206274" y="256741"/>
                  <a:pt x="10206274" y="265934"/>
                </a:cubicBezTo>
                <a:cubicBezTo>
                  <a:pt x="10206274" y="256741"/>
                  <a:pt x="10158793" y="285851"/>
                  <a:pt x="10140414" y="295044"/>
                </a:cubicBezTo>
                <a:cubicBezTo>
                  <a:pt x="10102122" y="304237"/>
                  <a:pt x="10054642" y="304237"/>
                  <a:pt x="10016348" y="322623"/>
                </a:cubicBezTo>
                <a:cubicBezTo>
                  <a:pt x="10016348" y="322623"/>
                  <a:pt x="10007159" y="360926"/>
                  <a:pt x="9988779" y="370119"/>
                </a:cubicBezTo>
                <a:cubicBezTo>
                  <a:pt x="9959678" y="390038"/>
                  <a:pt x="9893817" y="399231"/>
                  <a:pt x="9846336" y="408423"/>
                </a:cubicBezTo>
                <a:cubicBezTo>
                  <a:pt x="9742184" y="446727"/>
                  <a:pt x="9893817" y="408423"/>
                  <a:pt x="9921386" y="399231"/>
                </a:cubicBezTo>
                <a:cubicBezTo>
                  <a:pt x="9950489" y="390038"/>
                  <a:pt x="10063831" y="379312"/>
                  <a:pt x="10169515" y="351734"/>
                </a:cubicBezTo>
                <a:cubicBezTo>
                  <a:pt x="10158793" y="370119"/>
                  <a:pt x="10111312" y="360926"/>
                  <a:pt x="10092932" y="390038"/>
                </a:cubicBezTo>
                <a:cubicBezTo>
                  <a:pt x="10063831" y="370119"/>
                  <a:pt x="10073021" y="417616"/>
                  <a:pt x="10083742" y="408423"/>
                </a:cubicBezTo>
                <a:cubicBezTo>
                  <a:pt x="10045452" y="426809"/>
                  <a:pt x="10063831" y="390038"/>
                  <a:pt x="10025538" y="399231"/>
                </a:cubicBezTo>
                <a:cubicBezTo>
                  <a:pt x="10025538" y="399231"/>
                  <a:pt x="10054642" y="417616"/>
                  <a:pt x="10045452" y="417616"/>
                </a:cubicBezTo>
                <a:cubicBezTo>
                  <a:pt x="10016348" y="437534"/>
                  <a:pt x="9713082" y="512609"/>
                  <a:pt x="9645689" y="541720"/>
                </a:cubicBezTo>
                <a:cubicBezTo>
                  <a:pt x="9570639" y="560106"/>
                  <a:pt x="9599740" y="569298"/>
                  <a:pt x="9693171" y="560106"/>
                </a:cubicBezTo>
                <a:cubicBezTo>
                  <a:pt x="9835614" y="541720"/>
                  <a:pt x="10102122" y="417616"/>
                  <a:pt x="10253756" y="399231"/>
                </a:cubicBezTo>
                <a:cubicBezTo>
                  <a:pt x="10282857" y="399231"/>
                  <a:pt x="10273668" y="417616"/>
                  <a:pt x="10301236" y="399231"/>
                </a:cubicBezTo>
                <a:cubicBezTo>
                  <a:pt x="10330339" y="390038"/>
                  <a:pt x="10425302" y="399231"/>
                  <a:pt x="10348718" y="417616"/>
                </a:cubicBezTo>
                <a:cubicBezTo>
                  <a:pt x="10339529" y="417616"/>
                  <a:pt x="10262946" y="455920"/>
                  <a:pt x="10262946" y="455920"/>
                </a:cubicBezTo>
                <a:cubicBezTo>
                  <a:pt x="10262946" y="465112"/>
                  <a:pt x="10558555" y="390038"/>
                  <a:pt x="10452870" y="446727"/>
                </a:cubicBezTo>
                <a:cubicBezTo>
                  <a:pt x="10387009" y="485031"/>
                  <a:pt x="10321147" y="503416"/>
                  <a:pt x="10253756" y="532527"/>
                </a:cubicBezTo>
                <a:lnTo>
                  <a:pt x="10233057" y="538408"/>
                </a:lnTo>
                <a:lnTo>
                  <a:pt x="10231044" y="538919"/>
                </a:lnTo>
                <a:cubicBezTo>
                  <a:pt x="10228184" y="539697"/>
                  <a:pt x="10227928" y="539823"/>
                  <a:pt x="10231352" y="538892"/>
                </a:cubicBezTo>
                <a:lnTo>
                  <a:pt x="10233057" y="538408"/>
                </a:lnTo>
                <a:lnTo>
                  <a:pt x="10246352" y="535032"/>
                </a:lnTo>
                <a:cubicBezTo>
                  <a:pt x="10281277" y="526638"/>
                  <a:pt x="10354271" y="512035"/>
                  <a:pt x="10330339" y="541720"/>
                </a:cubicBezTo>
                <a:lnTo>
                  <a:pt x="10317246" y="548145"/>
                </a:lnTo>
                <a:lnTo>
                  <a:pt x="10313490" y="548614"/>
                </a:lnTo>
                <a:lnTo>
                  <a:pt x="10301210" y="552027"/>
                </a:lnTo>
                <a:lnTo>
                  <a:pt x="10276923" y="554360"/>
                </a:lnTo>
                <a:cubicBezTo>
                  <a:pt x="10251842" y="555509"/>
                  <a:pt x="10225421" y="555509"/>
                  <a:pt x="10215463" y="560106"/>
                </a:cubicBezTo>
                <a:cubicBezTo>
                  <a:pt x="10187894" y="560106"/>
                  <a:pt x="10111312" y="598409"/>
                  <a:pt x="10111312" y="598409"/>
                </a:cubicBezTo>
                <a:cubicBezTo>
                  <a:pt x="10140414" y="616795"/>
                  <a:pt x="10235377" y="569298"/>
                  <a:pt x="10244567" y="569298"/>
                </a:cubicBezTo>
                <a:cubicBezTo>
                  <a:pt x="10258733" y="564702"/>
                  <a:pt x="10271179" y="560680"/>
                  <a:pt x="10282475" y="557233"/>
                </a:cubicBezTo>
                <a:lnTo>
                  <a:pt x="10301210" y="552027"/>
                </a:lnTo>
                <a:lnTo>
                  <a:pt x="10311312" y="551056"/>
                </a:lnTo>
                <a:lnTo>
                  <a:pt x="10317246" y="548145"/>
                </a:lnTo>
                <a:lnTo>
                  <a:pt x="10368630" y="541720"/>
                </a:lnTo>
                <a:cubicBezTo>
                  <a:pt x="10339529" y="607603"/>
                  <a:pt x="10187894" y="598409"/>
                  <a:pt x="10102122" y="636713"/>
                </a:cubicBezTo>
                <a:cubicBezTo>
                  <a:pt x="10092932" y="645906"/>
                  <a:pt x="10102122" y="655099"/>
                  <a:pt x="10073021" y="675017"/>
                </a:cubicBezTo>
                <a:cubicBezTo>
                  <a:pt x="10073021" y="675017"/>
                  <a:pt x="9921386" y="731706"/>
                  <a:pt x="9932108" y="731706"/>
                </a:cubicBezTo>
                <a:cubicBezTo>
                  <a:pt x="9959678" y="770010"/>
                  <a:pt x="10063831" y="684209"/>
                  <a:pt x="10122033" y="702595"/>
                </a:cubicBezTo>
                <a:cubicBezTo>
                  <a:pt x="9362334" y="1016686"/>
                  <a:pt x="8460189" y="1186754"/>
                  <a:pt x="7653009" y="1453348"/>
                </a:cubicBezTo>
                <a:cubicBezTo>
                  <a:pt x="7623908" y="1453348"/>
                  <a:pt x="7594806" y="1453348"/>
                  <a:pt x="7585616" y="1471734"/>
                </a:cubicBezTo>
                <a:cubicBezTo>
                  <a:pt x="7567236" y="1471734"/>
                  <a:pt x="7558047" y="1471734"/>
                  <a:pt x="7558047" y="1482459"/>
                </a:cubicBezTo>
                <a:cubicBezTo>
                  <a:pt x="7538135" y="1482459"/>
                  <a:pt x="7519755" y="1471734"/>
                  <a:pt x="7510565" y="1491652"/>
                </a:cubicBezTo>
                <a:cubicBezTo>
                  <a:pt x="7501375" y="1491652"/>
                  <a:pt x="7481464" y="1491652"/>
                  <a:pt x="7481464" y="1500845"/>
                </a:cubicBezTo>
                <a:cubicBezTo>
                  <a:pt x="7433983" y="1491652"/>
                  <a:pt x="7472274" y="1529956"/>
                  <a:pt x="7481464" y="1500845"/>
                </a:cubicBezTo>
                <a:cubicBezTo>
                  <a:pt x="7501375" y="1500845"/>
                  <a:pt x="7510565" y="1500845"/>
                  <a:pt x="7510565" y="1491652"/>
                </a:cubicBezTo>
                <a:cubicBezTo>
                  <a:pt x="7528945" y="1491652"/>
                  <a:pt x="7547325" y="1491652"/>
                  <a:pt x="7558047" y="1482459"/>
                </a:cubicBezTo>
                <a:cubicBezTo>
                  <a:pt x="7567236" y="1482459"/>
                  <a:pt x="7576426" y="1482459"/>
                  <a:pt x="7585616" y="1471734"/>
                </a:cubicBezTo>
                <a:cubicBezTo>
                  <a:pt x="7614718" y="1471734"/>
                  <a:pt x="7633098" y="1462541"/>
                  <a:pt x="7653009" y="1453348"/>
                </a:cubicBezTo>
                <a:cubicBezTo>
                  <a:pt x="8496949" y="1263361"/>
                  <a:pt x="9276561" y="969189"/>
                  <a:pt x="10140414" y="779203"/>
                </a:cubicBezTo>
                <a:cubicBezTo>
                  <a:pt x="10197084" y="770010"/>
                  <a:pt x="10226185" y="759285"/>
                  <a:pt x="10282857" y="759285"/>
                </a:cubicBezTo>
                <a:cubicBezTo>
                  <a:pt x="10301236" y="759285"/>
                  <a:pt x="10282857" y="759285"/>
                  <a:pt x="10301236" y="770010"/>
                </a:cubicBezTo>
                <a:cubicBezTo>
                  <a:pt x="10244567" y="740899"/>
                  <a:pt x="10292046" y="826700"/>
                  <a:pt x="10311957" y="806782"/>
                </a:cubicBezTo>
                <a:cubicBezTo>
                  <a:pt x="10292046" y="826700"/>
                  <a:pt x="10131223" y="845086"/>
                  <a:pt x="10092932" y="865003"/>
                </a:cubicBezTo>
                <a:cubicBezTo>
                  <a:pt x="10016348" y="883389"/>
                  <a:pt x="9959678" y="921692"/>
                  <a:pt x="9903007" y="940079"/>
                </a:cubicBezTo>
                <a:cubicBezTo>
                  <a:pt x="9855525" y="959996"/>
                  <a:pt x="9778943" y="959996"/>
                  <a:pt x="9731462" y="978383"/>
                </a:cubicBezTo>
                <a:cubicBezTo>
                  <a:pt x="9722271" y="987575"/>
                  <a:pt x="9722271" y="996768"/>
                  <a:pt x="9713082" y="996768"/>
                </a:cubicBezTo>
                <a:cubicBezTo>
                  <a:pt x="9693171" y="996768"/>
                  <a:pt x="9599740" y="1035072"/>
                  <a:pt x="9541537" y="1045797"/>
                </a:cubicBezTo>
                <a:cubicBezTo>
                  <a:pt x="9409815" y="1091761"/>
                  <a:pt x="9656411" y="1035072"/>
                  <a:pt x="9703892" y="1016686"/>
                </a:cubicBezTo>
                <a:cubicBezTo>
                  <a:pt x="9769754" y="996768"/>
                  <a:pt x="9826424" y="978383"/>
                  <a:pt x="9903007" y="969189"/>
                </a:cubicBezTo>
                <a:cubicBezTo>
                  <a:pt x="9864716" y="978383"/>
                  <a:pt x="9778943" y="1025879"/>
                  <a:pt x="9742184" y="1035072"/>
                </a:cubicBezTo>
                <a:cubicBezTo>
                  <a:pt x="9713082" y="1054989"/>
                  <a:pt x="9665601" y="1054989"/>
                  <a:pt x="9656411" y="1064182"/>
                </a:cubicBezTo>
                <a:cubicBezTo>
                  <a:pt x="9645689" y="1073376"/>
                  <a:pt x="9674791" y="1082568"/>
                  <a:pt x="9674791" y="1082568"/>
                </a:cubicBezTo>
                <a:cubicBezTo>
                  <a:pt x="9608930" y="1111679"/>
                  <a:pt x="9532346" y="1120872"/>
                  <a:pt x="9457296" y="1149983"/>
                </a:cubicBezTo>
                <a:cubicBezTo>
                  <a:pt x="8991673" y="1281747"/>
                  <a:pt x="8478569" y="1415045"/>
                  <a:pt x="8012947" y="1557534"/>
                </a:cubicBezTo>
                <a:cubicBezTo>
                  <a:pt x="7985378" y="1557534"/>
                  <a:pt x="7956276" y="1566727"/>
                  <a:pt x="7947086" y="1577452"/>
                </a:cubicBezTo>
                <a:cubicBezTo>
                  <a:pt x="7927176" y="1577452"/>
                  <a:pt x="7908794" y="1577452"/>
                  <a:pt x="7908794" y="1586645"/>
                </a:cubicBezTo>
                <a:cubicBezTo>
                  <a:pt x="7899604" y="1586645"/>
                  <a:pt x="7881225" y="1586645"/>
                  <a:pt x="7881225" y="1595838"/>
                </a:cubicBezTo>
                <a:cubicBezTo>
                  <a:pt x="7861314" y="1595838"/>
                  <a:pt x="7842934" y="1595838"/>
                  <a:pt x="7832212" y="1605030"/>
                </a:cubicBezTo>
                <a:cubicBezTo>
                  <a:pt x="7784732" y="1595838"/>
                  <a:pt x="7823022" y="1634142"/>
                  <a:pt x="7832212" y="1605030"/>
                </a:cubicBezTo>
                <a:cubicBezTo>
                  <a:pt x="7852123" y="1605030"/>
                  <a:pt x="7870503" y="1614224"/>
                  <a:pt x="7881225" y="1595838"/>
                </a:cubicBezTo>
                <a:cubicBezTo>
                  <a:pt x="7890415" y="1595838"/>
                  <a:pt x="7908794" y="1595838"/>
                  <a:pt x="7908794" y="1586645"/>
                </a:cubicBezTo>
                <a:cubicBezTo>
                  <a:pt x="7917984" y="1586645"/>
                  <a:pt x="7947086" y="1595838"/>
                  <a:pt x="7947086" y="1577452"/>
                </a:cubicBezTo>
                <a:cubicBezTo>
                  <a:pt x="7974655" y="1577452"/>
                  <a:pt x="8003757" y="1577452"/>
                  <a:pt x="8012947" y="1557534"/>
                </a:cubicBezTo>
                <a:cubicBezTo>
                  <a:pt x="8469379" y="1444155"/>
                  <a:pt x="8924281" y="1329244"/>
                  <a:pt x="9380714" y="1206672"/>
                </a:cubicBezTo>
                <a:cubicBezTo>
                  <a:pt x="9503245" y="1168369"/>
                  <a:pt x="9618119" y="1139258"/>
                  <a:pt x="9769754" y="1111679"/>
                </a:cubicBezTo>
                <a:cubicBezTo>
                  <a:pt x="9846336" y="1091761"/>
                  <a:pt x="9618119" y="1168369"/>
                  <a:pt x="9541537" y="1186754"/>
                </a:cubicBezTo>
                <a:cubicBezTo>
                  <a:pt x="9494056" y="1206672"/>
                  <a:pt x="9457296" y="1206672"/>
                  <a:pt x="9419005" y="1225058"/>
                </a:cubicBezTo>
                <a:cubicBezTo>
                  <a:pt x="9010053" y="1396658"/>
                  <a:pt x="8526051" y="1500845"/>
                  <a:pt x="8060428" y="1624949"/>
                </a:cubicBezTo>
                <a:cubicBezTo>
                  <a:pt x="8022138" y="1634142"/>
                  <a:pt x="7985378" y="1652527"/>
                  <a:pt x="7947086" y="1661720"/>
                </a:cubicBezTo>
                <a:cubicBezTo>
                  <a:pt x="7870503" y="1690831"/>
                  <a:pt x="7823022" y="1690831"/>
                  <a:pt x="7804642" y="1719942"/>
                </a:cubicBezTo>
                <a:cubicBezTo>
                  <a:pt x="7804642" y="1690831"/>
                  <a:pt x="7766352" y="1729135"/>
                  <a:pt x="7804642" y="1719942"/>
                </a:cubicBezTo>
                <a:cubicBezTo>
                  <a:pt x="7623908" y="1795017"/>
                  <a:pt x="7386501" y="1862432"/>
                  <a:pt x="7178196" y="1890011"/>
                </a:cubicBezTo>
                <a:cubicBezTo>
                  <a:pt x="7187386" y="1890011"/>
                  <a:pt x="7158285" y="1880818"/>
                  <a:pt x="7149095" y="1880818"/>
                </a:cubicBezTo>
                <a:cubicBezTo>
                  <a:pt x="7149095" y="1890011"/>
                  <a:pt x="7158285" y="1890011"/>
                  <a:pt x="7169006" y="1890011"/>
                </a:cubicBezTo>
                <a:cubicBezTo>
                  <a:pt x="7158285" y="1899203"/>
                  <a:pt x="7149095" y="1899203"/>
                  <a:pt x="7139905" y="1899203"/>
                </a:cubicBezTo>
                <a:cubicBezTo>
                  <a:pt x="7139905" y="1890011"/>
                  <a:pt x="7121525" y="1880818"/>
                  <a:pt x="7110804" y="1899203"/>
                </a:cubicBezTo>
                <a:cubicBezTo>
                  <a:pt x="7025031" y="1899203"/>
                  <a:pt x="7149095" y="1928315"/>
                  <a:pt x="7063323" y="1919121"/>
                </a:cubicBezTo>
                <a:cubicBezTo>
                  <a:pt x="7054133" y="1890011"/>
                  <a:pt x="7006651" y="1928315"/>
                  <a:pt x="7063323" y="1919121"/>
                </a:cubicBezTo>
                <a:cubicBezTo>
                  <a:pt x="7063323" y="1937507"/>
                  <a:pt x="7035753" y="1928315"/>
                  <a:pt x="7025031" y="1928315"/>
                </a:cubicBezTo>
                <a:cubicBezTo>
                  <a:pt x="7015841" y="1899203"/>
                  <a:pt x="6968360" y="1937507"/>
                  <a:pt x="7025031" y="1928315"/>
                </a:cubicBezTo>
                <a:cubicBezTo>
                  <a:pt x="7015841" y="1946700"/>
                  <a:pt x="6997461" y="1937507"/>
                  <a:pt x="6988271" y="1937507"/>
                </a:cubicBezTo>
                <a:cubicBezTo>
                  <a:pt x="6988271" y="1928315"/>
                  <a:pt x="6940791" y="1928315"/>
                  <a:pt x="6940791" y="1937507"/>
                </a:cubicBezTo>
                <a:cubicBezTo>
                  <a:pt x="6931601" y="1946700"/>
                  <a:pt x="6911689" y="1937507"/>
                  <a:pt x="6902499" y="1946700"/>
                </a:cubicBezTo>
                <a:cubicBezTo>
                  <a:pt x="6825916" y="1957424"/>
                  <a:pt x="6760056" y="1975811"/>
                  <a:pt x="6703384" y="2004921"/>
                </a:cubicBezTo>
                <a:lnTo>
                  <a:pt x="6669431" y="2010840"/>
                </a:lnTo>
                <a:lnTo>
                  <a:pt x="6665523" y="2010380"/>
                </a:lnTo>
                <a:lnTo>
                  <a:pt x="6660190" y="2012450"/>
                </a:lnTo>
                <a:lnTo>
                  <a:pt x="6501206" y="2040161"/>
                </a:lnTo>
                <a:cubicBezTo>
                  <a:pt x="6436876" y="2054333"/>
                  <a:pt x="6374844" y="2070803"/>
                  <a:pt x="6312812" y="2089190"/>
                </a:cubicBezTo>
                <a:cubicBezTo>
                  <a:pt x="6303622" y="2089190"/>
                  <a:pt x="6266863" y="2079997"/>
                  <a:pt x="6266863" y="2098383"/>
                </a:cubicBezTo>
                <a:cubicBezTo>
                  <a:pt x="6256142" y="2098383"/>
                  <a:pt x="6228571" y="2098383"/>
                  <a:pt x="6228571" y="2109108"/>
                </a:cubicBezTo>
                <a:cubicBezTo>
                  <a:pt x="6219382" y="2118300"/>
                  <a:pt x="6181090" y="2098383"/>
                  <a:pt x="6181090" y="2118300"/>
                </a:cubicBezTo>
                <a:cubicBezTo>
                  <a:pt x="6124420" y="2109108"/>
                  <a:pt x="6124420" y="2136686"/>
                  <a:pt x="6181090" y="2127494"/>
                </a:cubicBezTo>
                <a:cubicBezTo>
                  <a:pt x="6142799" y="2147412"/>
                  <a:pt x="6095318" y="2147412"/>
                  <a:pt x="6038647" y="2156603"/>
                </a:cubicBezTo>
                <a:cubicBezTo>
                  <a:pt x="6095318" y="2127494"/>
                  <a:pt x="5934494" y="2156603"/>
                  <a:pt x="5876291" y="2165797"/>
                </a:cubicBezTo>
                <a:cubicBezTo>
                  <a:pt x="5496441" y="2231680"/>
                  <a:pt x="5098212" y="2299094"/>
                  <a:pt x="4680071" y="2355783"/>
                </a:cubicBezTo>
                <a:cubicBezTo>
                  <a:pt x="4072005" y="2430859"/>
                  <a:pt x="3493039" y="2527384"/>
                  <a:pt x="2886506" y="2564156"/>
                </a:cubicBezTo>
                <a:cubicBezTo>
                  <a:pt x="2696580" y="2564156"/>
                  <a:pt x="2534226" y="2564156"/>
                  <a:pt x="2325920" y="2584073"/>
                </a:cubicBezTo>
                <a:lnTo>
                  <a:pt x="2358874" y="2584073"/>
                </a:lnTo>
                <a:cubicBezTo>
                  <a:pt x="2443594" y="2584073"/>
                  <a:pt x="2599513" y="2584073"/>
                  <a:pt x="2629188" y="2584073"/>
                </a:cubicBezTo>
                <a:cubicBezTo>
                  <a:pt x="3293924" y="2545770"/>
                  <a:pt x="3702876" y="2507466"/>
                  <a:pt x="4442664" y="2412473"/>
                </a:cubicBezTo>
                <a:cubicBezTo>
                  <a:pt x="4831704" y="2364976"/>
                  <a:pt x="5183984" y="2299094"/>
                  <a:pt x="5602126" y="2231680"/>
                </a:cubicBezTo>
                <a:cubicBezTo>
                  <a:pt x="5801240" y="2204101"/>
                  <a:pt x="5459682" y="2269983"/>
                  <a:pt x="5364719" y="2288368"/>
                </a:cubicBezTo>
                <a:cubicBezTo>
                  <a:pt x="5059920" y="2326673"/>
                  <a:pt x="4756653" y="2374169"/>
                  <a:pt x="4462576" y="2412473"/>
                </a:cubicBezTo>
                <a:cubicBezTo>
                  <a:pt x="3845320" y="2498273"/>
                  <a:pt x="3493039" y="2564156"/>
                  <a:pt x="2990657" y="2593266"/>
                </a:cubicBezTo>
                <a:cubicBezTo>
                  <a:pt x="2923266" y="2593266"/>
                  <a:pt x="2857404" y="2593266"/>
                  <a:pt x="2809922" y="2602459"/>
                </a:cubicBezTo>
                <a:cubicBezTo>
                  <a:pt x="2771632" y="2602459"/>
                  <a:pt x="2534226" y="2620845"/>
                  <a:pt x="2534226" y="2620845"/>
                </a:cubicBezTo>
                <a:cubicBezTo>
                  <a:pt x="2563327" y="2640763"/>
                  <a:pt x="2744062" y="2611653"/>
                  <a:pt x="2771632" y="2611653"/>
                </a:cubicBezTo>
                <a:cubicBezTo>
                  <a:pt x="3142291" y="2593266"/>
                  <a:pt x="3502229" y="2564156"/>
                  <a:pt x="3892801" y="2527384"/>
                </a:cubicBezTo>
                <a:cubicBezTo>
                  <a:pt x="4424284" y="2489081"/>
                  <a:pt x="4937388" y="2384894"/>
                  <a:pt x="5439771" y="2308287"/>
                </a:cubicBezTo>
                <a:cubicBezTo>
                  <a:pt x="5952874" y="2231680"/>
                  <a:pt x="6446067" y="2127494"/>
                  <a:pt x="6911689" y="2014115"/>
                </a:cubicBezTo>
                <a:cubicBezTo>
                  <a:pt x="7890415" y="1767438"/>
                  <a:pt x="8801749" y="1453348"/>
                  <a:pt x="9703892" y="1263361"/>
                </a:cubicBezTo>
                <a:cubicBezTo>
                  <a:pt x="9769754" y="1254169"/>
                  <a:pt x="9864716" y="1244976"/>
                  <a:pt x="9932108" y="1225058"/>
                </a:cubicBezTo>
                <a:cubicBezTo>
                  <a:pt x="10063831" y="1197479"/>
                  <a:pt x="9893817" y="1272555"/>
                  <a:pt x="9873906" y="1272555"/>
                </a:cubicBezTo>
                <a:cubicBezTo>
                  <a:pt x="9636499" y="1358355"/>
                  <a:pt x="9475676" y="1387466"/>
                  <a:pt x="9247459" y="1471734"/>
                </a:cubicBezTo>
                <a:cubicBezTo>
                  <a:pt x="9247459" y="1471734"/>
                  <a:pt x="9161687" y="1510038"/>
                  <a:pt x="9152496" y="1510038"/>
                </a:cubicBezTo>
                <a:cubicBezTo>
                  <a:pt x="9172408" y="1529956"/>
                  <a:pt x="9313320" y="1482459"/>
                  <a:pt x="9342421" y="1482459"/>
                </a:cubicBezTo>
                <a:cubicBezTo>
                  <a:pt x="9437384" y="1453348"/>
                  <a:pt x="9561448" y="1415045"/>
                  <a:pt x="9674791" y="1376741"/>
                </a:cubicBezTo>
                <a:cubicBezTo>
                  <a:pt x="9731462" y="1367548"/>
                  <a:pt x="9808044" y="1339969"/>
                  <a:pt x="9846336" y="1339969"/>
                </a:cubicBezTo>
                <a:cubicBezTo>
                  <a:pt x="9893817" y="1349162"/>
                  <a:pt x="9826424" y="1367548"/>
                  <a:pt x="9846336" y="1376741"/>
                </a:cubicBezTo>
                <a:cubicBezTo>
                  <a:pt x="9846336" y="1376741"/>
                  <a:pt x="9921386" y="1367548"/>
                  <a:pt x="9912197" y="1396658"/>
                </a:cubicBezTo>
                <a:cubicBezTo>
                  <a:pt x="9893817" y="1415045"/>
                  <a:pt x="9798854" y="1424238"/>
                  <a:pt x="9760565" y="1434962"/>
                </a:cubicBezTo>
                <a:cubicBezTo>
                  <a:pt x="9713082" y="1444155"/>
                  <a:pt x="9693171" y="1444155"/>
                  <a:pt x="9627308" y="1482459"/>
                </a:cubicBezTo>
                <a:cubicBezTo>
                  <a:pt x="9570639" y="1471734"/>
                  <a:pt x="9608930" y="1510038"/>
                  <a:pt x="9627308" y="1482459"/>
                </a:cubicBezTo>
                <a:cubicBezTo>
                  <a:pt x="9778943" y="1462541"/>
                  <a:pt x="9932108" y="1387466"/>
                  <a:pt x="10111312" y="1367548"/>
                </a:cubicBezTo>
                <a:cubicBezTo>
                  <a:pt x="10226185" y="1358355"/>
                  <a:pt x="10016348" y="1405851"/>
                  <a:pt x="10007159" y="1415045"/>
                </a:cubicBezTo>
                <a:cubicBezTo>
                  <a:pt x="9941298" y="1424238"/>
                  <a:pt x="9855525" y="1453348"/>
                  <a:pt x="9903007" y="1462541"/>
                </a:cubicBezTo>
                <a:cubicBezTo>
                  <a:pt x="9693171" y="1529956"/>
                  <a:pt x="10235377" y="1415045"/>
                  <a:pt x="10073021" y="1471734"/>
                </a:cubicBezTo>
                <a:cubicBezTo>
                  <a:pt x="10054642" y="1482459"/>
                  <a:pt x="10025538" y="1510038"/>
                  <a:pt x="9997969" y="1519230"/>
                </a:cubicBezTo>
                <a:cubicBezTo>
                  <a:pt x="9988779" y="1519230"/>
                  <a:pt x="9798854" y="1586645"/>
                  <a:pt x="9941298" y="1557534"/>
                </a:cubicBezTo>
                <a:cubicBezTo>
                  <a:pt x="9997969" y="1548342"/>
                  <a:pt x="10158793" y="1510038"/>
                  <a:pt x="10025538" y="1577452"/>
                </a:cubicBezTo>
                <a:cubicBezTo>
                  <a:pt x="9968868" y="1605030"/>
                  <a:pt x="9941298" y="1595838"/>
                  <a:pt x="9864716" y="1624949"/>
                </a:cubicBezTo>
                <a:cubicBezTo>
                  <a:pt x="9798854" y="1652527"/>
                  <a:pt x="9941298" y="1624949"/>
                  <a:pt x="9988779" y="1624949"/>
                </a:cubicBezTo>
                <a:cubicBezTo>
                  <a:pt x="9979590" y="1634142"/>
                  <a:pt x="9968868" y="1661720"/>
                  <a:pt x="9979590" y="1652527"/>
                </a:cubicBezTo>
                <a:cubicBezTo>
                  <a:pt x="9941298" y="1672445"/>
                  <a:pt x="9864716" y="1672445"/>
                  <a:pt x="9835614" y="1690831"/>
                </a:cubicBezTo>
                <a:cubicBezTo>
                  <a:pt x="9826424" y="1690831"/>
                  <a:pt x="9826424" y="1709217"/>
                  <a:pt x="9808044" y="1729135"/>
                </a:cubicBezTo>
                <a:cubicBezTo>
                  <a:pt x="9808044" y="1729135"/>
                  <a:pt x="9742184" y="1747521"/>
                  <a:pt x="9751374" y="1756714"/>
                </a:cubicBezTo>
                <a:cubicBezTo>
                  <a:pt x="9789665" y="1785824"/>
                  <a:pt x="9883096" y="1690831"/>
                  <a:pt x="9912197" y="1719942"/>
                </a:cubicBezTo>
                <a:cubicBezTo>
                  <a:pt x="9932108" y="1738327"/>
                  <a:pt x="9778943" y="1767438"/>
                  <a:pt x="9760565" y="1776631"/>
                </a:cubicBezTo>
                <a:cubicBezTo>
                  <a:pt x="9419005" y="1880818"/>
                  <a:pt x="9161687" y="1946700"/>
                  <a:pt x="8810939" y="2061612"/>
                </a:cubicBezTo>
                <a:cubicBezTo>
                  <a:pt x="8772647" y="2070803"/>
                  <a:pt x="8573532" y="2136686"/>
                  <a:pt x="8734356" y="2098383"/>
                </a:cubicBezTo>
                <a:cubicBezTo>
                  <a:pt x="8772647" y="2089190"/>
                  <a:pt x="9048344" y="2041693"/>
                  <a:pt x="8858419" y="2098383"/>
                </a:cubicBezTo>
                <a:cubicBezTo>
                  <a:pt x="8725166" y="2136686"/>
                  <a:pt x="8507671" y="2213294"/>
                  <a:pt x="8383606" y="2242404"/>
                </a:cubicBezTo>
                <a:cubicBezTo>
                  <a:pt x="8345316" y="2251597"/>
                  <a:pt x="8307024" y="2260790"/>
                  <a:pt x="8279454" y="2279177"/>
                </a:cubicBezTo>
                <a:cubicBezTo>
                  <a:pt x="8212062" y="2260790"/>
                  <a:pt x="8259542" y="2308287"/>
                  <a:pt x="8279454" y="2279177"/>
                </a:cubicBezTo>
                <a:cubicBezTo>
                  <a:pt x="8326936" y="2269983"/>
                  <a:pt x="8365227" y="2260790"/>
                  <a:pt x="8383606" y="2242404"/>
                </a:cubicBezTo>
                <a:cubicBezTo>
                  <a:pt x="8686874" y="2174990"/>
                  <a:pt x="9143306" y="2052418"/>
                  <a:pt x="9494056" y="1957424"/>
                </a:cubicBezTo>
                <a:cubicBezTo>
                  <a:pt x="9636499" y="1928315"/>
                  <a:pt x="9751374" y="1880818"/>
                  <a:pt x="9855525" y="1880818"/>
                </a:cubicBezTo>
                <a:cubicBezTo>
                  <a:pt x="9855525" y="1880818"/>
                  <a:pt x="9835614" y="1890011"/>
                  <a:pt x="9835614" y="1899203"/>
                </a:cubicBezTo>
                <a:cubicBezTo>
                  <a:pt x="9855525" y="1890011"/>
                  <a:pt x="10092932" y="1851707"/>
                  <a:pt x="10092932" y="1890011"/>
                </a:cubicBezTo>
                <a:cubicBezTo>
                  <a:pt x="10092932" y="1890011"/>
                  <a:pt x="9988779" y="1908396"/>
                  <a:pt x="9979590" y="1919121"/>
                </a:cubicBezTo>
                <a:cubicBezTo>
                  <a:pt x="9979590" y="1919121"/>
                  <a:pt x="9979590" y="1966618"/>
                  <a:pt x="9968868" y="1975811"/>
                </a:cubicBezTo>
                <a:cubicBezTo>
                  <a:pt x="9932108" y="2004921"/>
                  <a:pt x="9789665" y="2004921"/>
                  <a:pt x="9817234" y="2032500"/>
                </a:cubicBezTo>
                <a:cubicBezTo>
                  <a:pt x="9808044" y="2023308"/>
                  <a:pt x="9912197" y="2014115"/>
                  <a:pt x="9912197" y="2023308"/>
                </a:cubicBezTo>
                <a:cubicBezTo>
                  <a:pt x="9893817" y="2041693"/>
                  <a:pt x="9798854" y="2041693"/>
                  <a:pt x="9751374" y="2061612"/>
                </a:cubicBezTo>
                <a:cubicBezTo>
                  <a:pt x="9693171" y="2079997"/>
                  <a:pt x="9665601" y="2098383"/>
                  <a:pt x="9627308" y="2118300"/>
                </a:cubicBezTo>
                <a:cubicBezTo>
                  <a:pt x="9579829" y="2147412"/>
                  <a:pt x="9389904" y="2194908"/>
                  <a:pt x="9276561" y="2222487"/>
                </a:cubicBezTo>
                <a:cubicBezTo>
                  <a:pt x="9238269" y="2242404"/>
                  <a:pt x="9181598" y="2269983"/>
                  <a:pt x="9181598" y="2269983"/>
                </a:cubicBezTo>
                <a:cubicBezTo>
                  <a:pt x="9199979" y="2279177"/>
                  <a:pt x="9389904" y="2213294"/>
                  <a:pt x="9446574" y="2194908"/>
                </a:cubicBezTo>
                <a:cubicBezTo>
                  <a:pt x="9541537" y="2174990"/>
                  <a:pt x="9645689" y="2147412"/>
                  <a:pt x="9760565" y="2127494"/>
                </a:cubicBezTo>
                <a:cubicBezTo>
                  <a:pt x="9835614" y="2118300"/>
                  <a:pt x="9912197" y="2079997"/>
                  <a:pt x="9959678" y="2079997"/>
                </a:cubicBezTo>
                <a:cubicBezTo>
                  <a:pt x="9935556" y="2079997"/>
                  <a:pt x="10026354" y="2102285"/>
                  <a:pt x="10049431" y="2107857"/>
                </a:cubicBezTo>
                <a:lnTo>
                  <a:pt x="10053394" y="2108809"/>
                </a:lnTo>
                <a:lnTo>
                  <a:pt x="10051459" y="2112148"/>
                </a:lnTo>
                <a:cubicBezTo>
                  <a:pt x="10045354" y="2124429"/>
                  <a:pt x="10031282" y="2158902"/>
                  <a:pt x="10016348" y="2165797"/>
                </a:cubicBezTo>
                <a:cubicBezTo>
                  <a:pt x="9997969" y="2184183"/>
                  <a:pt x="9941298" y="2174990"/>
                  <a:pt x="9921386" y="2184183"/>
                </a:cubicBezTo>
                <a:cubicBezTo>
                  <a:pt x="9893817" y="2194908"/>
                  <a:pt x="9883096" y="2231680"/>
                  <a:pt x="9864716" y="2231680"/>
                </a:cubicBezTo>
                <a:cubicBezTo>
                  <a:pt x="9846336" y="2251597"/>
                  <a:pt x="9817234" y="2242404"/>
                  <a:pt x="9789665" y="2251597"/>
                </a:cubicBezTo>
                <a:cubicBezTo>
                  <a:pt x="9731462" y="2279177"/>
                  <a:pt x="9636499" y="2326673"/>
                  <a:pt x="9552259" y="2355783"/>
                </a:cubicBezTo>
                <a:cubicBezTo>
                  <a:pt x="9523157" y="2355783"/>
                  <a:pt x="9503245" y="2355783"/>
                  <a:pt x="9484866" y="2374169"/>
                </a:cubicBezTo>
                <a:cubicBezTo>
                  <a:pt x="9475676" y="2374169"/>
                  <a:pt x="9446574" y="2374169"/>
                  <a:pt x="9446574" y="2384894"/>
                </a:cubicBezTo>
                <a:cubicBezTo>
                  <a:pt x="9399094" y="2374169"/>
                  <a:pt x="9437384" y="2412473"/>
                  <a:pt x="9446574" y="2384894"/>
                </a:cubicBezTo>
                <a:cubicBezTo>
                  <a:pt x="9466485" y="2384894"/>
                  <a:pt x="9484866" y="2384894"/>
                  <a:pt x="9484866" y="2374169"/>
                </a:cubicBezTo>
                <a:cubicBezTo>
                  <a:pt x="9513967" y="2374169"/>
                  <a:pt x="9541537" y="2364976"/>
                  <a:pt x="9552259" y="2355783"/>
                </a:cubicBezTo>
                <a:cubicBezTo>
                  <a:pt x="9703892" y="2317480"/>
                  <a:pt x="9855525" y="2317480"/>
                  <a:pt x="9997969" y="2308287"/>
                </a:cubicBezTo>
                <a:cubicBezTo>
                  <a:pt x="10016348" y="2308287"/>
                  <a:pt x="10045452" y="2299094"/>
                  <a:pt x="10083742" y="2299094"/>
                </a:cubicBezTo>
                <a:cubicBezTo>
                  <a:pt x="10054642" y="2299094"/>
                  <a:pt x="10025538" y="2299094"/>
                  <a:pt x="9997969" y="2308287"/>
                </a:cubicBezTo>
                <a:cubicBezTo>
                  <a:pt x="9941298" y="2308287"/>
                  <a:pt x="10122033" y="2260790"/>
                  <a:pt x="10122033" y="2299094"/>
                </a:cubicBezTo>
                <a:cubicBezTo>
                  <a:pt x="10122033" y="2299094"/>
                  <a:pt x="10045452" y="2317480"/>
                  <a:pt x="10025538" y="2326673"/>
                </a:cubicBezTo>
                <a:cubicBezTo>
                  <a:pt x="9932108" y="2355783"/>
                  <a:pt x="9883096" y="2364976"/>
                  <a:pt x="9769754" y="2394087"/>
                </a:cubicBezTo>
                <a:cubicBezTo>
                  <a:pt x="9703892" y="2412473"/>
                  <a:pt x="9893817" y="2384894"/>
                  <a:pt x="9941298" y="2374169"/>
                </a:cubicBezTo>
                <a:cubicBezTo>
                  <a:pt x="9941298" y="2374169"/>
                  <a:pt x="9997969" y="2355783"/>
                  <a:pt x="9988779" y="2374169"/>
                </a:cubicBezTo>
                <a:cubicBezTo>
                  <a:pt x="9979590" y="2384894"/>
                  <a:pt x="9873906" y="2394087"/>
                  <a:pt x="9883096" y="2394087"/>
                </a:cubicBezTo>
                <a:cubicBezTo>
                  <a:pt x="9846336" y="2403280"/>
                  <a:pt x="9665601" y="2450777"/>
                  <a:pt x="9656411" y="2478356"/>
                </a:cubicBezTo>
                <a:cubicBezTo>
                  <a:pt x="9656411" y="2469162"/>
                  <a:pt x="9674791" y="2489081"/>
                  <a:pt x="9665601" y="2498273"/>
                </a:cubicBezTo>
                <a:cubicBezTo>
                  <a:pt x="9665601" y="2498273"/>
                  <a:pt x="9665601" y="2498273"/>
                  <a:pt x="9656411" y="2489081"/>
                </a:cubicBezTo>
                <a:cubicBezTo>
                  <a:pt x="9656411" y="2489081"/>
                  <a:pt x="9656411" y="2498273"/>
                  <a:pt x="9665601" y="2498273"/>
                </a:cubicBezTo>
                <a:cubicBezTo>
                  <a:pt x="9731462" y="2498273"/>
                  <a:pt x="9988779" y="2450777"/>
                  <a:pt x="9808044" y="2498273"/>
                </a:cubicBezTo>
                <a:cubicBezTo>
                  <a:pt x="9769754" y="2516659"/>
                  <a:pt x="9665601" y="2545770"/>
                  <a:pt x="9636499" y="2564156"/>
                </a:cubicBezTo>
                <a:cubicBezTo>
                  <a:pt x="9570639" y="2584073"/>
                  <a:pt x="9437384" y="2620845"/>
                  <a:pt x="9437384" y="2659149"/>
                </a:cubicBezTo>
                <a:cubicBezTo>
                  <a:pt x="9399094" y="2649956"/>
                  <a:pt x="9437384" y="2688260"/>
                  <a:pt x="9437384" y="2659149"/>
                </a:cubicBezTo>
                <a:cubicBezTo>
                  <a:pt x="9457296" y="2659149"/>
                  <a:pt x="9618119" y="2620845"/>
                  <a:pt x="9618119" y="2631570"/>
                </a:cubicBezTo>
                <a:cubicBezTo>
                  <a:pt x="9608930" y="2659149"/>
                  <a:pt x="9389904" y="2668341"/>
                  <a:pt x="9380714" y="2717370"/>
                </a:cubicBezTo>
                <a:cubicBezTo>
                  <a:pt x="9333231" y="2706645"/>
                  <a:pt x="9380714" y="2744950"/>
                  <a:pt x="9380714" y="2717370"/>
                </a:cubicBezTo>
                <a:cubicBezTo>
                  <a:pt x="9457296" y="2706645"/>
                  <a:pt x="9541537" y="2668341"/>
                  <a:pt x="9645689" y="2649956"/>
                </a:cubicBezTo>
                <a:cubicBezTo>
                  <a:pt x="9826424" y="2602459"/>
                  <a:pt x="9665601" y="2679067"/>
                  <a:pt x="9608930" y="2697453"/>
                </a:cubicBezTo>
                <a:cubicBezTo>
                  <a:pt x="9475676" y="2744950"/>
                  <a:pt x="9351612" y="2764867"/>
                  <a:pt x="9199979" y="2810832"/>
                </a:cubicBezTo>
                <a:cubicBezTo>
                  <a:pt x="9157475" y="2832664"/>
                  <a:pt x="9200264" y="2838123"/>
                  <a:pt x="9224316" y="2835610"/>
                </a:cubicBezTo>
                <a:lnTo>
                  <a:pt x="9232899" y="2833990"/>
                </a:lnTo>
                <a:lnTo>
                  <a:pt x="9214793" y="2844922"/>
                </a:lnTo>
                <a:cubicBezTo>
                  <a:pt x="9182843" y="2859572"/>
                  <a:pt x="9129139" y="2875948"/>
                  <a:pt x="9086636" y="2896632"/>
                </a:cubicBezTo>
                <a:cubicBezTo>
                  <a:pt x="8944192" y="2953321"/>
                  <a:pt x="8754267" y="3000817"/>
                  <a:pt x="8591912" y="3039122"/>
                </a:cubicBezTo>
                <a:cubicBezTo>
                  <a:pt x="8012947" y="3190804"/>
                  <a:pt x="7490653" y="3353212"/>
                  <a:pt x="6902499" y="3495702"/>
                </a:cubicBezTo>
                <a:cubicBezTo>
                  <a:pt x="6769245" y="3523280"/>
                  <a:pt x="6646713" y="3543198"/>
                  <a:pt x="6493547" y="3570776"/>
                </a:cubicBezTo>
                <a:cubicBezTo>
                  <a:pt x="6228571" y="3609080"/>
                  <a:pt x="5952874" y="3685688"/>
                  <a:pt x="5677176" y="3742377"/>
                </a:cubicBezTo>
                <a:cubicBezTo>
                  <a:pt x="5383099" y="3789874"/>
                  <a:pt x="5089022" y="3799067"/>
                  <a:pt x="4813324" y="3846564"/>
                </a:cubicBezTo>
                <a:cubicBezTo>
                  <a:pt x="4528437" y="3883335"/>
                  <a:pt x="4243549" y="3921639"/>
                  <a:pt x="3949473" y="3949217"/>
                </a:cubicBezTo>
                <a:cubicBezTo>
                  <a:pt x="3664585" y="3987521"/>
                  <a:pt x="3370507" y="4035018"/>
                  <a:pt x="3076430" y="4054936"/>
                </a:cubicBezTo>
                <a:cubicBezTo>
                  <a:pt x="2569836" y="4075620"/>
                  <a:pt x="2032225" y="4102337"/>
                  <a:pt x="1466830" y="4098243"/>
                </a:cubicBezTo>
                <a:cubicBezTo>
                  <a:pt x="1278365" y="4096879"/>
                  <a:pt x="1086813" y="4092091"/>
                  <a:pt x="892293" y="4082514"/>
                </a:cubicBezTo>
                <a:cubicBezTo>
                  <a:pt x="797330" y="4073322"/>
                  <a:pt x="691646" y="4054936"/>
                  <a:pt x="598214" y="4054936"/>
                </a:cubicBezTo>
                <a:cubicBezTo>
                  <a:pt x="435860" y="4044211"/>
                  <a:pt x="284226" y="4044211"/>
                  <a:pt x="189264" y="4007440"/>
                </a:cubicBezTo>
                <a:cubicBezTo>
                  <a:pt x="169352" y="4007440"/>
                  <a:pt x="150972" y="3978328"/>
                  <a:pt x="123402" y="3958411"/>
                </a:cubicBezTo>
                <a:cubicBezTo>
                  <a:pt x="103491" y="3949217"/>
                  <a:pt x="65200" y="3958411"/>
                  <a:pt x="94301" y="3930832"/>
                </a:cubicBezTo>
                <a:cubicBezTo>
                  <a:pt x="123402" y="3912446"/>
                  <a:pt x="350087" y="3978328"/>
                  <a:pt x="408291" y="3978328"/>
                </a:cubicBezTo>
                <a:cubicBezTo>
                  <a:pt x="512442" y="3978328"/>
                  <a:pt x="616594" y="3996714"/>
                  <a:pt x="768229" y="4007440"/>
                </a:cubicBezTo>
                <a:cubicBezTo>
                  <a:pt x="1233852" y="4044211"/>
                  <a:pt x="1708664" y="4016632"/>
                  <a:pt x="2174286" y="4007440"/>
                </a:cubicBezTo>
                <a:cubicBezTo>
                  <a:pt x="2183476" y="4007440"/>
                  <a:pt x="2325920" y="4016632"/>
                  <a:pt x="2316730" y="3996714"/>
                </a:cubicBezTo>
                <a:cubicBezTo>
                  <a:pt x="2296819" y="3978328"/>
                  <a:pt x="1993551" y="3996714"/>
                  <a:pt x="1936881" y="3996714"/>
                </a:cubicBezTo>
                <a:cubicBezTo>
                  <a:pt x="1803626" y="3996714"/>
                  <a:pt x="1708664" y="3987521"/>
                  <a:pt x="1584601" y="3987521"/>
                </a:cubicBezTo>
                <a:cubicBezTo>
                  <a:pt x="1423777" y="3987521"/>
                  <a:pt x="1224662" y="3996714"/>
                  <a:pt x="1062307" y="3987521"/>
                </a:cubicBezTo>
                <a:cubicBezTo>
                  <a:pt x="711557" y="3978328"/>
                  <a:pt x="492532" y="3949217"/>
                  <a:pt x="245935" y="3883335"/>
                </a:cubicBezTo>
                <a:cubicBezTo>
                  <a:pt x="180073" y="3864949"/>
                  <a:pt x="103491" y="3846564"/>
                  <a:pt x="112681" y="3818985"/>
                </a:cubicBezTo>
                <a:cubicBezTo>
                  <a:pt x="123402" y="3799067"/>
                  <a:pt x="207643" y="3799067"/>
                  <a:pt x="189264" y="3780681"/>
                </a:cubicBezTo>
                <a:cubicBezTo>
                  <a:pt x="189264" y="3760764"/>
                  <a:pt x="65200" y="3751571"/>
                  <a:pt x="28440" y="3742377"/>
                </a:cubicBezTo>
                <a:cubicBezTo>
                  <a:pt x="-38953" y="3713267"/>
                  <a:pt x="28440" y="3713267"/>
                  <a:pt x="75922" y="3713267"/>
                </a:cubicBezTo>
                <a:cubicBezTo>
                  <a:pt x="150972" y="3733184"/>
                  <a:pt x="160162" y="3723992"/>
                  <a:pt x="85112" y="3694881"/>
                </a:cubicBezTo>
                <a:cubicBezTo>
                  <a:pt x="103491" y="3704074"/>
                  <a:pt x="37630" y="3676495"/>
                  <a:pt x="46820" y="3665770"/>
                </a:cubicBezTo>
                <a:cubicBezTo>
                  <a:pt x="65200" y="3647384"/>
                  <a:pt x="141782" y="3704074"/>
                  <a:pt x="189264" y="3685688"/>
                </a:cubicBezTo>
                <a:cubicBezTo>
                  <a:pt x="227555" y="3676495"/>
                  <a:pt x="218366" y="3638192"/>
                  <a:pt x="255125" y="3628999"/>
                </a:cubicBezTo>
                <a:cubicBezTo>
                  <a:pt x="265846" y="3618273"/>
                  <a:pt x="397568" y="3665770"/>
                  <a:pt x="388379" y="3628999"/>
                </a:cubicBezTo>
                <a:cubicBezTo>
                  <a:pt x="379189" y="3599888"/>
                  <a:pt x="275036" y="3609080"/>
                  <a:pt x="207643" y="3590695"/>
                </a:cubicBezTo>
                <a:cubicBezTo>
                  <a:pt x="160162" y="3570776"/>
                  <a:pt x="17718" y="3495702"/>
                  <a:pt x="132592" y="3514087"/>
                </a:cubicBezTo>
                <a:cubicBezTo>
                  <a:pt x="218366" y="3523280"/>
                  <a:pt x="46820" y="3486509"/>
                  <a:pt x="65200" y="3466591"/>
                </a:cubicBezTo>
                <a:cubicBezTo>
                  <a:pt x="75922" y="3448205"/>
                  <a:pt x="255125" y="3495702"/>
                  <a:pt x="255125" y="3448205"/>
                </a:cubicBezTo>
                <a:cubicBezTo>
                  <a:pt x="255125" y="3466591"/>
                  <a:pt x="150972" y="3419094"/>
                  <a:pt x="150972" y="3419094"/>
                </a:cubicBezTo>
                <a:cubicBezTo>
                  <a:pt x="141782" y="3409902"/>
                  <a:pt x="123402" y="3353212"/>
                  <a:pt x="123402" y="3333294"/>
                </a:cubicBezTo>
                <a:cubicBezTo>
                  <a:pt x="123402" y="3344019"/>
                  <a:pt x="189264" y="3229108"/>
                  <a:pt x="189264" y="3229108"/>
                </a:cubicBezTo>
                <a:cubicBezTo>
                  <a:pt x="227555" y="3210723"/>
                  <a:pt x="293415" y="3238301"/>
                  <a:pt x="302606" y="3238301"/>
                </a:cubicBezTo>
                <a:cubicBezTo>
                  <a:pt x="331707" y="3219915"/>
                  <a:pt x="302606" y="3181611"/>
                  <a:pt x="331707" y="3181611"/>
                </a:cubicBezTo>
                <a:cubicBezTo>
                  <a:pt x="379189" y="3163226"/>
                  <a:pt x="654886" y="3219915"/>
                  <a:pt x="729938" y="3229108"/>
                </a:cubicBezTo>
                <a:cubicBezTo>
                  <a:pt x="759038" y="3229108"/>
                  <a:pt x="1034736" y="3219915"/>
                  <a:pt x="872381" y="3219915"/>
                </a:cubicBezTo>
                <a:cubicBezTo>
                  <a:pt x="788140" y="3219915"/>
                  <a:pt x="492532" y="3163226"/>
                  <a:pt x="408291" y="3163226"/>
                </a:cubicBezTo>
                <a:cubicBezTo>
                  <a:pt x="331707" y="3154033"/>
                  <a:pt x="322517" y="3154033"/>
                  <a:pt x="265846" y="3106536"/>
                </a:cubicBezTo>
                <a:cubicBezTo>
                  <a:pt x="236745" y="3097343"/>
                  <a:pt x="207643" y="3077426"/>
                  <a:pt x="198453" y="3059039"/>
                </a:cubicBezTo>
                <a:cubicBezTo>
                  <a:pt x="189264" y="3020736"/>
                  <a:pt x="227555" y="3039122"/>
                  <a:pt x="245935" y="3000817"/>
                </a:cubicBezTo>
                <a:cubicBezTo>
                  <a:pt x="255125" y="2982432"/>
                  <a:pt x="198453" y="2982432"/>
                  <a:pt x="255125" y="2953321"/>
                </a:cubicBezTo>
                <a:cubicBezTo>
                  <a:pt x="322517" y="2916550"/>
                  <a:pt x="180073" y="2934935"/>
                  <a:pt x="207643" y="2887438"/>
                </a:cubicBezTo>
                <a:cubicBezTo>
                  <a:pt x="245935" y="2839942"/>
                  <a:pt x="379189" y="2907357"/>
                  <a:pt x="445050" y="2907357"/>
                </a:cubicBezTo>
                <a:cubicBezTo>
                  <a:pt x="521632" y="2896632"/>
                  <a:pt x="426670" y="2887438"/>
                  <a:pt x="408291" y="2887438"/>
                </a:cubicBezTo>
                <a:cubicBezTo>
                  <a:pt x="350087" y="2869053"/>
                  <a:pt x="340897" y="2869053"/>
                  <a:pt x="275036" y="2839942"/>
                </a:cubicBezTo>
                <a:cubicBezTo>
                  <a:pt x="265846" y="2839942"/>
                  <a:pt x="198453" y="2830750"/>
                  <a:pt x="207643" y="2801638"/>
                </a:cubicBezTo>
                <a:cubicBezTo>
                  <a:pt x="236745" y="2764867"/>
                  <a:pt x="302606" y="2896632"/>
                  <a:pt x="322517" y="2792445"/>
                </a:cubicBezTo>
                <a:cubicBezTo>
                  <a:pt x="331707" y="2764867"/>
                  <a:pt x="245935" y="2764867"/>
                  <a:pt x="255125" y="2726563"/>
                </a:cubicBezTo>
                <a:cubicBezTo>
                  <a:pt x="265846" y="2679067"/>
                  <a:pt x="379189" y="2726563"/>
                  <a:pt x="388379" y="2697453"/>
                </a:cubicBezTo>
                <a:cubicBezTo>
                  <a:pt x="397568" y="2668341"/>
                  <a:pt x="265846" y="2659149"/>
                  <a:pt x="302606" y="2620845"/>
                </a:cubicBezTo>
                <a:cubicBezTo>
                  <a:pt x="340897" y="2574881"/>
                  <a:pt x="474151" y="2659149"/>
                  <a:pt x="521632" y="2640763"/>
                </a:cubicBezTo>
                <a:cubicBezTo>
                  <a:pt x="530822" y="2649956"/>
                  <a:pt x="530822" y="2659149"/>
                  <a:pt x="530822" y="2640763"/>
                </a:cubicBezTo>
                <a:cubicBezTo>
                  <a:pt x="530822" y="2631570"/>
                  <a:pt x="521632" y="2611653"/>
                  <a:pt x="521632" y="2593266"/>
                </a:cubicBezTo>
                <a:cubicBezTo>
                  <a:pt x="521632" y="2602459"/>
                  <a:pt x="521632" y="2640763"/>
                  <a:pt x="530822" y="2640763"/>
                </a:cubicBezTo>
                <a:cubicBezTo>
                  <a:pt x="530822" y="2640763"/>
                  <a:pt x="530822" y="2640763"/>
                  <a:pt x="521632" y="2640763"/>
                </a:cubicBezTo>
                <a:cubicBezTo>
                  <a:pt x="512442" y="2620845"/>
                  <a:pt x="503252" y="2584073"/>
                  <a:pt x="503252" y="2574881"/>
                </a:cubicBezTo>
                <a:cubicBezTo>
                  <a:pt x="512442" y="2574881"/>
                  <a:pt x="521632" y="2574881"/>
                  <a:pt x="521632" y="2574881"/>
                </a:cubicBezTo>
                <a:cubicBezTo>
                  <a:pt x="503252" y="2564156"/>
                  <a:pt x="503252" y="2564156"/>
                  <a:pt x="503252" y="2574881"/>
                </a:cubicBezTo>
                <a:cubicBezTo>
                  <a:pt x="445050" y="2564156"/>
                  <a:pt x="313327" y="2536577"/>
                  <a:pt x="331707" y="2507466"/>
                </a:cubicBezTo>
                <a:cubicBezTo>
                  <a:pt x="340897" y="2498273"/>
                  <a:pt x="578304" y="2554962"/>
                  <a:pt x="625785" y="2564156"/>
                </a:cubicBezTo>
                <a:cubicBezTo>
                  <a:pt x="634975" y="2564156"/>
                  <a:pt x="854001" y="2574881"/>
                  <a:pt x="854001" y="2564156"/>
                </a:cubicBezTo>
                <a:cubicBezTo>
                  <a:pt x="854001" y="2554962"/>
                  <a:pt x="711557" y="2554962"/>
                  <a:pt x="702367" y="2545770"/>
                </a:cubicBezTo>
                <a:cubicBezTo>
                  <a:pt x="645696" y="2545770"/>
                  <a:pt x="313327" y="2489081"/>
                  <a:pt x="331707" y="2450777"/>
                </a:cubicBezTo>
                <a:cubicBezTo>
                  <a:pt x="340897" y="2430859"/>
                  <a:pt x="408291" y="2459970"/>
                  <a:pt x="426670" y="2459970"/>
                </a:cubicBezTo>
                <a:cubicBezTo>
                  <a:pt x="483341" y="2469162"/>
                  <a:pt x="578304" y="2459970"/>
                  <a:pt x="616594" y="2450777"/>
                </a:cubicBezTo>
                <a:cubicBezTo>
                  <a:pt x="625785" y="2450777"/>
                  <a:pt x="625785" y="2430859"/>
                  <a:pt x="645696" y="2430859"/>
                </a:cubicBezTo>
                <a:cubicBezTo>
                  <a:pt x="654886" y="2430859"/>
                  <a:pt x="939774" y="2469162"/>
                  <a:pt x="939774" y="2450777"/>
                </a:cubicBezTo>
                <a:cubicBezTo>
                  <a:pt x="939774" y="2441584"/>
                  <a:pt x="777418" y="2441584"/>
                  <a:pt x="749848" y="2430859"/>
                </a:cubicBezTo>
                <a:cubicBezTo>
                  <a:pt x="720748" y="2430859"/>
                  <a:pt x="607405" y="2403280"/>
                  <a:pt x="607405" y="2374169"/>
                </a:cubicBezTo>
                <a:cubicBezTo>
                  <a:pt x="598214" y="2346591"/>
                  <a:pt x="673266" y="2384894"/>
                  <a:pt x="625785" y="2355783"/>
                </a:cubicBezTo>
                <a:cubicBezTo>
                  <a:pt x="616594" y="2346591"/>
                  <a:pt x="350087" y="2337397"/>
                  <a:pt x="369998" y="2269983"/>
                </a:cubicBezTo>
                <a:cubicBezTo>
                  <a:pt x="388379" y="2204101"/>
                  <a:pt x="521632" y="2251597"/>
                  <a:pt x="616594" y="2251597"/>
                </a:cubicBezTo>
                <a:cubicBezTo>
                  <a:pt x="645696" y="2260790"/>
                  <a:pt x="788140" y="2269983"/>
                  <a:pt x="844811" y="2269983"/>
                </a:cubicBezTo>
                <a:cubicBezTo>
                  <a:pt x="948964" y="2269983"/>
                  <a:pt x="824900" y="2242404"/>
                  <a:pt x="777418" y="2231680"/>
                </a:cubicBezTo>
                <a:cubicBezTo>
                  <a:pt x="720748" y="2222487"/>
                  <a:pt x="654886" y="2222487"/>
                  <a:pt x="616594" y="2184183"/>
                </a:cubicBezTo>
                <a:cubicBezTo>
                  <a:pt x="607405" y="2174990"/>
                  <a:pt x="616594" y="2165797"/>
                  <a:pt x="598214" y="2156603"/>
                </a:cubicBezTo>
                <a:cubicBezTo>
                  <a:pt x="569114" y="2147412"/>
                  <a:pt x="445050" y="2156603"/>
                  <a:pt x="408291" y="2118300"/>
                </a:cubicBezTo>
                <a:cubicBezTo>
                  <a:pt x="397568" y="2118300"/>
                  <a:pt x="369998" y="2079997"/>
                  <a:pt x="379189" y="2070803"/>
                </a:cubicBezTo>
                <a:cubicBezTo>
                  <a:pt x="388379" y="2061612"/>
                  <a:pt x="559924" y="2109108"/>
                  <a:pt x="598214" y="2109108"/>
                </a:cubicBezTo>
                <a:cubicBezTo>
                  <a:pt x="607405" y="2109108"/>
                  <a:pt x="720748" y="2079997"/>
                  <a:pt x="720748" y="2079997"/>
                </a:cubicBezTo>
                <a:cubicBezTo>
                  <a:pt x="720748" y="2070803"/>
                  <a:pt x="607405" y="2079997"/>
                  <a:pt x="598214" y="2061612"/>
                </a:cubicBezTo>
                <a:cubicBezTo>
                  <a:pt x="587493" y="2052418"/>
                  <a:pt x="616594" y="2023308"/>
                  <a:pt x="598214" y="2014115"/>
                </a:cubicBezTo>
                <a:cubicBezTo>
                  <a:pt x="550735" y="1985003"/>
                  <a:pt x="512442" y="2014115"/>
                  <a:pt x="455771" y="1994197"/>
                </a:cubicBezTo>
                <a:cubicBezTo>
                  <a:pt x="369998" y="1957424"/>
                  <a:pt x="360809" y="1899203"/>
                  <a:pt x="455771" y="1919121"/>
                </a:cubicBezTo>
                <a:cubicBezTo>
                  <a:pt x="521632" y="1937507"/>
                  <a:pt x="521632" y="1946700"/>
                  <a:pt x="587493" y="1946700"/>
                </a:cubicBezTo>
                <a:cubicBezTo>
                  <a:pt x="777418" y="1966618"/>
                  <a:pt x="464961" y="1919121"/>
                  <a:pt x="492532" y="1880818"/>
                </a:cubicBezTo>
                <a:cubicBezTo>
                  <a:pt x="512442" y="1862432"/>
                  <a:pt x="616594" y="1919121"/>
                  <a:pt x="664077" y="1908396"/>
                </a:cubicBezTo>
                <a:cubicBezTo>
                  <a:pt x="654886" y="1908396"/>
                  <a:pt x="654886" y="1899203"/>
                  <a:pt x="682456" y="1890011"/>
                </a:cubicBezTo>
                <a:cubicBezTo>
                  <a:pt x="720748" y="1880818"/>
                  <a:pt x="740659" y="1890011"/>
                  <a:pt x="682456" y="1851707"/>
                </a:cubicBezTo>
                <a:cubicBezTo>
                  <a:pt x="625785" y="1814935"/>
                  <a:pt x="702367" y="1824128"/>
                  <a:pt x="749848" y="1814935"/>
                </a:cubicBezTo>
                <a:cubicBezTo>
                  <a:pt x="788140" y="1833321"/>
                  <a:pt x="835621" y="1833321"/>
                  <a:pt x="892293" y="1833321"/>
                </a:cubicBezTo>
                <a:cubicBezTo>
                  <a:pt x="939774" y="1862432"/>
                  <a:pt x="987255" y="1824128"/>
                  <a:pt x="892293" y="1833321"/>
                </a:cubicBezTo>
                <a:cubicBezTo>
                  <a:pt x="854001" y="1814935"/>
                  <a:pt x="806520" y="1814935"/>
                  <a:pt x="749848" y="1814935"/>
                </a:cubicBezTo>
                <a:cubicBezTo>
                  <a:pt x="720748" y="1824128"/>
                  <a:pt x="530822" y="1719942"/>
                  <a:pt x="530822" y="1729135"/>
                </a:cubicBezTo>
                <a:cubicBezTo>
                  <a:pt x="530822" y="1719942"/>
                  <a:pt x="569114" y="1729135"/>
                  <a:pt x="598214" y="1738327"/>
                </a:cubicBezTo>
                <a:cubicBezTo>
                  <a:pt x="587493" y="1738327"/>
                  <a:pt x="578304" y="1738327"/>
                  <a:pt x="578304" y="1738327"/>
                </a:cubicBezTo>
                <a:cubicBezTo>
                  <a:pt x="645696" y="1747521"/>
                  <a:pt x="634975" y="1747521"/>
                  <a:pt x="598214" y="1738327"/>
                </a:cubicBezTo>
                <a:cubicBezTo>
                  <a:pt x="654886" y="1747521"/>
                  <a:pt x="759038" y="1756714"/>
                  <a:pt x="673266" y="1738327"/>
                </a:cubicBezTo>
                <a:cubicBezTo>
                  <a:pt x="664077" y="1729135"/>
                  <a:pt x="654886" y="1709217"/>
                  <a:pt x="625785" y="1700024"/>
                </a:cubicBezTo>
                <a:cubicBezTo>
                  <a:pt x="607405" y="1690831"/>
                  <a:pt x="578304" y="1700024"/>
                  <a:pt x="569114" y="1681639"/>
                </a:cubicBezTo>
                <a:cubicBezTo>
                  <a:pt x="578304" y="1690831"/>
                  <a:pt x="616594" y="1643334"/>
                  <a:pt x="607405" y="1643334"/>
                </a:cubicBezTo>
                <a:cubicBezTo>
                  <a:pt x="616594" y="1643334"/>
                  <a:pt x="645696" y="1634142"/>
                  <a:pt x="654886" y="1624949"/>
                </a:cubicBezTo>
                <a:cubicBezTo>
                  <a:pt x="749848" y="1577452"/>
                  <a:pt x="892293" y="1634142"/>
                  <a:pt x="1034736" y="1643334"/>
                </a:cubicBezTo>
                <a:cubicBezTo>
                  <a:pt x="1727044" y="1690831"/>
                  <a:pt x="2629188" y="1681639"/>
                  <a:pt x="3313836" y="1605030"/>
                </a:cubicBezTo>
                <a:cubicBezTo>
                  <a:pt x="3370507" y="1605030"/>
                  <a:pt x="3332216" y="1605030"/>
                  <a:pt x="3388887" y="1595838"/>
                </a:cubicBezTo>
                <a:cubicBezTo>
                  <a:pt x="3465469" y="1586645"/>
                  <a:pt x="3065709" y="1614224"/>
                  <a:pt x="2999847" y="1614224"/>
                </a:cubicBezTo>
                <a:cubicBezTo>
                  <a:pt x="2543415" y="1643334"/>
                  <a:pt x="2088514" y="1672445"/>
                  <a:pt x="1537119" y="1643334"/>
                </a:cubicBezTo>
                <a:cubicBezTo>
                  <a:pt x="1347193" y="1634142"/>
                  <a:pt x="1109787" y="1624949"/>
                  <a:pt x="939774" y="1595838"/>
                </a:cubicBezTo>
                <a:cubicBezTo>
                  <a:pt x="872381" y="1586645"/>
                  <a:pt x="806520" y="1577452"/>
                  <a:pt x="768229" y="1566727"/>
                </a:cubicBezTo>
                <a:cubicBezTo>
                  <a:pt x="768229" y="1566727"/>
                  <a:pt x="654886" y="1510038"/>
                  <a:pt x="654886" y="1491652"/>
                </a:cubicBezTo>
                <a:cubicBezTo>
                  <a:pt x="664077" y="1462541"/>
                  <a:pt x="958154" y="1510038"/>
                  <a:pt x="1014824" y="1519230"/>
                </a:cubicBezTo>
                <a:cubicBezTo>
                  <a:pt x="1509549" y="1566727"/>
                  <a:pt x="2088514" y="1548342"/>
                  <a:pt x="2610808" y="1529956"/>
                </a:cubicBezTo>
                <a:cubicBezTo>
                  <a:pt x="3483849" y="1491652"/>
                  <a:pt x="4300220" y="1376741"/>
                  <a:pt x="5079832" y="1254169"/>
                </a:cubicBezTo>
                <a:cubicBezTo>
                  <a:pt x="5383099" y="1206672"/>
                  <a:pt x="5697088" y="1168369"/>
                  <a:pt x="5991165" y="1111679"/>
                </a:cubicBezTo>
                <a:cubicBezTo>
                  <a:pt x="7139905" y="874196"/>
                  <a:pt x="8231974" y="541720"/>
                  <a:pt x="9362334" y="227629"/>
                </a:cubicBezTo>
                <a:cubicBezTo>
                  <a:pt x="9523157" y="180133"/>
                  <a:pt x="9769754" y="105057"/>
                  <a:pt x="9979590" y="46836"/>
                </a:cubicBezTo>
                <a:cubicBezTo>
                  <a:pt x="10045452" y="28450"/>
                  <a:pt x="10131223" y="10065"/>
                  <a:pt x="10083742" y="19257"/>
                </a:cubicBezTo>
                <a:cubicBezTo>
                  <a:pt x="10097526" y="14661"/>
                  <a:pt x="10116289" y="5085"/>
                  <a:pt x="10130458" y="1446"/>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4263399463"/>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01_Brush">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2" name="TextBox 1"/>
          <p:cNvSpPr txBox="1"/>
          <p:nvPr userDrawn="1"/>
        </p:nvSpPr>
        <p:spPr>
          <a:xfrm flipH="1">
            <a:off x="11511771" y="6389960"/>
            <a:ext cx="417102" cy="230832"/>
          </a:xfrm>
          <a:prstGeom prst="rect">
            <a:avLst/>
          </a:prstGeom>
          <a:noFill/>
        </p:spPr>
        <p:txBody>
          <a:bodyPr wrap="none" rtlCol="0">
            <a:spAutoFit/>
          </a:bodyPr>
          <a:lstStyle>
            <a:defPPr>
              <a:defRPr lang="en-US"/>
            </a:defPPr>
            <a:lvl1pPr lvl="0">
              <a:defRPr sz="1200" b="1" spc="20" baseline="0">
                <a:solidFill>
                  <a:schemeClr val="bg1"/>
                </a:solidFill>
                <a:latin typeface="Calibri" panose="020F0502020204030204" pitchFamily="34" charset="0"/>
                <a:cs typeface="Calibri" panose="020F0502020204030204" pitchFamily="34" charset="0"/>
              </a:defRPr>
            </a:lvl1pPr>
          </a:lstStyle>
          <a:p>
            <a:pPr lvl="0" algn="r"/>
            <a:fld id="{C7C71010-677A-489C-BB3F-CA8EBC4C3264}" type="slidenum">
              <a:rPr lang="id-ID" sz="900" b="0" smtClean="0">
                <a:latin typeface="Montserrat Semi Bold" panose="00000700000000000000" pitchFamily="50" charset="0"/>
              </a:rPr>
              <a:pPr lvl="0" algn="r"/>
              <a:t>‹Nr.›</a:t>
            </a:fld>
            <a:endParaRPr lang="id-ID" sz="900" b="0" dirty="0">
              <a:latin typeface="Montserrat Semi Bold" panose="00000700000000000000" pitchFamily="50" charset="0"/>
            </a:endParaRPr>
          </a:p>
        </p:txBody>
      </p:sp>
      <p:sp>
        <p:nvSpPr>
          <p:cNvPr id="3" name="TextBox 2"/>
          <p:cNvSpPr txBox="1"/>
          <p:nvPr userDrawn="1"/>
        </p:nvSpPr>
        <p:spPr>
          <a:xfrm rot="16200000">
            <a:off x="-1325269" y="1544475"/>
            <a:ext cx="3296825" cy="207877"/>
          </a:xfrm>
          <a:prstGeom prst="rect">
            <a:avLst/>
          </a:prstGeom>
          <a:noFill/>
        </p:spPr>
        <p:txBody>
          <a:bodyPr wrap="square" rtlCol="0">
            <a:spAutoFit/>
          </a:bodyPr>
          <a:lstStyle>
            <a:defPPr>
              <a:defRPr lang="en-US"/>
            </a:defPPr>
            <a:lvl1pPr>
              <a:defRPr sz="1000" spc="600">
                <a:latin typeface="Montserrat" panose="02000000000000000000" pitchFamily="2" charset="0"/>
                <a:cs typeface="Montserrat" panose="02000000000000000000" pitchFamily="2" charset="0"/>
              </a:defRPr>
            </a:lvl1pPr>
          </a:lstStyle>
          <a:p>
            <a:pPr algn="l"/>
            <a:r>
              <a:rPr lang="en-US" sz="751" dirty="0">
                <a:solidFill>
                  <a:srgbClr val="878787">
                    <a:lumMod val="60000"/>
                    <a:lumOff val="40000"/>
                  </a:srgbClr>
                </a:solidFill>
                <a:latin typeface="+mn-lt"/>
              </a:rPr>
              <a:t>WRITE SOMETHING</a:t>
            </a:r>
          </a:p>
        </p:txBody>
      </p:sp>
      <p:sp>
        <p:nvSpPr>
          <p:cNvPr id="9" name="Picture Placeholder 3"/>
          <p:cNvSpPr>
            <a:spLocks noGrp="1"/>
          </p:cNvSpPr>
          <p:nvPr>
            <p:ph type="pic" sz="quarter" idx="10"/>
          </p:nvPr>
        </p:nvSpPr>
        <p:spPr>
          <a:xfrm>
            <a:off x="775404" y="239645"/>
            <a:ext cx="11153469" cy="4214791"/>
          </a:xfrm>
          <a:custGeom>
            <a:avLst/>
            <a:gdLst>
              <a:gd name="connsiteX0" fmla="*/ 4309860 w 11349862"/>
              <a:gd name="connsiteY0" fmla="*/ 1703957 h 4289005"/>
              <a:gd name="connsiteX1" fmla="*/ 4373012 w 11349862"/>
              <a:gd name="connsiteY1" fmla="*/ 1721917 h 4289005"/>
              <a:gd name="connsiteX2" fmla="*/ 4373012 w 11349862"/>
              <a:gd name="connsiteY2" fmla="*/ 1721917 h 4289005"/>
              <a:gd name="connsiteX3" fmla="*/ 4309860 w 11349862"/>
              <a:gd name="connsiteY3" fmla="*/ 1703957 h 4289005"/>
              <a:gd name="connsiteX4" fmla="*/ 3841837 w 11349862"/>
              <a:gd name="connsiteY4" fmla="*/ 1165812 h 4289005"/>
              <a:gd name="connsiteX5" fmla="*/ 3864323 w 11349862"/>
              <a:gd name="connsiteY5" fmla="*/ 1177300 h 4289005"/>
              <a:gd name="connsiteX6" fmla="*/ 3841837 w 11349862"/>
              <a:gd name="connsiteY6" fmla="*/ 1165812 h 4289005"/>
              <a:gd name="connsiteX7" fmla="*/ 3820002 w 11349862"/>
              <a:gd name="connsiteY7" fmla="*/ 805012 h 4289005"/>
              <a:gd name="connsiteX8" fmla="*/ 3821642 w 11349862"/>
              <a:gd name="connsiteY8" fmla="*/ 805052 h 4289005"/>
              <a:gd name="connsiteX9" fmla="*/ 3809863 w 11349862"/>
              <a:gd name="connsiteY9" fmla="*/ 806497 h 4289005"/>
              <a:gd name="connsiteX10" fmla="*/ 3820002 w 11349862"/>
              <a:gd name="connsiteY10" fmla="*/ 805012 h 4289005"/>
              <a:gd name="connsiteX11" fmla="*/ 5348673 w 11349862"/>
              <a:gd name="connsiteY11" fmla="*/ 0 h 4289005"/>
              <a:gd name="connsiteX12" fmla="*/ 5459912 w 11349862"/>
              <a:gd name="connsiteY12" fmla="*/ 35922 h 4289005"/>
              <a:gd name="connsiteX13" fmla="*/ 5580422 w 11349862"/>
              <a:gd name="connsiteY13" fmla="*/ 63152 h 4289005"/>
              <a:gd name="connsiteX14" fmla="*/ 5643573 w 11349862"/>
              <a:gd name="connsiteY14" fmla="*/ 102550 h 4289005"/>
              <a:gd name="connsiteX15" fmla="*/ 5718312 w 11349862"/>
              <a:gd name="connsiteY15" fmla="*/ 111241 h 4289005"/>
              <a:gd name="connsiteX16" fmla="*/ 5968021 w 11349862"/>
              <a:gd name="connsiteY16" fmla="*/ 249713 h 4289005"/>
              <a:gd name="connsiteX17" fmla="*/ 6209040 w 11349862"/>
              <a:gd name="connsiteY17" fmla="*/ 397455 h 4289005"/>
              <a:gd name="connsiteX18" fmla="*/ 7545649 w 11349862"/>
              <a:gd name="connsiteY18" fmla="*/ 1203952 h 4289005"/>
              <a:gd name="connsiteX19" fmla="*/ 7867779 w 11349862"/>
              <a:gd name="connsiteY19" fmla="*/ 1324463 h 4289005"/>
              <a:gd name="connsiteX20" fmla="*/ 8063607 w 11349862"/>
              <a:gd name="connsiteY20" fmla="*/ 1378924 h 4289005"/>
              <a:gd name="connsiteX21" fmla="*/ 8490604 w 11349862"/>
              <a:gd name="connsiteY21" fmla="*/ 1444974 h 4289005"/>
              <a:gd name="connsiteX22" fmla="*/ 8554335 w 11349862"/>
              <a:gd name="connsiteY22" fmla="*/ 1462935 h 4289005"/>
              <a:gd name="connsiteX23" fmla="*/ 8545065 w 11349862"/>
              <a:gd name="connsiteY23" fmla="*/ 1480895 h 4289005"/>
              <a:gd name="connsiteX24" fmla="*/ 8888053 w 11349862"/>
              <a:gd name="connsiteY24" fmla="*/ 1528984 h 4289005"/>
              <a:gd name="connsiteX25" fmla="*/ 9093150 w 11349862"/>
              <a:gd name="connsiteY25" fmla="*/ 1574175 h 4289005"/>
              <a:gd name="connsiteX26" fmla="*/ 9186429 w 11349862"/>
              <a:gd name="connsiteY26" fmla="*/ 1583445 h 4289005"/>
              <a:gd name="connsiteX27" fmla="*/ 9164992 w 11349862"/>
              <a:gd name="connsiteY27" fmla="*/ 1592716 h 4289005"/>
              <a:gd name="connsiteX28" fmla="*/ 9147032 w 11349862"/>
              <a:gd name="connsiteY28" fmla="*/ 1592716 h 4289005"/>
              <a:gd name="connsiteX29" fmla="*/ 9164992 w 11349862"/>
              <a:gd name="connsiteY29" fmla="*/ 1592716 h 4289005"/>
              <a:gd name="connsiteX30" fmla="*/ 9189326 w 11349862"/>
              <a:gd name="connsiteY30" fmla="*/ 1619367 h 4289005"/>
              <a:gd name="connsiteX31" fmla="*/ 9168468 w 11349862"/>
              <a:gd name="connsiteY31" fmla="*/ 1610676 h 4289005"/>
              <a:gd name="connsiteX32" fmla="*/ 9189326 w 11349862"/>
              <a:gd name="connsiteY32" fmla="*/ 1619367 h 4289005"/>
              <a:gd name="connsiteX33" fmla="*/ 9463368 w 11349862"/>
              <a:gd name="connsiteY33" fmla="*/ 1640804 h 4289005"/>
              <a:gd name="connsiteX34" fmla="*/ 10225242 w 11349862"/>
              <a:gd name="connsiteY34" fmla="*/ 1631534 h 4289005"/>
              <a:gd name="connsiteX35" fmla="*/ 10288393 w 11349862"/>
              <a:gd name="connsiteY35" fmla="*/ 1640804 h 4289005"/>
              <a:gd name="connsiteX36" fmla="*/ 10231035 w 11349862"/>
              <a:gd name="connsiteY36" fmla="*/ 1664559 h 4289005"/>
              <a:gd name="connsiteX37" fmla="*/ 9881674 w 11349862"/>
              <a:gd name="connsiteY37" fmla="*/ 1676726 h 4289005"/>
              <a:gd name="connsiteX38" fmla="*/ 9324899 w 11349862"/>
              <a:gd name="connsiteY38" fmla="*/ 1667456 h 4289005"/>
              <a:gd name="connsiteX39" fmla="*/ 9156301 w 11349862"/>
              <a:gd name="connsiteY39" fmla="*/ 1658765 h 4289005"/>
              <a:gd name="connsiteX40" fmla="*/ 9204389 w 11349862"/>
              <a:gd name="connsiteY40" fmla="*/ 1685996 h 4289005"/>
              <a:gd name="connsiteX41" fmla="*/ 9427447 w 11349862"/>
              <a:gd name="connsiteY41" fmla="*/ 1703957 h 4289005"/>
              <a:gd name="connsiteX42" fmla="*/ 9583878 w 11349862"/>
              <a:gd name="connsiteY42" fmla="*/ 1712647 h 4289005"/>
              <a:gd name="connsiteX43" fmla="*/ 9824317 w 11349862"/>
              <a:gd name="connsiteY43" fmla="*/ 1721917 h 4289005"/>
              <a:gd name="connsiteX44" fmla="*/ 9962786 w 11349862"/>
              <a:gd name="connsiteY44" fmla="*/ 1734084 h 4289005"/>
              <a:gd name="connsiteX45" fmla="*/ 9619799 w 11349862"/>
              <a:gd name="connsiteY45" fmla="*/ 1734084 h 4289005"/>
              <a:gd name="connsiteX46" fmla="*/ 9601838 w 11349862"/>
              <a:gd name="connsiteY46" fmla="*/ 1752045 h 4289005"/>
              <a:gd name="connsiteX47" fmla="*/ 9463368 w 11349862"/>
              <a:gd name="connsiteY47" fmla="*/ 1770006 h 4289005"/>
              <a:gd name="connsiteX48" fmla="*/ 9388050 w 11349862"/>
              <a:gd name="connsiteY48" fmla="*/ 1797237 h 4289005"/>
              <a:gd name="connsiteX49" fmla="*/ 9297668 w 11349862"/>
              <a:gd name="connsiteY49" fmla="*/ 1797237 h 4289005"/>
              <a:gd name="connsiteX50" fmla="*/ 9288398 w 11349862"/>
              <a:gd name="connsiteY50" fmla="*/ 1833158 h 4289005"/>
              <a:gd name="connsiteX51" fmla="*/ 8936720 w 11349862"/>
              <a:gd name="connsiteY51" fmla="*/ 1815198 h 4289005"/>
              <a:gd name="connsiteX52" fmla="*/ 8861401 w 11349862"/>
              <a:gd name="connsiteY52" fmla="*/ 1833158 h 4289005"/>
              <a:gd name="connsiteX53" fmla="*/ 9147032 w 11349862"/>
              <a:gd name="connsiteY53" fmla="*/ 1872556 h 4289005"/>
              <a:gd name="connsiteX54" fmla="*/ 9388050 w 11349862"/>
              <a:gd name="connsiteY54" fmla="*/ 1890517 h 4289005"/>
              <a:gd name="connsiteX55" fmla="*/ 9240310 w 11349862"/>
              <a:gd name="connsiteY55" fmla="*/ 1908478 h 4289005"/>
              <a:gd name="connsiteX56" fmla="*/ 9156301 w 11349862"/>
              <a:gd name="connsiteY56" fmla="*/ 1935709 h 4289005"/>
              <a:gd name="connsiteX57" fmla="*/ 8945410 w 11349862"/>
              <a:gd name="connsiteY57" fmla="*/ 1926438 h 4289005"/>
              <a:gd name="connsiteX58" fmla="*/ 9213659 w 11349862"/>
              <a:gd name="connsiteY58" fmla="*/ 1953669 h 4289005"/>
              <a:gd name="connsiteX59" fmla="*/ 9704387 w 11349862"/>
              <a:gd name="connsiteY59" fmla="*/ 1983797 h 4289005"/>
              <a:gd name="connsiteX60" fmla="*/ 10456990 w 11349862"/>
              <a:gd name="connsiteY60" fmla="*/ 2001758 h 4289005"/>
              <a:gd name="connsiteX61" fmla="*/ 10613420 w 11349862"/>
              <a:gd name="connsiteY61" fmla="*/ 2001758 h 4289005"/>
              <a:gd name="connsiteX62" fmla="*/ 10502181 w 11349862"/>
              <a:gd name="connsiteY62" fmla="*/ 2019719 h 4289005"/>
              <a:gd name="connsiteX63" fmla="*/ 10002184 w 11349862"/>
              <a:gd name="connsiteY63" fmla="*/ 2056220 h 4289005"/>
              <a:gd name="connsiteX64" fmla="*/ 9944826 w 11349862"/>
              <a:gd name="connsiteY64" fmla="*/ 2056220 h 4289005"/>
              <a:gd name="connsiteX65" fmla="*/ 9863714 w 11349862"/>
              <a:gd name="connsiteY65" fmla="*/ 2056220 h 4289005"/>
              <a:gd name="connsiteX66" fmla="*/ 9944826 w 11349862"/>
              <a:gd name="connsiteY66" fmla="*/ 2056220 h 4289005"/>
              <a:gd name="connsiteX67" fmla="*/ 10002184 w 11349862"/>
              <a:gd name="connsiteY67" fmla="*/ 2056220 h 4289005"/>
              <a:gd name="connsiteX68" fmla="*/ 10149923 w 11349862"/>
              <a:gd name="connsiteY68" fmla="*/ 2056220 h 4289005"/>
              <a:gd name="connsiteX69" fmla="*/ 10538102 w 11349862"/>
              <a:gd name="connsiteY69" fmla="*/ 2046950 h 4289005"/>
              <a:gd name="connsiteX70" fmla="*/ 10817939 w 11349862"/>
              <a:gd name="connsiteY70" fmla="*/ 2028989 h 4289005"/>
              <a:gd name="connsiteX71" fmla="*/ 10697429 w 11349862"/>
              <a:gd name="connsiteY71" fmla="*/ 2056220 h 4289005"/>
              <a:gd name="connsiteX72" fmla="*/ 10817939 w 11349862"/>
              <a:gd name="connsiteY72" fmla="*/ 2086347 h 4289005"/>
              <a:gd name="connsiteX73" fmla="*/ 10724660 w 11349862"/>
              <a:gd name="connsiteY73" fmla="*/ 2104308 h 4289005"/>
              <a:gd name="connsiteX74" fmla="*/ 10706699 w 11349862"/>
              <a:gd name="connsiteY74" fmla="*/ 2122269 h 4289005"/>
              <a:gd name="connsiteX75" fmla="*/ 10372402 w 11349862"/>
              <a:gd name="connsiteY75" fmla="*/ 2157611 h 4289005"/>
              <a:gd name="connsiteX76" fmla="*/ 10372402 w 11349862"/>
              <a:gd name="connsiteY76" fmla="*/ 2157611 h 4289005"/>
              <a:gd name="connsiteX77" fmla="*/ 10492911 w 11349862"/>
              <a:gd name="connsiteY77" fmla="*/ 2157611 h 4289005"/>
              <a:gd name="connsiteX78" fmla="*/ 10324314 w 11349862"/>
              <a:gd name="connsiteY78" fmla="*/ 2197009 h 4289005"/>
              <a:gd name="connsiteX79" fmla="*/ 9984223 w 11349862"/>
              <a:gd name="connsiteY79" fmla="*/ 2214970 h 4289005"/>
              <a:gd name="connsiteX80" fmla="*/ 9583878 w 11349862"/>
              <a:gd name="connsiteY80" fmla="*/ 2224240 h 4289005"/>
              <a:gd name="connsiteX81" fmla="*/ 9743205 w 11349862"/>
              <a:gd name="connsiteY81" fmla="*/ 2242201 h 4289005"/>
              <a:gd name="connsiteX82" fmla="*/ 10520142 w 11349862"/>
              <a:gd name="connsiteY82" fmla="*/ 2242201 h 4289005"/>
              <a:gd name="connsiteX83" fmla="*/ 10827209 w 11349862"/>
              <a:gd name="connsiteY83" fmla="*/ 2232930 h 4289005"/>
              <a:gd name="connsiteX84" fmla="*/ 10679469 w 11349862"/>
              <a:gd name="connsiteY84" fmla="*/ 2260161 h 4289005"/>
              <a:gd name="connsiteX85" fmla="*/ 10799978 w 11349862"/>
              <a:gd name="connsiteY85" fmla="*/ 2260161 h 4289005"/>
              <a:gd name="connsiteX86" fmla="*/ 10779121 w 11349862"/>
              <a:gd name="connsiteY86" fmla="*/ 2287392 h 4289005"/>
              <a:gd name="connsiteX87" fmla="*/ 10827209 w 11349862"/>
              <a:gd name="connsiteY87" fmla="*/ 2287392 h 4289005"/>
              <a:gd name="connsiteX88" fmla="*/ 10706699 w 11349862"/>
              <a:gd name="connsiteY88" fmla="*/ 2326211 h 4289005"/>
              <a:gd name="connsiteX89" fmla="*/ 9908905 w 11349862"/>
              <a:gd name="connsiteY89" fmla="*/ 2389363 h 4289005"/>
              <a:gd name="connsiteX90" fmla="*/ 9520726 w 11349862"/>
              <a:gd name="connsiteY90" fmla="*/ 2389363 h 4289005"/>
              <a:gd name="connsiteX91" fmla="*/ 9743205 w 11349862"/>
              <a:gd name="connsiteY91" fmla="*/ 2398633 h 4289005"/>
              <a:gd name="connsiteX92" fmla="*/ 10047375 w 11349862"/>
              <a:gd name="connsiteY92" fmla="*/ 2407324 h 4289005"/>
              <a:gd name="connsiteX93" fmla="*/ 10667302 w 11349862"/>
              <a:gd name="connsiteY93" fmla="*/ 2416594 h 4289005"/>
              <a:gd name="connsiteX94" fmla="*/ 10809248 w 11349862"/>
              <a:gd name="connsiteY94" fmla="*/ 2398633 h 4289005"/>
              <a:gd name="connsiteX95" fmla="*/ 10706699 w 11349862"/>
              <a:gd name="connsiteY95" fmla="*/ 2425864 h 4289005"/>
              <a:gd name="connsiteX96" fmla="*/ 10465681 w 11349862"/>
              <a:gd name="connsiteY96" fmla="*/ 2464682 h 4289005"/>
              <a:gd name="connsiteX97" fmla="*/ 10381672 w 11349862"/>
              <a:gd name="connsiteY97" fmla="*/ 2491913 h 4289005"/>
              <a:gd name="connsiteX98" fmla="*/ 10827209 w 11349862"/>
              <a:gd name="connsiteY98" fmla="*/ 2464682 h 4289005"/>
              <a:gd name="connsiteX99" fmla="*/ 10920487 w 11349862"/>
              <a:gd name="connsiteY99" fmla="*/ 2482643 h 4289005"/>
              <a:gd name="connsiteX100" fmla="*/ 10799978 w 11349862"/>
              <a:gd name="connsiteY100" fmla="*/ 2509874 h 4289005"/>
              <a:gd name="connsiteX101" fmla="*/ 10095462 w 11349862"/>
              <a:gd name="connsiteY101" fmla="*/ 2575923 h 4289005"/>
              <a:gd name="connsiteX102" fmla="*/ 9872984 w 11349862"/>
              <a:gd name="connsiteY102" fmla="*/ 2603154 h 4289005"/>
              <a:gd name="connsiteX103" fmla="*/ 9722347 w 11349862"/>
              <a:gd name="connsiteY103" fmla="*/ 2603154 h 4289005"/>
              <a:gd name="connsiteX104" fmla="*/ 9917595 w 11349862"/>
              <a:gd name="connsiteY104" fmla="*/ 2612424 h 4289005"/>
              <a:gd name="connsiteX105" fmla="*/ 10131384 w 11349862"/>
              <a:gd name="connsiteY105" fmla="*/ 2612424 h 4289005"/>
              <a:gd name="connsiteX106" fmla="*/ 10104732 w 11349862"/>
              <a:gd name="connsiteY106" fmla="*/ 2648346 h 4289005"/>
              <a:gd name="connsiteX107" fmla="*/ 9649926 w 11349862"/>
              <a:gd name="connsiteY107" fmla="*/ 2669783 h 4289005"/>
              <a:gd name="connsiteX108" fmla="*/ 9204389 w 11349862"/>
              <a:gd name="connsiteY108" fmla="*/ 2657616 h 4289005"/>
              <a:gd name="connsiteX109" fmla="*/ 9111111 w 11349862"/>
              <a:gd name="connsiteY109" fmla="*/ 2648346 h 4289005"/>
              <a:gd name="connsiteX110" fmla="*/ 9195119 w 11349862"/>
              <a:gd name="connsiteY110" fmla="*/ 2669783 h 4289005"/>
              <a:gd name="connsiteX111" fmla="*/ 10074605 w 11349862"/>
              <a:gd name="connsiteY111" fmla="*/ 2678474 h 4289005"/>
              <a:gd name="connsiteX112" fmla="*/ 10465681 w 11349862"/>
              <a:gd name="connsiteY112" fmla="*/ 2678474 h 4289005"/>
              <a:gd name="connsiteX113" fmla="*/ 10631381 w 11349862"/>
              <a:gd name="connsiteY113" fmla="*/ 2657616 h 4289005"/>
              <a:gd name="connsiteX114" fmla="*/ 10667302 w 11349862"/>
              <a:gd name="connsiteY114" fmla="*/ 2687744 h 4289005"/>
              <a:gd name="connsiteX115" fmla="*/ 10751890 w 11349862"/>
              <a:gd name="connsiteY115" fmla="*/ 2687744 h 4289005"/>
              <a:gd name="connsiteX116" fmla="*/ 10724660 w 11349862"/>
              <a:gd name="connsiteY116" fmla="*/ 2705704 h 4289005"/>
              <a:gd name="connsiteX117" fmla="*/ 10787811 w 11349862"/>
              <a:gd name="connsiteY117" fmla="*/ 2741626 h 4289005"/>
              <a:gd name="connsiteX118" fmla="*/ 10899051 w 11349862"/>
              <a:gd name="connsiteY118" fmla="*/ 2732935 h 4289005"/>
              <a:gd name="connsiteX119" fmla="*/ 10938448 w 11349862"/>
              <a:gd name="connsiteY119" fmla="*/ 2750896 h 4289005"/>
              <a:gd name="connsiteX120" fmla="*/ 10983639 w 11349862"/>
              <a:gd name="connsiteY120" fmla="*/ 2768857 h 4289005"/>
              <a:gd name="connsiteX121" fmla="*/ 10929178 w 11349862"/>
              <a:gd name="connsiteY121" fmla="*/ 2768857 h 4289005"/>
              <a:gd name="connsiteX122" fmla="*/ 10817939 w 11349862"/>
              <a:gd name="connsiteY122" fmla="*/ 2808255 h 4289005"/>
              <a:gd name="connsiteX123" fmla="*/ 10715969 w 11349862"/>
              <a:gd name="connsiteY123" fmla="*/ 2844176 h 4289005"/>
              <a:gd name="connsiteX124" fmla="*/ 10751890 w 11349862"/>
              <a:gd name="connsiteY124" fmla="*/ 2852867 h 4289005"/>
              <a:gd name="connsiteX125" fmla="*/ 10390363 w 11349862"/>
              <a:gd name="connsiteY125" fmla="*/ 2901535 h 4289005"/>
              <a:gd name="connsiteX126" fmla="*/ 10520142 w 11349862"/>
              <a:gd name="connsiteY126" fmla="*/ 2901535 h 4289005"/>
              <a:gd name="connsiteX127" fmla="*/ 10538102 w 11349862"/>
              <a:gd name="connsiteY127" fmla="*/ 2919496 h 4289005"/>
              <a:gd name="connsiteX128" fmla="*/ 10853860 w 11349862"/>
              <a:gd name="connsiteY128" fmla="*/ 2901535 h 4289005"/>
              <a:gd name="connsiteX129" fmla="*/ 10799978 w 11349862"/>
              <a:gd name="connsiteY129" fmla="*/ 2910226 h 4289005"/>
              <a:gd name="connsiteX130" fmla="*/ 10465681 w 11349862"/>
              <a:gd name="connsiteY130" fmla="*/ 2955417 h 4289005"/>
              <a:gd name="connsiteX131" fmla="*/ 10586190 w 11349862"/>
              <a:gd name="connsiteY131" fmla="*/ 2973378 h 4289005"/>
              <a:gd name="connsiteX132" fmla="*/ 10706699 w 11349862"/>
              <a:gd name="connsiteY132" fmla="*/ 2973378 h 4289005"/>
              <a:gd name="connsiteX133" fmla="*/ 10845169 w 11349862"/>
              <a:gd name="connsiteY133" fmla="*/ 2982648 h 4289005"/>
              <a:gd name="connsiteX134" fmla="*/ 10306354 w 11349862"/>
              <a:gd name="connsiteY134" fmla="*/ 3075928 h 4289005"/>
              <a:gd name="connsiteX135" fmla="*/ 10083296 w 11349862"/>
              <a:gd name="connsiteY135" fmla="*/ 3093889 h 4289005"/>
              <a:gd name="connsiteX136" fmla="*/ 10077502 w 11349862"/>
              <a:gd name="connsiteY136" fmla="*/ 3121120 h 4289005"/>
              <a:gd name="connsiteX137" fmla="*/ 10056645 w 11349862"/>
              <a:gd name="connsiteY137" fmla="*/ 3111850 h 4289005"/>
              <a:gd name="connsiteX138" fmla="*/ 10077502 w 11349862"/>
              <a:gd name="connsiteY138" fmla="*/ 3121120 h 4289005"/>
              <a:gd name="connsiteX139" fmla="*/ 10269853 w 11349862"/>
              <a:gd name="connsiteY139" fmla="*/ 3111850 h 4289005"/>
              <a:gd name="connsiteX140" fmla="*/ 10528832 w 11349862"/>
              <a:gd name="connsiteY140" fmla="*/ 3093889 h 4289005"/>
              <a:gd name="connsiteX141" fmla="*/ 10899051 w 11349862"/>
              <a:gd name="connsiteY141" fmla="*/ 3075928 h 4289005"/>
              <a:gd name="connsiteX142" fmla="*/ 10779121 w 11349862"/>
              <a:gd name="connsiteY142" fmla="*/ 3111850 h 4289005"/>
              <a:gd name="connsiteX143" fmla="*/ 10483641 w 11349862"/>
              <a:gd name="connsiteY143" fmla="*/ 3151248 h 4289005"/>
              <a:gd name="connsiteX144" fmla="*/ 10327211 w 11349862"/>
              <a:gd name="connsiteY144" fmla="*/ 3159938 h 4289005"/>
              <a:gd name="connsiteX145" fmla="*/ 10408323 w 11349862"/>
              <a:gd name="connsiteY145" fmla="*/ 3187169 h 4289005"/>
              <a:gd name="connsiteX146" fmla="*/ 9917595 w 11349862"/>
              <a:gd name="connsiteY146" fmla="*/ 3214400 h 4289005"/>
              <a:gd name="connsiteX147" fmla="*/ 9863714 w 11349862"/>
              <a:gd name="connsiteY147" fmla="*/ 3232361 h 4289005"/>
              <a:gd name="connsiteX148" fmla="*/ 9556647 w 11349862"/>
              <a:gd name="connsiteY148" fmla="*/ 3241631 h 4289005"/>
              <a:gd name="connsiteX149" fmla="*/ 9704387 w 11349862"/>
              <a:gd name="connsiteY149" fmla="*/ 3253798 h 4289005"/>
              <a:gd name="connsiteX150" fmla="*/ 9872984 w 11349862"/>
              <a:gd name="connsiteY150" fmla="*/ 3262489 h 4289005"/>
              <a:gd name="connsiteX151" fmla="*/ 9704387 w 11349862"/>
              <a:gd name="connsiteY151" fmla="*/ 3262489 h 4289005"/>
              <a:gd name="connsiteX152" fmla="*/ 9418177 w 11349862"/>
              <a:gd name="connsiteY152" fmla="*/ 3271759 h 4289005"/>
              <a:gd name="connsiteX153" fmla="*/ 9685847 w 11349862"/>
              <a:gd name="connsiteY153" fmla="*/ 3280449 h 4289005"/>
              <a:gd name="connsiteX154" fmla="*/ 9596044 w 11349862"/>
              <a:gd name="connsiteY154" fmla="*/ 3289719 h 4289005"/>
              <a:gd name="connsiteX155" fmla="*/ 9788396 w 11349862"/>
              <a:gd name="connsiteY155" fmla="*/ 3298410 h 4289005"/>
              <a:gd name="connsiteX156" fmla="*/ 10113423 w 11349862"/>
              <a:gd name="connsiteY156" fmla="*/ 3307680 h 4289005"/>
              <a:gd name="connsiteX157" fmla="*/ 10604151 w 11349862"/>
              <a:gd name="connsiteY157" fmla="*/ 3277552 h 4289005"/>
              <a:gd name="connsiteX158" fmla="*/ 10576920 w 11349862"/>
              <a:gd name="connsiteY158" fmla="*/ 3298410 h 4289005"/>
              <a:gd name="connsiteX159" fmla="*/ 10465681 w 11349862"/>
              <a:gd name="connsiteY159" fmla="*/ 3334911 h 4289005"/>
              <a:gd name="connsiteX160" fmla="*/ 10640651 w 11349862"/>
              <a:gd name="connsiteY160" fmla="*/ 3352872 h 4289005"/>
              <a:gd name="connsiteX161" fmla="*/ 10576920 w 11349862"/>
              <a:gd name="connsiteY161" fmla="*/ 3365039 h 4289005"/>
              <a:gd name="connsiteX162" fmla="*/ 10502181 w 11349862"/>
              <a:gd name="connsiteY162" fmla="*/ 3383000 h 4289005"/>
              <a:gd name="connsiteX163" fmla="*/ 10751890 w 11349862"/>
              <a:gd name="connsiteY163" fmla="*/ 3352872 h 4289005"/>
              <a:gd name="connsiteX164" fmla="*/ 10947718 w 11349862"/>
              <a:gd name="connsiteY164" fmla="*/ 3343602 h 4289005"/>
              <a:gd name="connsiteX165" fmla="*/ 10794184 w 11349862"/>
              <a:gd name="connsiteY165" fmla="*/ 3383000 h 4289005"/>
              <a:gd name="connsiteX166" fmla="*/ 10817939 w 11349862"/>
              <a:gd name="connsiteY166" fmla="*/ 3391690 h 4289005"/>
              <a:gd name="connsiteX167" fmla="*/ 10742620 w 11349862"/>
              <a:gd name="connsiteY167" fmla="*/ 3400960 h 4289005"/>
              <a:gd name="connsiteX168" fmla="*/ 10742620 w 11349862"/>
              <a:gd name="connsiteY168" fmla="*/ 3400960 h 4289005"/>
              <a:gd name="connsiteX169" fmla="*/ 10658611 w 11349862"/>
              <a:gd name="connsiteY169" fmla="*/ 3410230 h 4289005"/>
              <a:gd name="connsiteX170" fmla="*/ 10595460 w 11349862"/>
              <a:gd name="connsiteY170" fmla="*/ 3428191 h 4289005"/>
              <a:gd name="connsiteX171" fmla="*/ 10853860 w 11349862"/>
              <a:gd name="connsiteY171" fmla="*/ 3400960 h 4289005"/>
              <a:gd name="connsiteX172" fmla="*/ 10983639 w 11349862"/>
              <a:gd name="connsiteY172" fmla="*/ 3418921 h 4289005"/>
              <a:gd name="connsiteX173" fmla="*/ 11122109 w 11349862"/>
              <a:gd name="connsiteY173" fmla="*/ 3418921 h 4289005"/>
              <a:gd name="connsiteX174" fmla="*/ 10799978 w 11349862"/>
              <a:gd name="connsiteY174" fmla="*/ 3473383 h 4289005"/>
              <a:gd name="connsiteX175" fmla="*/ 10399632 w 11349862"/>
              <a:gd name="connsiteY175" fmla="*/ 3512201 h 4289005"/>
              <a:gd name="connsiteX176" fmla="*/ 10381672 w 11349862"/>
              <a:gd name="connsiteY176" fmla="*/ 3530741 h 4289005"/>
              <a:gd name="connsiteX177" fmla="*/ 10225242 w 11349862"/>
              <a:gd name="connsiteY177" fmla="*/ 3548702 h 4289005"/>
              <a:gd name="connsiteX178" fmla="*/ 10261163 w 11349862"/>
              <a:gd name="connsiteY178" fmla="*/ 3557393 h 4289005"/>
              <a:gd name="connsiteX179" fmla="*/ 10547372 w 11349862"/>
              <a:gd name="connsiteY179" fmla="*/ 3548702 h 4289005"/>
              <a:gd name="connsiteX180" fmla="*/ 10604151 w 11349862"/>
              <a:gd name="connsiteY180" fmla="*/ 3530741 h 4289005"/>
              <a:gd name="connsiteX181" fmla="*/ 10586190 w 11349862"/>
              <a:gd name="connsiteY181" fmla="*/ 3557393 h 4289005"/>
              <a:gd name="connsiteX182" fmla="*/ 10751890 w 11349862"/>
              <a:gd name="connsiteY182" fmla="*/ 3548702 h 4289005"/>
              <a:gd name="connsiteX183" fmla="*/ 10920487 w 11349862"/>
              <a:gd name="connsiteY183" fmla="*/ 3530741 h 4289005"/>
              <a:gd name="connsiteX184" fmla="*/ 10706699 w 11349862"/>
              <a:gd name="connsiteY184" fmla="*/ 3557393 h 4289005"/>
              <a:gd name="connsiteX185" fmla="*/ 10528832 w 11349862"/>
              <a:gd name="connsiteY185" fmla="*/ 3596791 h 4289005"/>
              <a:gd name="connsiteX186" fmla="*/ 10938448 w 11349862"/>
              <a:gd name="connsiteY186" fmla="*/ 3548702 h 4289005"/>
              <a:gd name="connsiteX187" fmla="*/ 11224657 w 11349862"/>
              <a:gd name="connsiteY187" fmla="*/ 3530741 h 4289005"/>
              <a:gd name="connsiteX188" fmla="*/ 11242618 w 11349862"/>
              <a:gd name="connsiteY188" fmla="*/ 3548702 h 4289005"/>
              <a:gd name="connsiteX189" fmla="*/ 11290706 w 11349862"/>
              <a:gd name="connsiteY189" fmla="*/ 3548702 h 4289005"/>
              <a:gd name="connsiteX190" fmla="*/ 11104148 w 11349862"/>
              <a:gd name="connsiteY190" fmla="*/ 3584624 h 4289005"/>
              <a:gd name="connsiteX191" fmla="*/ 11188157 w 11349862"/>
              <a:gd name="connsiteY191" fmla="*/ 3584624 h 4289005"/>
              <a:gd name="connsiteX192" fmla="*/ 11206117 w 11349862"/>
              <a:gd name="connsiteY192" fmla="*/ 3605482 h 4289005"/>
              <a:gd name="connsiteX193" fmla="*/ 11251308 w 11349862"/>
              <a:gd name="connsiteY193" fmla="*/ 3623442 h 4289005"/>
              <a:gd name="connsiteX194" fmla="*/ 11058957 w 11349862"/>
              <a:gd name="connsiteY194" fmla="*/ 3650673 h 4289005"/>
              <a:gd name="connsiteX195" fmla="*/ 11001599 w 11349862"/>
              <a:gd name="connsiteY195" fmla="*/ 3677904 h 4289005"/>
              <a:gd name="connsiteX196" fmla="*/ 10715969 w 11349862"/>
              <a:gd name="connsiteY196" fmla="*/ 3717302 h 4289005"/>
              <a:gd name="connsiteX197" fmla="*/ 10408323 w 11349862"/>
              <a:gd name="connsiteY197" fmla="*/ 3743953 h 4289005"/>
              <a:gd name="connsiteX198" fmla="*/ 10502181 w 11349862"/>
              <a:gd name="connsiteY198" fmla="*/ 3753223 h 4289005"/>
              <a:gd name="connsiteX199" fmla="*/ 11233348 w 11349862"/>
              <a:gd name="connsiteY199" fmla="*/ 3677904 h 4289005"/>
              <a:gd name="connsiteX200" fmla="*/ 11335897 w 11349862"/>
              <a:gd name="connsiteY200" fmla="*/ 3687174 h 4289005"/>
              <a:gd name="connsiteX201" fmla="*/ 11272745 w 11349862"/>
              <a:gd name="connsiteY201" fmla="*/ 3705135 h 4289005"/>
              <a:gd name="connsiteX202" fmla="*/ 10327211 w 11349862"/>
              <a:gd name="connsiteY202" fmla="*/ 3825646 h 4289005"/>
              <a:gd name="connsiteX203" fmla="*/ 10547372 w 11349862"/>
              <a:gd name="connsiteY203" fmla="*/ 3816376 h 4289005"/>
              <a:gd name="connsiteX204" fmla="*/ 10520142 w 11349862"/>
              <a:gd name="connsiteY204" fmla="*/ 3825646 h 4289005"/>
              <a:gd name="connsiteX205" fmla="*/ 10613420 w 11349862"/>
              <a:gd name="connsiteY205" fmla="*/ 3837233 h 4289005"/>
              <a:gd name="connsiteX206" fmla="*/ 10827209 w 11349862"/>
              <a:gd name="connsiteY206" fmla="*/ 3837233 h 4289005"/>
              <a:gd name="connsiteX207" fmla="*/ 10817939 w 11349862"/>
              <a:gd name="connsiteY207" fmla="*/ 3846504 h 4289005"/>
              <a:gd name="connsiteX208" fmla="*/ 10315044 w 11349862"/>
              <a:gd name="connsiteY208" fmla="*/ 3900386 h 4289005"/>
              <a:gd name="connsiteX209" fmla="*/ 10456990 w 11349862"/>
              <a:gd name="connsiteY209" fmla="*/ 3909656 h 4289005"/>
              <a:gd name="connsiteX210" fmla="*/ 10688739 w 11349862"/>
              <a:gd name="connsiteY210" fmla="*/ 3900386 h 4289005"/>
              <a:gd name="connsiteX211" fmla="*/ 10706699 w 11349862"/>
              <a:gd name="connsiteY211" fmla="*/ 3909656 h 4289005"/>
              <a:gd name="connsiteX212" fmla="*/ 10595460 w 11349862"/>
              <a:gd name="connsiteY212" fmla="*/ 3936887 h 4289005"/>
              <a:gd name="connsiteX213" fmla="*/ 10827209 w 11349862"/>
              <a:gd name="connsiteY213" fmla="*/ 3909656 h 4289005"/>
              <a:gd name="connsiteX214" fmla="*/ 11001599 w 11349862"/>
              <a:gd name="connsiteY214" fmla="*/ 3900386 h 4289005"/>
              <a:gd name="connsiteX215" fmla="*/ 10938448 w 11349862"/>
              <a:gd name="connsiteY215" fmla="*/ 3918926 h 4289005"/>
              <a:gd name="connsiteX216" fmla="*/ 11001599 w 11349862"/>
              <a:gd name="connsiteY216" fmla="*/ 3927617 h 4289005"/>
              <a:gd name="connsiteX217" fmla="*/ 11188157 w 11349862"/>
              <a:gd name="connsiteY217" fmla="*/ 3936887 h 4289005"/>
              <a:gd name="connsiteX218" fmla="*/ 11345167 w 11349862"/>
              <a:gd name="connsiteY218" fmla="*/ 3936887 h 4289005"/>
              <a:gd name="connsiteX219" fmla="*/ 11290706 w 11349862"/>
              <a:gd name="connsiteY219" fmla="*/ 3967015 h 4289005"/>
              <a:gd name="connsiteX220" fmla="*/ 11233348 w 11349862"/>
              <a:gd name="connsiteY220" fmla="*/ 4002936 h 4289005"/>
              <a:gd name="connsiteX221" fmla="*/ 10845169 w 11349862"/>
              <a:gd name="connsiteY221" fmla="*/ 4057398 h 4289005"/>
              <a:gd name="connsiteX222" fmla="*/ 10465681 w 11349862"/>
              <a:gd name="connsiteY222" fmla="*/ 4123447 h 4289005"/>
              <a:gd name="connsiteX223" fmla="*/ 8999871 w 11349862"/>
              <a:gd name="connsiteY223" fmla="*/ 4141408 h 4289005"/>
              <a:gd name="connsiteX224" fmla="*/ 8647613 w 11349862"/>
              <a:gd name="connsiteY224" fmla="*/ 4141408 h 4289005"/>
              <a:gd name="connsiteX225" fmla="*/ 8295355 w 11349862"/>
              <a:gd name="connsiteY225" fmla="*/ 4096216 h 4289005"/>
              <a:gd name="connsiteX226" fmla="*/ 8081567 w 11349862"/>
              <a:gd name="connsiteY226" fmla="*/ 4087526 h 4289005"/>
              <a:gd name="connsiteX227" fmla="*/ 8081567 w 11349862"/>
              <a:gd name="connsiteY227" fmla="*/ 4087526 h 4289005"/>
              <a:gd name="connsiteX228" fmla="*/ 8286085 w 11349862"/>
              <a:gd name="connsiteY228" fmla="*/ 4114177 h 4289005"/>
              <a:gd name="connsiteX229" fmla="*/ 8433825 w 11349862"/>
              <a:gd name="connsiteY229" fmla="*/ 4150678 h 4289005"/>
              <a:gd name="connsiteX230" fmla="*/ 8295355 w 11349862"/>
              <a:gd name="connsiteY230" fmla="*/ 4132717 h 4289005"/>
              <a:gd name="connsiteX231" fmla="*/ 8240895 w 11349862"/>
              <a:gd name="connsiteY231" fmla="*/ 4123447 h 4289005"/>
              <a:gd name="connsiteX232" fmla="*/ 8183537 w 11349862"/>
              <a:gd name="connsiteY232" fmla="*/ 4114177 h 4289005"/>
              <a:gd name="connsiteX233" fmla="*/ 8129655 w 11349862"/>
              <a:gd name="connsiteY233" fmla="*/ 4105486 h 4289005"/>
              <a:gd name="connsiteX234" fmla="*/ 8129655 w 11349862"/>
              <a:gd name="connsiteY234" fmla="*/ 4105486 h 4289005"/>
              <a:gd name="connsiteX235" fmla="*/ 8183537 w 11349862"/>
              <a:gd name="connsiteY235" fmla="*/ 4114177 h 4289005"/>
              <a:gd name="connsiteX236" fmla="*/ 8240895 w 11349862"/>
              <a:gd name="connsiteY236" fmla="*/ 4123447 h 4289005"/>
              <a:gd name="connsiteX237" fmla="*/ 8295355 w 11349862"/>
              <a:gd name="connsiteY237" fmla="*/ 4132717 h 4289005"/>
              <a:gd name="connsiteX238" fmla="*/ 8740892 w 11349862"/>
              <a:gd name="connsiteY238" fmla="*/ 4208037 h 4289005"/>
              <a:gd name="connsiteX239" fmla="*/ 9890944 w 11349862"/>
              <a:gd name="connsiteY239" fmla="*/ 4243958 h 4289005"/>
              <a:gd name="connsiteX240" fmla="*/ 10140653 w 11349862"/>
              <a:gd name="connsiteY240" fmla="*/ 4252649 h 4289005"/>
              <a:gd name="connsiteX241" fmla="*/ 10185844 w 11349862"/>
              <a:gd name="connsiteY241" fmla="*/ 4234688 h 4289005"/>
              <a:gd name="connsiteX242" fmla="*/ 10354441 w 11349862"/>
              <a:gd name="connsiteY242" fmla="*/ 4261919 h 4289005"/>
              <a:gd name="connsiteX243" fmla="*/ 10158614 w 11349862"/>
              <a:gd name="connsiteY243" fmla="*/ 4279880 h 4289005"/>
              <a:gd name="connsiteX244" fmla="*/ 9213659 w 11349862"/>
              <a:gd name="connsiteY244" fmla="*/ 4279880 h 4289005"/>
              <a:gd name="connsiteX245" fmla="*/ 8111695 w 11349862"/>
              <a:gd name="connsiteY245" fmla="*/ 4198767 h 4289005"/>
              <a:gd name="connsiteX246" fmla="*/ 7674849 w 11349862"/>
              <a:gd name="connsiteY246" fmla="*/ 4105486 h 4289005"/>
              <a:gd name="connsiteX247" fmla="*/ 6961643 w 11349862"/>
              <a:gd name="connsiteY247" fmla="*/ 3837233 h 4289005"/>
              <a:gd name="connsiteX248" fmla="*/ 7006834 w 11349862"/>
              <a:gd name="connsiteY248" fmla="*/ 3882425 h 4289005"/>
              <a:gd name="connsiteX249" fmla="*/ 7879947 w 11349862"/>
              <a:gd name="connsiteY249" fmla="*/ 4189496 h 4289005"/>
              <a:gd name="connsiteX250" fmla="*/ 7711349 w 11349862"/>
              <a:gd name="connsiteY250" fmla="*/ 4168639 h 4289005"/>
              <a:gd name="connsiteX251" fmla="*/ 6569988 w 11349862"/>
              <a:gd name="connsiteY251" fmla="*/ 3687174 h 4289005"/>
              <a:gd name="connsiteX252" fmla="*/ 5736272 w 11349862"/>
              <a:gd name="connsiteY252" fmla="*/ 3133287 h 4289005"/>
              <a:gd name="connsiteX253" fmla="*/ 5441952 w 11349862"/>
              <a:gd name="connsiteY253" fmla="*/ 2955417 h 4289005"/>
              <a:gd name="connsiteX254" fmla="*/ 5254815 w 11349862"/>
              <a:gd name="connsiteY254" fmla="*/ 2910226 h 4289005"/>
              <a:gd name="connsiteX255" fmla="*/ 5023066 w 11349862"/>
              <a:gd name="connsiteY255" fmla="*/ 2789715 h 4289005"/>
              <a:gd name="connsiteX256" fmla="*/ 4261772 w 11349862"/>
              <a:gd name="connsiteY256" fmla="*/ 2527835 h 4289005"/>
              <a:gd name="connsiteX257" fmla="*/ 4234542 w 11349862"/>
              <a:gd name="connsiteY257" fmla="*/ 2537105 h 4289005"/>
              <a:gd name="connsiteX258" fmla="*/ 4258296 w 11349862"/>
              <a:gd name="connsiteY258" fmla="*/ 2527835 h 4289005"/>
              <a:gd name="connsiteX259" fmla="*/ 4225272 w 11349862"/>
              <a:gd name="connsiteY259" fmla="*/ 2519144 h 4289005"/>
              <a:gd name="connsiteX260" fmla="*/ 4189351 w 11349862"/>
              <a:gd name="connsiteY260" fmla="*/ 2509874 h 4289005"/>
              <a:gd name="connsiteX261" fmla="*/ 4189351 w 11349862"/>
              <a:gd name="connsiteY261" fmla="*/ 2509874 h 4289005"/>
              <a:gd name="connsiteX262" fmla="*/ 4189351 w 11349862"/>
              <a:gd name="connsiteY262" fmla="*/ 2519144 h 4289005"/>
              <a:gd name="connsiteX263" fmla="*/ 4114033 w 11349862"/>
              <a:gd name="connsiteY263" fmla="*/ 2501183 h 4289005"/>
              <a:gd name="connsiteX264" fmla="*/ 4114033 w 11349862"/>
              <a:gd name="connsiteY264" fmla="*/ 2501183 h 4289005"/>
              <a:gd name="connsiteX265" fmla="*/ 4068842 w 11349862"/>
              <a:gd name="connsiteY265" fmla="*/ 2482643 h 4289005"/>
              <a:gd name="connsiteX266" fmla="*/ 4020754 w 11349862"/>
              <a:gd name="connsiteY266" fmla="*/ 2473952 h 4289005"/>
              <a:gd name="connsiteX267" fmla="*/ 3984833 w 11349862"/>
              <a:gd name="connsiteY267" fmla="*/ 2471056 h 4289005"/>
              <a:gd name="connsiteX268" fmla="*/ 3364326 w 11349862"/>
              <a:gd name="connsiteY268" fmla="*/ 2389363 h 4289005"/>
              <a:gd name="connsiteX269" fmla="*/ 2918789 w 11349862"/>
              <a:gd name="connsiteY269" fmla="*/ 2371402 h 4289005"/>
              <a:gd name="connsiteX270" fmla="*/ 2130265 w 11349862"/>
              <a:gd name="connsiteY270" fmla="*/ 2344171 h 4289005"/>
              <a:gd name="connsiteX271" fmla="*/ 516716 w 11349862"/>
              <a:gd name="connsiteY271" fmla="*/ 2567233 h 4289005"/>
              <a:gd name="connsiteX272" fmla="*/ 230506 w 11349862"/>
              <a:gd name="connsiteY272" fmla="*/ 2669783 h 4289005"/>
              <a:gd name="connsiteX273" fmla="*/ 194585 w 11349862"/>
              <a:gd name="connsiteY273" fmla="*/ 2621115 h 4289005"/>
              <a:gd name="connsiteX274" fmla="*/ 127958 w 11349862"/>
              <a:gd name="connsiteY274" fmla="*/ 2630385 h 4289005"/>
              <a:gd name="connsiteX275" fmla="*/ 25988 w 11349862"/>
              <a:gd name="connsiteY275" fmla="*/ 2585193 h 4289005"/>
              <a:gd name="connsiteX276" fmla="*/ 109997 w 11349862"/>
              <a:gd name="connsiteY276" fmla="*/ 2527835 h 4289005"/>
              <a:gd name="connsiteX277" fmla="*/ 34679 w 11349862"/>
              <a:gd name="connsiteY277" fmla="*/ 2473952 h 4289005"/>
              <a:gd name="connsiteX278" fmla="*/ 155188 w 11349862"/>
              <a:gd name="connsiteY278" fmla="*/ 2425864 h 4289005"/>
              <a:gd name="connsiteX279" fmla="*/ 82767 w 11349862"/>
              <a:gd name="connsiteY279" fmla="*/ 2438031 h 4289005"/>
              <a:gd name="connsiteX280" fmla="*/ 109997 w 11349862"/>
              <a:gd name="connsiteY280" fmla="*/ 2407324 h 4289005"/>
              <a:gd name="connsiteX281" fmla="*/ 145918 w 11349862"/>
              <a:gd name="connsiteY281" fmla="*/ 2395736 h 4289005"/>
              <a:gd name="connsiteX282" fmla="*/ 100727 w 11349862"/>
              <a:gd name="connsiteY282" fmla="*/ 2389363 h 4289005"/>
              <a:gd name="connsiteX283" fmla="*/ 164458 w 11349862"/>
              <a:gd name="connsiteY283" fmla="*/ 2287392 h 4289005"/>
              <a:gd name="connsiteX284" fmla="*/ 92036 w 11349862"/>
              <a:gd name="connsiteY284" fmla="*/ 2260161 h 4289005"/>
              <a:gd name="connsiteX285" fmla="*/ 191109 w 11349862"/>
              <a:gd name="connsiteY285" fmla="*/ 2187739 h 4289005"/>
              <a:gd name="connsiteX286" fmla="*/ 212546 w 11349862"/>
              <a:gd name="connsiteY286" fmla="*/ 2154714 h 4289005"/>
              <a:gd name="connsiteX287" fmla="*/ 194585 w 11349862"/>
              <a:gd name="connsiteY287" fmla="*/ 2122269 h 4289005"/>
              <a:gd name="connsiteX288" fmla="*/ 230506 w 11349862"/>
              <a:gd name="connsiteY288" fmla="*/ 2122269 h 4289005"/>
              <a:gd name="connsiteX289" fmla="*/ 212546 w 11349862"/>
              <a:gd name="connsiteY289" fmla="*/ 2074180 h 4289005"/>
              <a:gd name="connsiteX290" fmla="*/ 293658 w 11349862"/>
              <a:gd name="connsiteY290" fmla="*/ 2019719 h 4289005"/>
              <a:gd name="connsiteX291" fmla="*/ 323785 w 11349862"/>
              <a:gd name="connsiteY291" fmla="*/ 2001758 h 4289005"/>
              <a:gd name="connsiteX292" fmla="*/ 284388 w 11349862"/>
              <a:gd name="connsiteY292" fmla="*/ 2001758 h 4289005"/>
              <a:gd name="connsiteX293" fmla="*/ 212546 w 11349862"/>
              <a:gd name="connsiteY293" fmla="*/ 1953669 h 4289005"/>
              <a:gd name="connsiteX294" fmla="*/ 323785 w 11349862"/>
              <a:gd name="connsiteY294" fmla="*/ 1935709 h 4289005"/>
              <a:gd name="connsiteX295" fmla="*/ 257737 w 11349862"/>
              <a:gd name="connsiteY295" fmla="*/ 1926438 h 4289005"/>
              <a:gd name="connsiteX296" fmla="*/ 257737 w 11349862"/>
              <a:gd name="connsiteY296" fmla="*/ 1890517 h 4289005"/>
              <a:gd name="connsiteX297" fmla="*/ 555534 w 11349862"/>
              <a:gd name="connsiteY297" fmla="*/ 1712647 h 4289005"/>
              <a:gd name="connsiteX298" fmla="*/ 1612307 w 11349862"/>
              <a:gd name="connsiteY298" fmla="*/ 1538254 h 4289005"/>
              <a:gd name="connsiteX299" fmla="*/ 4156327 w 11349862"/>
              <a:gd name="connsiteY299" fmla="*/ 1667456 h 4289005"/>
              <a:gd name="connsiteX300" fmla="*/ 2641850 w 11349862"/>
              <a:gd name="connsiteY300" fmla="*/ 1444974 h 4289005"/>
              <a:gd name="connsiteX301" fmla="*/ 2148226 w 11349862"/>
              <a:gd name="connsiteY301" fmla="*/ 1444974 h 4289005"/>
              <a:gd name="connsiteX302" fmla="*/ 1991795 w 11349862"/>
              <a:gd name="connsiteY302" fmla="*/ 1444974 h 4289005"/>
              <a:gd name="connsiteX303" fmla="*/ 2491214 w 11349862"/>
              <a:gd name="connsiteY303" fmla="*/ 1417743 h 4289005"/>
              <a:gd name="connsiteX304" fmla="*/ 2593762 w 11349862"/>
              <a:gd name="connsiteY304" fmla="*/ 1399782 h 4289005"/>
              <a:gd name="connsiteX305" fmla="*/ 2057843 w 11349862"/>
              <a:gd name="connsiteY305" fmla="*/ 1417743 h 4289005"/>
              <a:gd name="connsiteX306" fmla="*/ 1509758 w 11349862"/>
              <a:gd name="connsiteY306" fmla="*/ 1444974 h 4289005"/>
              <a:gd name="connsiteX307" fmla="*/ 627955 w 11349862"/>
              <a:gd name="connsiteY307" fmla="*/ 1610676 h 4289005"/>
              <a:gd name="connsiteX308" fmla="*/ 480215 w 11349862"/>
              <a:gd name="connsiteY308" fmla="*/ 1640804 h 4289005"/>
              <a:gd name="connsiteX309" fmla="*/ 660979 w 11349862"/>
              <a:gd name="connsiteY309" fmla="*/ 1586342 h 4289005"/>
              <a:gd name="connsiteX310" fmla="*/ 917061 w 11349862"/>
              <a:gd name="connsiteY310" fmla="*/ 1520293 h 4289005"/>
              <a:gd name="connsiteX311" fmla="*/ 1473837 w 11349862"/>
              <a:gd name="connsiteY311" fmla="*/ 1435704 h 4289005"/>
              <a:gd name="connsiteX312" fmla="*/ 2852741 w 11349862"/>
              <a:gd name="connsiteY312" fmla="*/ 1369654 h 4289005"/>
              <a:gd name="connsiteX313" fmla="*/ 3012068 w 11349862"/>
              <a:gd name="connsiteY313" fmla="*/ 1360384 h 4289005"/>
              <a:gd name="connsiteX314" fmla="*/ 2632580 w 11349862"/>
              <a:gd name="connsiteY314" fmla="*/ 1333733 h 4289005"/>
              <a:gd name="connsiteX315" fmla="*/ 2491214 w 11349862"/>
              <a:gd name="connsiteY315" fmla="*/ 1324463 h 4289005"/>
              <a:gd name="connsiteX316" fmla="*/ 3159808 w 11349862"/>
              <a:gd name="connsiteY316" fmla="*/ 1342424 h 4289005"/>
              <a:gd name="connsiteX317" fmla="*/ 5321443 w 11349862"/>
              <a:gd name="connsiteY317" fmla="*/ 1881247 h 4289005"/>
              <a:gd name="connsiteX318" fmla="*/ 5339403 w 11349862"/>
              <a:gd name="connsiteY318" fmla="*/ 1890517 h 4289005"/>
              <a:gd name="connsiteX319" fmla="*/ 5339403 w 11349862"/>
              <a:gd name="connsiteY319" fmla="*/ 1890517 h 4289005"/>
              <a:gd name="connsiteX320" fmla="*/ 5321443 w 11349862"/>
              <a:gd name="connsiteY320" fmla="*/ 1881247 h 4289005"/>
              <a:gd name="connsiteX321" fmla="*/ 3909514 w 11349862"/>
              <a:gd name="connsiteY321" fmla="*/ 1409052 h 4289005"/>
              <a:gd name="connsiteX322" fmla="*/ 3734544 w 11349862"/>
              <a:gd name="connsiteY322" fmla="*/ 1369654 h 4289005"/>
              <a:gd name="connsiteX323" fmla="*/ 3752505 w 11349862"/>
              <a:gd name="connsiteY323" fmla="*/ 1342424 h 4289005"/>
              <a:gd name="connsiteX324" fmla="*/ 3572320 w 11349862"/>
              <a:gd name="connsiteY324" fmla="*/ 1315772 h 4289005"/>
              <a:gd name="connsiteX325" fmla="*/ 3466875 w 11349862"/>
              <a:gd name="connsiteY325" fmla="*/ 1294335 h 4289005"/>
              <a:gd name="connsiteX326" fmla="*/ 3557257 w 11349862"/>
              <a:gd name="connsiteY326" fmla="*/ 1288541 h 4289005"/>
              <a:gd name="connsiteX327" fmla="*/ 3975563 w 11349862"/>
              <a:gd name="connsiteY327" fmla="*/ 1342424 h 4289005"/>
              <a:gd name="connsiteX328" fmla="*/ 5077527 w 11349862"/>
              <a:gd name="connsiteY328" fmla="*/ 1658765 h 4289005"/>
              <a:gd name="connsiteX329" fmla="*/ 5077527 w 11349862"/>
              <a:gd name="connsiteY329" fmla="*/ 1658765 h 4289005"/>
              <a:gd name="connsiteX330" fmla="*/ 4836509 w 11349862"/>
              <a:gd name="connsiteY330" fmla="*/ 1547524 h 4289005"/>
              <a:gd name="connsiteX331" fmla="*/ 3698623 w 11349862"/>
              <a:gd name="connsiteY331" fmla="*/ 1249143 h 4289005"/>
              <a:gd name="connsiteX332" fmla="*/ 4153430 w 11349862"/>
              <a:gd name="connsiteY332" fmla="*/ 1315772 h 4289005"/>
              <a:gd name="connsiteX333" fmla="*/ 4273939 w 11349862"/>
              <a:gd name="connsiteY333" fmla="*/ 1333733 h 4289005"/>
              <a:gd name="connsiteX334" fmla="*/ 4162120 w 11349862"/>
              <a:gd name="connsiteY334" fmla="*/ 1306502 h 4289005"/>
              <a:gd name="connsiteX335" fmla="*/ 3957602 w 11349862"/>
              <a:gd name="connsiteY335" fmla="*/ 1258413 h 4289005"/>
              <a:gd name="connsiteX336" fmla="*/ 4078111 w 11349862"/>
              <a:gd name="connsiteY336" fmla="*/ 1231183 h 4289005"/>
              <a:gd name="connsiteX337" fmla="*/ 3864323 w 11349862"/>
              <a:gd name="connsiteY337" fmla="*/ 1177300 h 4289005"/>
              <a:gd name="connsiteX338" fmla="*/ 4725269 w 11349862"/>
              <a:gd name="connsiteY338" fmla="*/ 1369654 h 4289005"/>
              <a:gd name="connsiteX339" fmla="*/ 4725269 w 11349862"/>
              <a:gd name="connsiteY339" fmla="*/ 1369654 h 4289005"/>
              <a:gd name="connsiteX340" fmla="*/ 4002793 w 11349862"/>
              <a:gd name="connsiteY340" fmla="*/ 1168030 h 4289005"/>
              <a:gd name="connsiteX341" fmla="*/ 3614615 w 11349862"/>
              <a:gd name="connsiteY341" fmla="*/ 1092711 h 4289005"/>
              <a:gd name="connsiteX342" fmla="*/ 3204999 w 11349862"/>
              <a:gd name="connsiteY342" fmla="*/ 1026661 h 4289005"/>
              <a:gd name="connsiteX343" fmla="*/ 3243817 w 11349862"/>
              <a:gd name="connsiteY343" fmla="*/ 1008701 h 4289005"/>
              <a:gd name="connsiteX344" fmla="*/ 3409517 w 11349862"/>
              <a:gd name="connsiteY344" fmla="*/ 1017391 h 4289005"/>
              <a:gd name="connsiteX345" fmla="*/ 3984833 w 11349862"/>
              <a:gd name="connsiteY345" fmla="*/ 1074750 h 4289005"/>
              <a:gd name="connsiteX346" fmla="*/ 4105342 w 11349862"/>
              <a:gd name="connsiteY346" fmla="*/ 1083441 h 4289005"/>
              <a:gd name="connsiteX347" fmla="*/ 3957602 w 11349862"/>
              <a:gd name="connsiteY347" fmla="*/ 1047519 h 4289005"/>
              <a:gd name="connsiteX348" fmla="*/ 4131994 w 11349862"/>
              <a:gd name="connsiteY348" fmla="*/ 1047519 h 4289005"/>
              <a:gd name="connsiteX349" fmla="*/ 4318551 w 11349862"/>
              <a:gd name="connsiteY349" fmla="*/ 1074750 h 4289005"/>
              <a:gd name="connsiteX350" fmla="*/ 3909514 w 11349862"/>
              <a:gd name="connsiteY350" fmla="*/ 972200 h 4289005"/>
              <a:gd name="connsiteX351" fmla="*/ 3984833 w 11349862"/>
              <a:gd name="connsiteY351" fmla="*/ 954239 h 4289005"/>
              <a:gd name="connsiteX352" fmla="*/ 4282630 w 11349862"/>
              <a:gd name="connsiteY352" fmla="*/ 990160 h 4289005"/>
              <a:gd name="connsiteX353" fmla="*/ 4403139 w 11349862"/>
              <a:gd name="connsiteY353" fmla="*/ 1008701 h 4289005"/>
              <a:gd name="connsiteX354" fmla="*/ 4261772 w 11349862"/>
              <a:gd name="connsiteY354" fmla="*/ 972200 h 4289005"/>
              <a:gd name="connsiteX355" fmla="*/ 4030024 w 11349862"/>
              <a:gd name="connsiteY355" fmla="*/ 896880 h 4289005"/>
              <a:gd name="connsiteX356" fmla="*/ 3771045 w 11349862"/>
              <a:gd name="connsiteY356" fmla="*/ 851689 h 4289005"/>
              <a:gd name="connsiteX357" fmla="*/ 3864323 w 11349862"/>
              <a:gd name="connsiteY357" fmla="*/ 815767 h 4289005"/>
              <a:gd name="connsiteX358" fmla="*/ 3839266 w 11349862"/>
              <a:gd name="connsiteY358" fmla="*/ 805483 h 4289005"/>
              <a:gd name="connsiteX359" fmla="*/ 3821642 w 11349862"/>
              <a:gd name="connsiteY359" fmla="*/ 805052 h 4289005"/>
              <a:gd name="connsiteX360" fmla="*/ 3848545 w 11349862"/>
              <a:gd name="connsiteY360" fmla="*/ 801753 h 4289005"/>
              <a:gd name="connsiteX361" fmla="*/ 3975563 w 11349862"/>
              <a:gd name="connsiteY361" fmla="*/ 815767 h 4289005"/>
              <a:gd name="connsiteX362" fmla="*/ 3975563 w 11349862"/>
              <a:gd name="connsiteY362" fmla="*/ 815767 h 4289005"/>
              <a:gd name="connsiteX363" fmla="*/ 3939642 w 11349862"/>
              <a:gd name="connsiteY363" fmla="*/ 785639 h 4289005"/>
              <a:gd name="connsiteX364" fmla="*/ 4225272 w 11349862"/>
              <a:gd name="connsiteY364" fmla="*/ 833728 h 4289005"/>
              <a:gd name="connsiteX365" fmla="*/ 4309860 w 11349862"/>
              <a:gd name="connsiteY365" fmla="*/ 851689 h 4289005"/>
              <a:gd name="connsiteX366" fmla="*/ 4309860 w 11349862"/>
              <a:gd name="connsiteY366" fmla="*/ 851689 h 4289005"/>
              <a:gd name="connsiteX367" fmla="*/ 4225272 w 11349862"/>
              <a:gd name="connsiteY367" fmla="*/ 833728 h 4289005"/>
              <a:gd name="connsiteX368" fmla="*/ 3882284 w 11349862"/>
              <a:gd name="connsiteY368" fmla="*/ 749718 h 4289005"/>
              <a:gd name="connsiteX369" fmla="*/ 4755397 w 11349862"/>
              <a:gd name="connsiteY369" fmla="*/ 914841 h 4289005"/>
              <a:gd name="connsiteX370" fmla="*/ 5375324 w 11349862"/>
              <a:gd name="connsiteY370" fmla="*/ 1158760 h 4289005"/>
              <a:gd name="connsiteX371" fmla="*/ 6199770 w 11349862"/>
              <a:gd name="connsiteY371" fmla="*/ 1622264 h 4289005"/>
              <a:gd name="connsiteX372" fmla="*/ 6468019 w 11349862"/>
              <a:gd name="connsiteY372" fmla="*/ 1787967 h 4289005"/>
              <a:gd name="connsiteX373" fmla="*/ 6458749 w 11349862"/>
              <a:gd name="connsiteY373" fmla="*/ 1770006 h 4289005"/>
              <a:gd name="connsiteX374" fmla="*/ 6236270 w 11349862"/>
              <a:gd name="connsiteY374" fmla="*/ 1610676 h 4289005"/>
              <a:gd name="connsiteX375" fmla="*/ 5420515 w 11349862"/>
              <a:gd name="connsiteY375" fmla="*/ 1119942 h 4289005"/>
              <a:gd name="connsiteX376" fmla="*/ 4234542 w 11349862"/>
              <a:gd name="connsiteY376" fmla="*/ 686565 h 4289005"/>
              <a:gd name="connsiteX377" fmla="*/ 4141263 w 11349862"/>
              <a:gd name="connsiteY377" fmla="*/ 665128 h 4289005"/>
              <a:gd name="connsiteX378" fmla="*/ 4162120 w 11349862"/>
              <a:gd name="connsiteY378" fmla="*/ 647167 h 4289005"/>
              <a:gd name="connsiteX379" fmla="*/ 3909514 w 11349862"/>
              <a:gd name="connsiteY379" fmla="*/ 593285 h 4289005"/>
              <a:gd name="connsiteX380" fmla="*/ 4957018 w 11349862"/>
              <a:gd name="connsiteY380" fmla="*/ 851689 h 4289005"/>
              <a:gd name="connsiteX381" fmla="*/ 4987145 w 11349862"/>
              <a:gd name="connsiteY381" fmla="*/ 860959 h 4289005"/>
              <a:gd name="connsiteX382" fmla="*/ 5014376 w 11349862"/>
              <a:gd name="connsiteY382" fmla="*/ 870229 h 4289005"/>
              <a:gd name="connsiteX383" fmla="*/ 5014376 w 11349862"/>
              <a:gd name="connsiteY383" fmla="*/ 870229 h 4289005"/>
              <a:gd name="connsiteX384" fmla="*/ 4987145 w 11349862"/>
              <a:gd name="connsiteY384" fmla="*/ 860959 h 4289005"/>
              <a:gd name="connsiteX385" fmla="*/ 4957018 w 11349862"/>
              <a:gd name="connsiteY385" fmla="*/ 851689 h 4289005"/>
              <a:gd name="connsiteX386" fmla="*/ 4466290 w 11349862"/>
              <a:gd name="connsiteY386" fmla="*/ 647167 h 4289005"/>
              <a:gd name="connsiteX387" fmla="*/ 4466290 w 11349862"/>
              <a:gd name="connsiteY387" fmla="*/ 647167 h 4289005"/>
              <a:gd name="connsiteX388" fmla="*/ 4430369 w 11349862"/>
              <a:gd name="connsiteY388" fmla="*/ 619937 h 4289005"/>
              <a:gd name="connsiteX389" fmla="*/ 4782627 w 11349862"/>
              <a:gd name="connsiteY389" fmla="*/ 704526 h 4289005"/>
              <a:gd name="connsiteX390" fmla="*/ 4809278 w 11349862"/>
              <a:gd name="connsiteY390" fmla="*/ 713217 h 4289005"/>
              <a:gd name="connsiteX391" fmla="*/ 4836509 w 11349862"/>
              <a:gd name="connsiteY391" fmla="*/ 722487 h 4289005"/>
              <a:gd name="connsiteX392" fmla="*/ 4836509 w 11349862"/>
              <a:gd name="connsiteY392" fmla="*/ 722487 h 4289005"/>
              <a:gd name="connsiteX393" fmla="*/ 4809278 w 11349862"/>
              <a:gd name="connsiteY393" fmla="*/ 713217 h 4289005"/>
              <a:gd name="connsiteX394" fmla="*/ 4782627 w 11349862"/>
              <a:gd name="connsiteY394" fmla="*/ 704526 h 4289005"/>
              <a:gd name="connsiteX395" fmla="*/ 4550879 w 11349862"/>
              <a:gd name="connsiteY395" fmla="*/ 619937 h 4289005"/>
              <a:gd name="connsiteX396" fmla="*/ 4300590 w 11349862"/>
              <a:gd name="connsiteY396" fmla="*/ 545197 h 4289005"/>
              <a:gd name="connsiteX397" fmla="*/ 4430369 w 11349862"/>
              <a:gd name="connsiteY397" fmla="*/ 545197 h 4289005"/>
              <a:gd name="connsiteX398" fmla="*/ 4050881 w 11349862"/>
              <a:gd name="connsiteY398" fmla="*/ 463504 h 4289005"/>
              <a:gd name="connsiteX399" fmla="*/ 3966293 w 11349862"/>
              <a:gd name="connsiteY399" fmla="*/ 433376 h 4289005"/>
              <a:gd name="connsiteX400" fmla="*/ 4800588 w 11349862"/>
              <a:gd name="connsiteY400" fmla="*/ 637897 h 4289005"/>
              <a:gd name="connsiteX401" fmla="*/ 4911827 w 11349862"/>
              <a:gd name="connsiteY401" fmla="*/ 665128 h 4289005"/>
              <a:gd name="connsiteX402" fmla="*/ 4559569 w 11349862"/>
              <a:gd name="connsiteY402" fmla="*/ 526657 h 4289005"/>
              <a:gd name="connsiteX403" fmla="*/ 4884597 w 11349862"/>
              <a:gd name="connsiteY403" fmla="*/ 619937 h 4289005"/>
              <a:gd name="connsiteX404" fmla="*/ 4884597 w 11349862"/>
              <a:gd name="connsiteY404" fmla="*/ 619937 h 4289005"/>
              <a:gd name="connsiteX405" fmla="*/ 4715999 w 11349862"/>
              <a:gd name="connsiteY405" fmla="*/ 526657 h 4289005"/>
              <a:gd name="connsiteX406" fmla="*/ 4875906 w 11349862"/>
              <a:gd name="connsiteY406" fmla="*/ 574745 h 4289005"/>
              <a:gd name="connsiteX407" fmla="*/ 4957018 w 11349862"/>
              <a:gd name="connsiteY407" fmla="*/ 574745 h 4289005"/>
              <a:gd name="connsiteX408" fmla="*/ 5089694 w 11349862"/>
              <a:gd name="connsiteY408" fmla="*/ 629207 h 4289005"/>
              <a:gd name="connsiteX409" fmla="*/ 5023066 w 11349862"/>
              <a:gd name="connsiteY409" fmla="*/ 593285 h 4289005"/>
              <a:gd name="connsiteX410" fmla="*/ 5050297 w 11349862"/>
              <a:gd name="connsiteY410" fmla="*/ 584015 h 4289005"/>
              <a:gd name="connsiteX411" fmla="*/ 4523648 w 11349862"/>
              <a:gd name="connsiteY411" fmla="*/ 388185 h 4289005"/>
              <a:gd name="connsiteX412" fmla="*/ 4002793 w 11349862"/>
              <a:gd name="connsiteY412" fmla="*/ 268253 h 4289005"/>
              <a:gd name="connsiteX413" fmla="*/ 3948332 w 11349862"/>
              <a:gd name="connsiteY413" fmla="*/ 241022 h 4289005"/>
              <a:gd name="connsiteX414" fmla="*/ 4592594 w 11349862"/>
              <a:gd name="connsiteY414" fmla="*/ 322135 h 4289005"/>
              <a:gd name="connsiteX415" fmla="*/ 4625618 w 11349862"/>
              <a:gd name="connsiteY415" fmla="*/ 322135 h 4289005"/>
              <a:gd name="connsiteX416" fmla="*/ 4782627 w 11349862"/>
              <a:gd name="connsiteY416" fmla="*/ 360954 h 4289005"/>
              <a:gd name="connsiteX417" fmla="*/ 4875906 w 11349862"/>
              <a:gd name="connsiteY417" fmla="*/ 352263 h 4289005"/>
              <a:gd name="connsiteX418" fmla="*/ 4505688 w 11349862"/>
              <a:gd name="connsiteY418" fmla="*/ 231752 h 4289005"/>
              <a:gd name="connsiteX419" fmla="*/ 4707309 w 11349862"/>
              <a:gd name="connsiteY419" fmla="*/ 249713 h 4289005"/>
              <a:gd name="connsiteX420" fmla="*/ 4827818 w 11349862"/>
              <a:gd name="connsiteY420" fmla="*/ 286214 h 4289005"/>
              <a:gd name="connsiteX421" fmla="*/ 4939057 w 11349862"/>
              <a:gd name="connsiteY421" fmla="*/ 312865 h 4289005"/>
              <a:gd name="connsiteX422" fmla="*/ 4773357 w 11349862"/>
              <a:gd name="connsiteY422" fmla="*/ 249713 h 4289005"/>
              <a:gd name="connsiteX423" fmla="*/ 4662118 w 11349862"/>
              <a:gd name="connsiteY423" fmla="*/ 156433 h 4289005"/>
              <a:gd name="connsiteX424" fmla="*/ 4875906 w 11349862"/>
              <a:gd name="connsiteY424" fmla="*/ 231752 h 4289005"/>
              <a:gd name="connsiteX425" fmla="*/ 5505103 w 11349862"/>
              <a:gd name="connsiteY425" fmla="*/ 463504 h 4289005"/>
              <a:gd name="connsiteX426" fmla="*/ 6940206 w 11349862"/>
              <a:gd name="connsiteY426" fmla="*/ 1333733 h 4289005"/>
              <a:gd name="connsiteX427" fmla="*/ 7692809 w 11349862"/>
              <a:gd name="connsiteY427" fmla="*/ 1679623 h 4289005"/>
              <a:gd name="connsiteX428" fmla="*/ 7674849 w 11349862"/>
              <a:gd name="connsiteY428" fmla="*/ 1685996 h 4289005"/>
              <a:gd name="connsiteX429" fmla="*/ 7813319 w 11349862"/>
              <a:gd name="connsiteY429" fmla="*/ 1721917 h 4289005"/>
              <a:gd name="connsiteX430" fmla="*/ 8250165 w 11349862"/>
              <a:gd name="connsiteY430" fmla="*/ 1815198 h 4289005"/>
              <a:gd name="connsiteX431" fmla="*/ 8295355 w 11349862"/>
              <a:gd name="connsiteY431" fmla="*/ 1824468 h 4289005"/>
              <a:gd name="connsiteX432" fmla="*/ 8295355 w 11349862"/>
              <a:gd name="connsiteY432" fmla="*/ 1824468 h 4289005"/>
              <a:gd name="connsiteX433" fmla="*/ 8250165 w 11349862"/>
              <a:gd name="connsiteY433" fmla="*/ 1815198 h 4289005"/>
              <a:gd name="connsiteX434" fmla="*/ 7858509 w 11349862"/>
              <a:gd name="connsiteY434" fmla="*/ 1721917 h 4289005"/>
              <a:gd name="connsiteX435" fmla="*/ 7888637 w 11349862"/>
              <a:gd name="connsiteY435" fmla="*/ 1721917 h 4289005"/>
              <a:gd name="connsiteX436" fmla="*/ 7692809 w 11349862"/>
              <a:gd name="connsiteY436" fmla="*/ 1658765 h 4289005"/>
              <a:gd name="connsiteX437" fmla="*/ 5874742 w 11349862"/>
              <a:gd name="connsiteY437" fmla="*/ 601976 h 4289005"/>
              <a:gd name="connsiteX438" fmla="*/ 5264085 w 11349862"/>
              <a:gd name="connsiteY438" fmla="*/ 304175 h 4289005"/>
              <a:gd name="connsiteX439" fmla="*/ 5209624 w 11349862"/>
              <a:gd name="connsiteY439" fmla="*/ 258983 h 4289005"/>
              <a:gd name="connsiteX440" fmla="*/ 5571152 w 11349862"/>
              <a:gd name="connsiteY440" fmla="*/ 370224 h 4289005"/>
              <a:gd name="connsiteX441" fmla="*/ 5571152 w 11349862"/>
              <a:gd name="connsiteY441" fmla="*/ 370224 h 4289005"/>
              <a:gd name="connsiteX442" fmla="*/ 5209624 w 11349862"/>
              <a:gd name="connsiteY442" fmla="*/ 147742 h 4289005"/>
              <a:gd name="connsiteX443" fmla="*/ 5107655 w 11349862"/>
              <a:gd name="connsiteY443" fmla="*/ 63152 h 4289005"/>
              <a:gd name="connsiteX444" fmla="*/ 5477873 w 11349862"/>
              <a:gd name="connsiteY444" fmla="*/ 174393 h 4289005"/>
              <a:gd name="connsiteX445" fmla="*/ 5477873 w 11349862"/>
              <a:gd name="connsiteY445" fmla="*/ 174393 h 4289005"/>
              <a:gd name="connsiteX446" fmla="*/ 5348673 w 11349862"/>
              <a:gd name="connsiteY446" fmla="*/ 111241 h 4289005"/>
              <a:gd name="connsiteX447" fmla="*/ 5487143 w 11349862"/>
              <a:gd name="connsiteY447" fmla="*/ 147742 h 4289005"/>
              <a:gd name="connsiteX448" fmla="*/ 5393285 w 11349862"/>
              <a:gd name="connsiteY448" fmla="*/ 63152 h 4289005"/>
              <a:gd name="connsiteX449" fmla="*/ 5450642 w 11349862"/>
              <a:gd name="connsiteY449" fmla="*/ 63152 h 4289005"/>
              <a:gd name="connsiteX450" fmla="*/ 5348673 w 11349862"/>
              <a:gd name="connsiteY450" fmla="*/ 0 h 42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Lst>
            <a:rect l="l" t="t" r="r" b="b"/>
            <a:pathLst>
              <a:path w="11349862" h="4289005">
                <a:moveTo>
                  <a:pt x="4309860" y="1703957"/>
                </a:moveTo>
                <a:cubicBezTo>
                  <a:pt x="4322027" y="1719020"/>
                  <a:pt x="4345781" y="1724814"/>
                  <a:pt x="4373012" y="1721917"/>
                </a:cubicBezTo>
                <a:cubicBezTo>
                  <a:pt x="4385178" y="1752045"/>
                  <a:pt x="4423996" y="1712647"/>
                  <a:pt x="4373012" y="1721917"/>
                </a:cubicBezTo>
                <a:cubicBezTo>
                  <a:pt x="4360845" y="1709750"/>
                  <a:pt x="4337091" y="1703957"/>
                  <a:pt x="4309860" y="1703957"/>
                </a:cubicBezTo>
                <a:close/>
                <a:moveTo>
                  <a:pt x="3841837" y="1165812"/>
                </a:moveTo>
                <a:cubicBezTo>
                  <a:pt x="3848681" y="1166545"/>
                  <a:pt x="3856792" y="1169768"/>
                  <a:pt x="3864323" y="1177300"/>
                </a:cubicBezTo>
                <a:cubicBezTo>
                  <a:pt x="3812180" y="1183818"/>
                  <a:pt x="3821305" y="1163612"/>
                  <a:pt x="3841837" y="1165812"/>
                </a:cubicBezTo>
                <a:close/>
                <a:moveTo>
                  <a:pt x="3820002" y="805012"/>
                </a:moveTo>
                <a:lnTo>
                  <a:pt x="3821642" y="805052"/>
                </a:lnTo>
                <a:lnTo>
                  <a:pt x="3809863" y="806497"/>
                </a:lnTo>
                <a:cubicBezTo>
                  <a:pt x="3810587" y="805773"/>
                  <a:pt x="3814534" y="805230"/>
                  <a:pt x="3820002" y="805012"/>
                </a:cubicBezTo>
                <a:close/>
                <a:moveTo>
                  <a:pt x="5348673" y="0"/>
                </a:moveTo>
                <a:cubicBezTo>
                  <a:pt x="5393285" y="0"/>
                  <a:pt x="5420515" y="24334"/>
                  <a:pt x="5459912" y="35922"/>
                </a:cubicBezTo>
                <a:cubicBezTo>
                  <a:pt x="5502206" y="50986"/>
                  <a:pt x="5543921" y="50986"/>
                  <a:pt x="5580422" y="63152"/>
                </a:cubicBezTo>
                <a:cubicBezTo>
                  <a:pt x="5601279" y="72423"/>
                  <a:pt x="5622136" y="93280"/>
                  <a:pt x="5643573" y="102550"/>
                </a:cubicBezTo>
                <a:cubicBezTo>
                  <a:pt x="5667327" y="108344"/>
                  <a:pt x="5693978" y="102550"/>
                  <a:pt x="5718312" y="111241"/>
                </a:cubicBezTo>
                <a:cubicBezTo>
                  <a:pt x="5796527" y="138472"/>
                  <a:pt x="5886909" y="201624"/>
                  <a:pt x="5968021" y="249713"/>
                </a:cubicBezTo>
                <a:cubicBezTo>
                  <a:pt x="6052030" y="297801"/>
                  <a:pt x="6133721" y="349366"/>
                  <a:pt x="6209040" y="397455"/>
                </a:cubicBezTo>
                <a:cubicBezTo>
                  <a:pt x="6660370" y="680192"/>
                  <a:pt x="7045652" y="993637"/>
                  <a:pt x="7545649" y="1203952"/>
                </a:cubicBezTo>
                <a:cubicBezTo>
                  <a:pt x="7653991" y="1249143"/>
                  <a:pt x="7750167" y="1291438"/>
                  <a:pt x="7867779" y="1324463"/>
                </a:cubicBezTo>
                <a:cubicBezTo>
                  <a:pt x="7930931" y="1342424"/>
                  <a:pt x="7999876" y="1366757"/>
                  <a:pt x="8063607" y="1378924"/>
                </a:cubicBezTo>
                <a:cubicBezTo>
                  <a:pt x="8195703" y="1411949"/>
                  <a:pt x="8340547" y="1414846"/>
                  <a:pt x="8490604" y="1444974"/>
                </a:cubicBezTo>
                <a:cubicBezTo>
                  <a:pt x="8499874" y="1447871"/>
                  <a:pt x="8545065" y="1460038"/>
                  <a:pt x="8554335" y="1462935"/>
                </a:cubicBezTo>
                <a:cubicBezTo>
                  <a:pt x="8545065" y="1460038"/>
                  <a:pt x="8472643" y="1468728"/>
                  <a:pt x="8545065" y="1480895"/>
                </a:cubicBezTo>
                <a:cubicBezTo>
                  <a:pt x="8662677" y="1502332"/>
                  <a:pt x="8782607" y="1513920"/>
                  <a:pt x="8888053" y="1528984"/>
                </a:cubicBezTo>
                <a:cubicBezTo>
                  <a:pt x="8954680" y="1538254"/>
                  <a:pt x="9029999" y="1562588"/>
                  <a:pt x="9093150" y="1574175"/>
                </a:cubicBezTo>
                <a:cubicBezTo>
                  <a:pt x="9126174" y="1580549"/>
                  <a:pt x="9159198" y="1571279"/>
                  <a:pt x="9186429" y="1583445"/>
                </a:cubicBezTo>
                <a:cubicBezTo>
                  <a:pt x="9192223" y="1586342"/>
                  <a:pt x="9177159" y="1592716"/>
                  <a:pt x="9164992" y="1592716"/>
                </a:cubicBezTo>
                <a:cubicBezTo>
                  <a:pt x="9156301" y="1589239"/>
                  <a:pt x="9149928" y="1586342"/>
                  <a:pt x="9147032" y="1592716"/>
                </a:cubicBezTo>
                <a:cubicBezTo>
                  <a:pt x="9147032" y="1595612"/>
                  <a:pt x="9156301" y="1595612"/>
                  <a:pt x="9164992" y="1592716"/>
                </a:cubicBezTo>
                <a:cubicBezTo>
                  <a:pt x="9180056" y="1601406"/>
                  <a:pt x="9198596" y="1619367"/>
                  <a:pt x="9189326" y="1619367"/>
                </a:cubicBezTo>
                <a:cubicBezTo>
                  <a:pt x="9186429" y="1619367"/>
                  <a:pt x="9177159" y="1616470"/>
                  <a:pt x="9168468" y="1610676"/>
                </a:cubicBezTo>
                <a:cubicBezTo>
                  <a:pt x="9174262" y="1616470"/>
                  <a:pt x="9180056" y="1616470"/>
                  <a:pt x="9189326" y="1619367"/>
                </a:cubicBezTo>
                <a:cubicBezTo>
                  <a:pt x="9261747" y="1643701"/>
                  <a:pt x="9388050" y="1637328"/>
                  <a:pt x="9463368" y="1640804"/>
                </a:cubicBezTo>
                <a:cubicBezTo>
                  <a:pt x="9710181" y="1652971"/>
                  <a:pt x="10068232" y="1628637"/>
                  <a:pt x="10225242" y="1631534"/>
                </a:cubicBezTo>
                <a:cubicBezTo>
                  <a:pt x="10236829" y="1631534"/>
                  <a:pt x="10279123" y="1634431"/>
                  <a:pt x="10288393" y="1640804"/>
                </a:cubicBezTo>
                <a:cubicBezTo>
                  <a:pt x="10264060" y="1628637"/>
                  <a:pt x="10185844" y="1667456"/>
                  <a:pt x="10231035" y="1664559"/>
                </a:cubicBezTo>
                <a:cubicBezTo>
                  <a:pt x="10140653" y="1676726"/>
                  <a:pt x="9981326" y="1676726"/>
                  <a:pt x="9881674" y="1676726"/>
                </a:cubicBezTo>
                <a:cubicBezTo>
                  <a:pt x="9737411" y="1676726"/>
                  <a:pt x="9574608" y="1679623"/>
                  <a:pt x="9324899" y="1667456"/>
                </a:cubicBezTo>
                <a:cubicBezTo>
                  <a:pt x="9291874" y="1664559"/>
                  <a:pt x="9168468" y="1646598"/>
                  <a:pt x="9156301" y="1658765"/>
                </a:cubicBezTo>
                <a:cubicBezTo>
                  <a:pt x="9159198" y="1658765"/>
                  <a:pt x="9210183" y="1688893"/>
                  <a:pt x="9204389" y="1685996"/>
                </a:cubicBezTo>
                <a:cubicBezTo>
                  <a:pt x="9246683" y="1694686"/>
                  <a:pt x="9418177" y="1682519"/>
                  <a:pt x="9427447" y="1703957"/>
                </a:cubicBezTo>
                <a:cubicBezTo>
                  <a:pt x="9436138" y="1724814"/>
                  <a:pt x="9589671" y="1712647"/>
                  <a:pt x="9583878" y="1712647"/>
                </a:cubicBezTo>
                <a:cubicBezTo>
                  <a:pt x="9649926" y="1716124"/>
                  <a:pt x="9743205" y="1721917"/>
                  <a:pt x="9824317" y="1721917"/>
                </a:cubicBezTo>
                <a:cubicBezTo>
                  <a:pt x="9863714" y="1721917"/>
                  <a:pt x="10086193" y="1734084"/>
                  <a:pt x="9962786" y="1734084"/>
                </a:cubicBezTo>
                <a:cubicBezTo>
                  <a:pt x="9845753" y="1734084"/>
                  <a:pt x="9746102" y="1716124"/>
                  <a:pt x="9619799" y="1734084"/>
                </a:cubicBezTo>
                <a:cubicBezTo>
                  <a:pt x="9565338" y="1739878"/>
                  <a:pt x="9637759" y="1739878"/>
                  <a:pt x="9601838" y="1752045"/>
                </a:cubicBezTo>
                <a:cubicBezTo>
                  <a:pt x="9580401" y="1757839"/>
                  <a:pt x="9514353" y="1757839"/>
                  <a:pt x="9463368" y="1770006"/>
                </a:cubicBezTo>
                <a:cubicBezTo>
                  <a:pt x="9433241" y="1775800"/>
                  <a:pt x="9411804" y="1794340"/>
                  <a:pt x="9388050" y="1797237"/>
                </a:cubicBezTo>
                <a:cubicBezTo>
                  <a:pt x="9345756" y="1803031"/>
                  <a:pt x="9322002" y="1785070"/>
                  <a:pt x="9297668" y="1797237"/>
                </a:cubicBezTo>
                <a:cubicBezTo>
                  <a:pt x="9276811" y="1805927"/>
                  <a:pt x="9294771" y="1833158"/>
                  <a:pt x="9288398" y="1833158"/>
                </a:cubicBezTo>
                <a:cubicBezTo>
                  <a:pt x="9246683" y="1842428"/>
                  <a:pt x="9035792" y="1815198"/>
                  <a:pt x="8936720" y="1815198"/>
                </a:cubicBezTo>
                <a:cubicBezTo>
                  <a:pt x="8918180" y="1815198"/>
                  <a:pt x="8782607" y="1820991"/>
                  <a:pt x="8861401" y="1833158"/>
                </a:cubicBezTo>
                <a:cubicBezTo>
                  <a:pt x="8948307" y="1848222"/>
                  <a:pt x="9050856" y="1866183"/>
                  <a:pt x="9147032" y="1872556"/>
                </a:cubicBezTo>
                <a:cubicBezTo>
                  <a:pt x="9183532" y="1872556"/>
                  <a:pt x="9382256" y="1878350"/>
                  <a:pt x="9388050" y="1890517"/>
                </a:cubicBezTo>
                <a:cubicBezTo>
                  <a:pt x="9390947" y="1896311"/>
                  <a:pt x="9086777" y="1881247"/>
                  <a:pt x="9240310" y="1908478"/>
                </a:cubicBezTo>
                <a:cubicBezTo>
                  <a:pt x="9385153" y="1932812"/>
                  <a:pt x="9186429" y="1935709"/>
                  <a:pt x="9156301" y="1935709"/>
                </a:cubicBezTo>
                <a:cubicBezTo>
                  <a:pt x="9116904" y="1935709"/>
                  <a:pt x="8987704" y="1911375"/>
                  <a:pt x="8945410" y="1926438"/>
                </a:cubicBezTo>
                <a:cubicBezTo>
                  <a:pt x="8857925" y="1959463"/>
                  <a:pt x="9126174" y="1950772"/>
                  <a:pt x="9213659" y="1953669"/>
                </a:cubicBezTo>
                <a:cubicBezTo>
                  <a:pt x="9433241" y="1965836"/>
                  <a:pt x="9529417" y="1971630"/>
                  <a:pt x="9704387" y="1983797"/>
                </a:cubicBezTo>
                <a:cubicBezTo>
                  <a:pt x="9911802" y="1995964"/>
                  <a:pt x="10221765" y="2011028"/>
                  <a:pt x="10456990" y="2001758"/>
                </a:cubicBezTo>
                <a:cubicBezTo>
                  <a:pt x="10510872" y="1998861"/>
                  <a:pt x="10679469" y="1962939"/>
                  <a:pt x="10613420" y="2001758"/>
                </a:cubicBezTo>
                <a:cubicBezTo>
                  <a:pt x="10574023" y="2022616"/>
                  <a:pt x="10589087" y="2013925"/>
                  <a:pt x="10502181" y="2019719"/>
                </a:cubicBezTo>
                <a:cubicBezTo>
                  <a:pt x="10363132" y="2028989"/>
                  <a:pt x="10089669" y="2052743"/>
                  <a:pt x="10002184" y="2056220"/>
                </a:cubicBezTo>
                <a:cubicBezTo>
                  <a:pt x="9981326" y="2056220"/>
                  <a:pt x="9962786" y="2056220"/>
                  <a:pt x="9944826" y="2056220"/>
                </a:cubicBezTo>
                <a:cubicBezTo>
                  <a:pt x="9906008" y="2052743"/>
                  <a:pt x="9869508" y="2049846"/>
                  <a:pt x="9863714" y="2056220"/>
                </a:cubicBezTo>
                <a:cubicBezTo>
                  <a:pt x="9863714" y="2056220"/>
                  <a:pt x="9899635" y="2056220"/>
                  <a:pt x="9944826" y="2056220"/>
                </a:cubicBezTo>
                <a:cubicBezTo>
                  <a:pt x="9966263" y="2056220"/>
                  <a:pt x="9984223" y="2059117"/>
                  <a:pt x="10002184" y="2056220"/>
                </a:cubicBezTo>
                <a:cubicBezTo>
                  <a:pt x="10056645" y="2059117"/>
                  <a:pt x="10116320" y="2059117"/>
                  <a:pt x="10149923" y="2056220"/>
                </a:cubicBezTo>
                <a:cubicBezTo>
                  <a:pt x="10303457" y="2049846"/>
                  <a:pt x="10399632" y="2056220"/>
                  <a:pt x="10538102" y="2046950"/>
                </a:cubicBezTo>
                <a:cubicBezTo>
                  <a:pt x="10601254" y="2044053"/>
                  <a:pt x="10812145" y="2011028"/>
                  <a:pt x="10817939" y="2028989"/>
                </a:cubicBezTo>
                <a:cubicBezTo>
                  <a:pt x="10827209" y="2062013"/>
                  <a:pt x="10727557" y="2049846"/>
                  <a:pt x="10697429" y="2056220"/>
                </a:cubicBezTo>
                <a:cubicBezTo>
                  <a:pt x="10571126" y="2082871"/>
                  <a:pt x="10820835" y="2086347"/>
                  <a:pt x="10817939" y="2086347"/>
                </a:cubicBezTo>
                <a:cubicBezTo>
                  <a:pt x="10824312" y="2086347"/>
                  <a:pt x="10754787" y="2095038"/>
                  <a:pt x="10724660" y="2104308"/>
                </a:cubicBezTo>
                <a:cubicBezTo>
                  <a:pt x="10703802" y="2107205"/>
                  <a:pt x="10721763" y="2116475"/>
                  <a:pt x="10706699" y="2122269"/>
                </a:cubicBezTo>
                <a:cubicBezTo>
                  <a:pt x="10628484" y="2151817"/>
                  <a:pt x="10462784" y="2128063"/>
                  <a:pt x="10372402" y="2157611"/>
                </a:cubicBezTo>
                <a:cubicBezTo>
                  <a:pt x="10282020" y="2146023"/>
                  <a:pt x="10324314" y="2187739"/>
                  <a:pt x="10372402" y="2157611"/>
                </a:cubicBezTo>
                <a:cubicBezTo>
                  <a:pt x="10402529" y="2172675"/>
                  <a:pt x="10465681" y="2140230"/>
                  <a:pt x="10492911" y="2157611"/>
                </a:cubicBezTo>
                <a:cubicBezTo>
                  <a:pt x="10502181" y="2166881"/>
                  <a:pt x="10315044" y="2197009"/>
                  <a:pt x="10324314" y="2197009"/>
                </a:cubicBezTo>
                <a:cubicBezTo>
                  <a:pt x="10225242" y="2212073"/>
                  <a:pt x="10194535" y="2202803"/>
                  <a:pt x="9984223" y="2214970"/>
                </a:cubicBezTo>
                <a:cubicBezTo>
                  <a:pt x="9914699" y="2217867"/>
                  <a:pt x="9586774" y="2217867"/>
                  <a:pt x="9583878" y="2224240"/>
                </a:cubicBezTo>
                <a:cubicBezTo>
                  <a:pt x="9583878" y="2224240"/>
                  <a:pt x="9692220" y="2239304"/>
                  <a:pt x="9743205" y="2242201"/>
                </a:cubicBezTo>
                <a:cubicBezTo>
                  <a:pt x="10025938" y="2257264"/>
                  <a:pt x="10264060" y="2257264"/>
                  <a:pt x="10520142" y="2242201"/>
                </a:cubicBezTo>
                <a:cubicBezTo>
                  <a:pt x="10607047" y="2235827"/>
                  <a:pt x="10920487" y="2184842"/>
                  <a:pt x="10827209" y="2232930"/>
                </a:cubicBezTo>
                <a:cubicBezTo>
                  <a:pt x="10797081" y="2247994"/>
                  <a:pt x="10712493" y="2257264"/>
                  <a:pt x="10679469" y="2260161"/>
                </a:cubicBezTo>
                <a:cubicBezTo>
                  <a:pt x="10538102" y="2272328"/>
                  <a:pt x="10790708" y="2263058"/>
                  <a:pt x="10799978" y="2260161"/>
                </a:cubicBezTo>
                <a:cubicBezTo>
                  <a:pt x="10802875" y="2263058"/>
                  <a:pt x="10784914" y="2293186"/>
                  <a:pt x="10779121" y="2287392"/>
                </a:cubicBezTo>
                <a:cubicBezTo>
                  <a:pt x="10784914" y="2293186"/>
                  <a:pt x="10820835" y="2287392"/>
                  <a:pt x="10827209" y="2287392"/>
                </a:cubicBezTo>
                <a:cubicBezTo>
                  <a:pt x="10950615" y="2287392"/>
                  <a:pt x="10760581" y="2317520"/>
                  <a:pt x="10706699" y="2326211"/>
                </a:cubicBezTo>
                <a:cubicBezTo>
                  <a:pt x="10450617" y="2359235"/>
                  <a:pt x="10155717" y="2365608"/>
                  <a:pt x="9908905" y="2389363"/>
                </a:cubicBezTo>
                <a:cubicBezTo>
                  <a:pt x="9863714" y="2395736"/>
                  <a:pt x="9538687" y="2371402"/>
                  <a:pt x="9520726" y="2389363"/>
                </a:cubicBezTo>
                <a:cubicBezTo>
                  <a:pt x="9514353" y="2395736"/>
                  <a:pt x="9698014" y="2398633"/>
                  <a:pt x="9743205" y="2398633"/>
                </a:cubicBezTo>
                <a:cubicBezTo>
                  <a:pt x="9851547" y="2404427"/>
                  <a:pt x="9956993" y="2410800"/>
                  <a:pt x="10047375" y="2407324"/>
                </a:cubicBezTo>
                <a:cubicBezTo>
                  <a:pt x="10279123" y="2401530"/>
                  <a:pt x="10450617" y="2440928"/>
                  <a:pt x="10667302" y="2416594"/>
                </a:cubicBezTo>
                <a:cubicBezTo>
                  <a:pt x="10685842" y="2416594"/>
                  <a:pt x="10797081" y="2386466"/>
                  <a:pt x="10809248" y="2398633"/>
                </a:cubicBezTo>
                <a:cubicBezTo>
                  <a:pt x="10805772" y="2398633"/>
                  <a:pt x="10745517" y="2419491"/>
                  <a:pt x="10706699" y="2425864"/>
                </a:cubicBezTo>
                <a:cubicBezTo>
                  <a:pt x="10591984" y="2446722"/>
                  <a:pt x="10561856" y="2446722"/>
                  <a:pt x="10465681" y="2464682"/>
                </a:cubicBezTo>
                <a:cubicBezTo>
                  <a:pt x="10420490" y="2471056"/>
                  <a:pt x="10284917" y="2491913"/>
                  <a:pt x="10381672" y="2491913"/>
                </a:cubicBezTo>
                <a:cubicBezTo>
                  <a:pt x="10565333" y="2489016"/>
                  <a:pt x="10661508" y="2473952"/>
                  <a:pt x="10827209" y="2464682"/>
                </a:cubicBezTo>
                <a:cubicBezTo>
                  <a:pt x="10878193" y="2461786"/>
                  <a:pt x="11007972" y="2471056"/>
                  <a:pt x="10920487" y="2482643"/>
                </a:cubicBezTo>
                <a:cubicBezTo>
                  <a:pt x="10853860" y="2491913"/>
                  <a:pt x="10833002" y="2504080"/>
                  <a:pt x="10799978" y="2509874"/>
                </a:cubicBezTo>
                <a:cubicBezTo>
                  <a:pt x="10583293" y="2555066"/>
                  <a:pt x="10284917" y="2540002"/>
                  <a:pt x="10095462" y="2575923"/>
                </a:cubicBezTo>
                <a:cubicBezTo>
                  <a:pt x="10023041" y="2588090"/>
                  <a:pt x="9984223" y="2603154"/>
                  <a:pt x="9872984" y="2603154"/>
                </a:cubicBezTo>
                <a:cubicBezTo>
                  <a:pt x="9860817" y="2603154"/>
                  <a:pt x="9740308" y="2585193"/>
                  <a:pt x="9722347" y="2603154"/>
                </a:cubicBezTo>
                <a:cubicBezTo>
                  <a:pt x="9722347" y="2603154"/>
                  <a:pt x="9911802" y="2612424"/>
                  <a:pt x="9917595" y="2612424"/>
                </a:cubicBezTo>
                <a:cubicBezTo>
                  <a:pt x="9990017" y="2612424"/>
                  <a:pt x="10059541" y="2585193"/>
                  <a:pt x="10131384" y="2612424"/>
                </a:cubicBezTo>
                <a:cubicBezTo>
                  <a:pt x="10101836" y="2600257"/>
                  <a:pt x="10074605" y="2654719"/>
                  <a:pt x="10104732" y="2648346"/>
                </a:cubicBezTo>
                <a:cubicBezTo>
                  <a:pt x="10014350" y="2675577"/>
                  <a:pt x="9752475" y="2669783"/>
                  <a:pt x="9649926" y="2669783"/>
                </a:cubicBezTo>
                <a:cubicBezTo>
                  <a:pt x="9562441" y="2666307"/>
                  <a:pt x="9300565" y="2663410"/>
                  <a:pt x="9204389" y="2657616"/>
                </a:cubicBezTo>
                <a:cubicBezTo>
                  <a:pt x="9174262" y="2657616"/>
                  <a:pt x="9119801" y="2639655"/>
                  <a:pt x="9111111" y="2648346"/>
                </a:cubicBezTo>
                <a:cubicBezTo>
                  <a:pt x="9093150" y="2666307"/>
                  <a:pt x="9189326" y="2666307"/>
                  <a:pt x="9195119" y="2669783"/>
                </a:cubicBezTo>
                <a:cubicBezTo>
                  <a:pt x="9469162" y="2678474"/>
                  <a:pt x="9743205" y="2690641"/>
                  <a:pt x="10074605" y="2678474"/>
                </a:cubicBezTo>
                <a:cubicBezTo>
                  <a:pt x="10210178" y="2672680"/>
                  <a:pt x="10342275" y="2678474"/>
                  <a:pt x="10465681" y="2678474"/>
                </a:cubicBezTo>
                <a:cubicBezTo>
                  <a:pt x="10538102" y="2678474"/>
                  <a:pt x="10576920" y="2651243"/>
                  <a:pt x="10631381" y="2657616"/>
                </a:cubicBezTo>
                <a:cubicBezTo>
                  <a:pt x="10652238" y="2660513"/>
                  <a:pt x="10649342" y="2678474"/>
                  <a:pt x="10667302" y="2687744"/>
                </a:cubicBezTo>
                <a:cubicBezTo>
                  <a:pt x="10721763" y="2708601"/>
                  <a:pt x="10748993" y="2684267"/>
                  <a:pt x="10751890" y="2687744"/>
                </a:cubicBezTo>
                <a:cubicBezTo>
                  <a:pt x="10769851" y="2693537"/>
                  <a:pt x="10724660" y="2714975"/>
                  <a:pt x="10724660" y="2705704"/>
                </a:cubicBezTo>
                <a:cubicBezTo>
                  <a:pt x="10721763" y="2735832"/>
                  <a:pt x="10911217" y="2720768"/>
                  <a:pt x="10787811" y="2741626"/>
                </a:cubicBezTo>
                <a:cubicBezTo>
                  <a:pt x="10616317" y="2771754"/>
                  <a:pt x="10884566" y="2732935"/>
                  <a:pt x="10899051" y="2732935"/>
                </a:cubicBezTo>
                <a:cubicBezTo>
                  <a:pt x="10920487" y="2735832"/>
                  <a:pt x="10914114" y="2741626"/>
                  <a:pt x="10938448" y="2750896"/>
                </a:cubicBezTo>
                <a:cubicBezTo>
                  <a:pt x="10908321" y="2741626"/>
                  <a:pt x="10998702" y="2750896"/>
                  <a:pt x="10983639" y="2768857"/>
                </a:cubicBezTo>
                <a:cubicBezTo>
                  <a:pt x="10974369" y="2783921"/>
                  <a:pt x="10905424" y="2771754"/>
                  <a:pt x="10929178" y="2768857"/>
                </a:cubicBezTo>
                <a:cubicBezTo>
                  <a:pt x="10893257" y="2771754"/>
                  <a:pt x="10721763" y="2793191"/>
                  <a:pt x="10817939" y="2808255"/>
                </a:cubicBezTo>
                <a:cubicBezTo>
                  <a:pt x="10923384" y="2823319"/>
                  <a:pt x="10748993" y="2841279"/>
                  <a:pt x="10715969" y="2844176"/>
                </a:cubicBezTo>
                <a:cubicBezTo>
                  <a:pt x="10580396" y="2862137"/>
                  <a:pt x="10745517" y="2859240"/>
                  <a:pt x="10751890" y="2852867"/>
                </a:cubicBezTo>
                <a:cubicBezTo>
                  <a:pt x="10715969" y="2898059"/>
                  <a:pt x="10411799" y="2874304"/>
                  <a:pt x="10390363" y="2901535"/>
                </a:cubicBezTo>
                <a:cubicBezTo>
                  <a:pt x="10381672" y="2910226"/>
                  <a:pt x="10492911" y="2898059"/>
                  <a:pt x="10520142" y="2901535"/>
                </a:cubicBezTo>
                <a:cubicBezTo>
                  <a:pt x="10556063" y="2901535"/>
                  <a:pt x="10517245" y="2910226"/>
                  <a:pt x="10538102" y="2919496"/>
                </a:cubicBezTo>
                <a:cubicBezTo>
                  <a:pt x="10613420" y="2940353"/>
                  <a:pt x="10797081" y="2882995"/>
                  <a:pt x="10853860" y="2901535"/>
                </a:cubicBezTo>
                <a:cubicBezTo>
                  <a:pt x="10857336" y="2916599"/>
                  <a:pt x="10790708" y="2910226"/>
                  <a:pt x="10799978" y="2910226"/>
                </a:cubicBezTo>
                <a:cubicBezTo>
                  <a:pt x="10757684" y="2913122"/>
                  <a:pt x="10468578" y="2943250"/>
                  <a:pt x="10465681" y="2955417"/>
                </a:cubicBezTo>
                <a:cubicBezTo>
                  <a:pt x="10465681" y="2952520"/>
                  <a:pt x="10583293" y="2973378"/>
                  <a:pt x="10586190" y="2973378"/>
                </a:cubicBezTo>
                <a:cubicBezTo>
                  <a:pt x="10625587" y="2973378"/>
                  <a:pt x="10679469" y="2970481"/>
                  <a:pt x="10706699" y="2973378"/>
                </a:cubicBezTo>
                <a:cubicBezTo>
                  <a:pt x="10745517" y="2976854"/>
                  <a:pt x="10941345" y="2961211"/>
                  <a:pt x="10845169" y="2982648"/>
                </a:cubicBezTo>
                <a:cubicBezTo>
                  <a:pt x="10679469" y="3018570"/>
                  <a:pt x="10450617" y="3040007"/>
                  <a:pt x="10306354" y="3075928"/>
                </a:cubicBezTo>
                <a:cubicBezTo>
                  <a:pt x="10231035" y="3093889"/>
                  <a:pt x="10182948" y="3066658"/>
                  <a:pt x="10083296" y="3093889"/>
                </a:cubicBezTo>
                <a:cubicBezTo>
                  <a:pt x="10107629" y="3088095"/>
                  <a:pt x="10095462" y="3118223"/>
                  <a:pt x="10077502" y="3121120"/>
                </a:cubicBezTo>
                <a:cubicBezTo>
                  <a:pt x="10068232" y="3118223"/>
                  <a:pt x="10059541" y="3118223"/>
                  <a:pt x="10056645" y="3111850"/>
                </a:cubicBezTo>
                <a:cubicBezTo>
                  <a:pt x="10062438" y="3121120"/>
                  <a:pt x="10071129" y="3121120"/>
                  <a:pt x="10077502" y="3121120"/>
                </a:cubicBezTo>
                <a:cubicBezTo>
                  <a:pt x="10122693" y="3126914"/>
                  <a:pt x="10233932" y="3114747"/>
                  <a:pt x="10269853" y="3111850"/>
                </a:cubicBezTo>
                <a:cubicBezTo>
                  <a:pt x="10312147" y="3111850"/>
                  <a:pt x="10456990" y="3100262"/>
                  <a:pt x="10528832" y="3093889"/>
                </a:cubicBezTo>
                <a:cubicBezTo>
                  <a:pt x="10583293" y="3090992"/>
                  <a:pt x="10887463" y="3048697"/>
                  <a:pt x="10899051" y="3075928"/>
                </a:cubicBezTo>
                <a:cubicBezTo>
                  <a:pt x="10917590" y="3114747"/>
                  <a:pt x="10830105" y="3106056"/>
                  <a:pt x="10779121" y="3111850"/>
                </a:cubicBezTo>
                <a:cubicBezTo>
                  <a:pt x="10685842" y="3126914"/>
                  <a:pt x="10574023" y="3141978"/>
                  <a:pt x="10483641" y="3151248"/>
                </a:cubicBezTo>
                <a:cubicBezTo>
                  <a:pt x="10480744" y="3151248"/>
                  <a:pt x="10327211" y="3157041"/>
                  <a:pt x="10327211" y="3159938"/>
                </a:cubicBezTo>
                <a:cubicBezTo>
                  <a:pt x="10312147" y="3190066"/>
                  <a:pt x="10523039" y="3178478"/>
                  <a:pt x="10408323" y="3187169"/>
                </a:cubicBezTo>
                <a:cubicBezTo>
                  <a:pt x="10266956" y="3199336"/>
                  <a:pt x="10047375" y="3196439"/>
                  <a:pt x="9917595" y="3214400"/>
                </a:cubicBezTo>
                <a:cubicBezTo>
                  <a:pt x="9893841" y="3220194"/>
                  <a:pt x="9881674" y="3232361"/>
                  <a:pt x="9863714" y="3232361"/>
                </a:cubicBezTo>
                <a:cubicBezTo>
                  <a:pt x="9815626" y="3238155"/>
                  <a:pt x="9568814" y="3229464"/>
                  <a:pt x="9556647" y="3241631"/>
                </a:cubicBezTo>
                <a:cubicBezTo>
                  <a:pt x="9553750" y="3247425"/>
                  <a:pt x="9688744" y="3253798"/>
                  <a:pt x="9704387" y="3253798"/>
                </a:cubicBezTo>
                <a:cubicBezTo>
                  <a:pt x="9767538" y="3253798"/>
                  <a:pt x="10059541" y="3253798"/>
                  <a:pt x="9872984" y="3262489"/>
                </a:cubicBezTo>
                <a:cubicBezTo>
                  <a:pt x="9794189" y="3265385"/>
                  <a:pt x="9773332" y="3256695"/>
                  <a:pt x="9704387" y="3262489"/>
                </a:cubicBezTo>
                <a:cubicBezTo>
                  <a:pt x="9692220" y="3262489"/>
                  <a:pt x="9430344" y="3259592"/>
                  <a:pt x="9418177" y="3271759"/>
                </a:cubicBezTo>
                <a:cubicBezTo>
                  <a:pt x="9415280" y="3271759"/>
                  <a:pt x="9700911" y="3286823"/>
                  <a:pt x="9685847" y="3280449"/>
                </a:cubicBezTo>
                <a:cubicBezTo>
                  <a:pt x="9710181" y="3286823"/>
                  <a:pt x="9607632" y="3292616"/>
                  <a:pt x="9596044" y="3289719"/>
                </a:cubicBezTo>
                <a:cubicBezTo>
                  <a:pt x="9610529" y="3292616"/>
                  <a:pt x="9770435" y="3298410"/>
                  <a:pt x="9788396" y="3298410"/>
                </a:cubicBezTo>
                <a:cubicBezTo>
                  <a:pt x="9896738" y="3289719"/>
                  <a:pt x="10011454" y="3307680"/>
                  <a:pt x="10113423" y="3307680"/>
                </a:cubicBezTo>
                <a:cubicBezTo>
                  <a:pt x="10191638" y="3307680"/>
                  <a:pt x="10540999" y="3262489"/>
                  <a:pt x="10604151" y="3277552"/>
                </a:cubicBezTo>
                <a:cubicBezTo>
                  <a:pt x="10589087" y="3277552"/>
                  <a:pt x="10574023" y="3298410"/>
                  <a:pt x="10576920" y="3298410"/>
                </a:cubicBezTo>
                <a:cubicBezTo>
                  <a:pt x="10553166" y="3307680"/>
                  <a:pt x="10490014" y="3328538"/>
                  <a:pt x="10465681" y="3334911"/>
                </a:cubicBezTo>
                <a:cubicBezTo>
                  <a:pt x="10339378" y="3370833"/>
                  <a:pt x="10607047" y="3362142"/>
                  <a:pt x="10640651" y="3352872"/>
                </a:cubicBezTo>
                <a:cubicBezTo>
                  <a:pt x="10619214" y="3373730"/>
                  <a:pt x="10598357" y="3362142"/>
                  <a:pt x="10576920" y="3365039"/>
                </a:cubicBezTo>
                <a:cubicBezTo>
                  <a:pt x="10561856" y="3365039"/>
                  <a:pt x="10426863" y="3377206"/>
                  <a:pt x="10502181" y="3383000"/>
                </a:cubicBezTo>
                <a:cubicBezTo>
                  <a:pt x="10589087" y="3388793"/>
                  <a:pt x="10688739" y="3358666"/>
                  <a:pt x="10751890" y="3352872"/>
                </a:cubicBezTo>
                <a:cubicBezTo>
                  <a:pt x="10797081" y="3349975"/>
                  <a:pt x="10950615" y="3349975"/>
                  <a:pt x="10947718" y="3343602"/>
                </a:cubicBezTo>
                <a:cubicBezTo>
                  <a:pt x="10959305" y="3355769"/>
                  <a:pt x="10845169" y="3380103"/>
                  <a:pt x="10794184" y="3383000"/>
                </a:cubicBezTo>
                <a:cubicBezTo>
                  <a:pt x="10805772" y="3385897"/>
                  <a:pt x="10820835" y="3388793"/>
                  <a:pt x="10817939" y="3391690"/>
                </a:cubicBezTo>
                <a:cubicBezTo>
                  <a:pt x="10812145" y="3395167"/>
                  <a:pt x="10779121" y="3406754"/>
                  <a:pt x="10742620" y="3400960"/>
                </a:cubicBezTo>
                <a:cubicBezTo>
                  <a:pt x="10730454" y="3370833"/>
                  <a:pt x="10694532" y="3410230"/>
                  <a:pt x="10742620" y="3400960"/>
                </a:cubicBezTo>
                <a:cubicBezTo>
                  <a:pt x="10712493" y="3418921"/>
                  <a:pt x="10688739" y="3406754"/>
                  <a:pt x="10658611" y="3410230"/>
                </a:cubicBezTo>
                <a:cubicBezTo>
                  <a:pt x="10640651" y="3413127"/>
                  <a:pt x="10513769" y="3422397"/>
                  <a:pt x="10595460" y="3428191"/>
                </a:cubicBezTo>
                <a:cubicBezTo>
                  <a:pt x="10688739" y="3433985"/>
                  <a:pt x="10779121" y="3400960"/>
                  <a:pt x="10853860" y="3400960"/>
                </a:cubicBezTo>
                <a:cubicBezTo>
                  <a:pt x="10890360" y="3400960"/>
                  <a:pt x="10950615" y="3418921"/>
                  <a:pt x="10983639" y="3418921"/>
                </a:cubicBezTo>
                <a:cubicBezTo>
                  <a:pt x="11071124" y="3422397"/>
                  <a:pt x="11224657" y="3398063"/>
                  <a:pt x="11122109" y="3418921"/>
                </a:cubicBezTo>
                <a:cubicBezTo>
                  <a:pt x="11049687" y="3433985"/>
                  <a:pt x="10875296" y="3464113"/>
                  <a:pt x="10799978" y="3473383"/>
                </a:cubicBezTo>
                <a:cubicBezTo>
                  <a:pt x="10613420" y="3497137"/>
                  <a:pt x="10510872" y="3479177"/>
                  <a:pt x="10399632" y="3512201"/>
                </a:cubicBezTo>
                <a:cubicBezTo>
                  <a:pt x="10384569" y="3515098"/>
                  <a:pt x="10390363" y="3527265"/>
                  <a:pt x="10381672" y="3530741"/>
                </a:cubicBezTo>
                <a:cubicBezTo>
                  <a:pt x="10330108" y="3539432"/>
                  <a:pt x="10266956" y="3545226"/>
                  <a:pt x="10225242" y="3548702"/>
                </a:cubicBezTo>
                <a:cubicBezTo>
                  <a:pt x="10104732" y="3563766"/>
                  <a:pt x="10206702" y="3563766"/>
                  <a:pt x="10261163" y="3557393"/>
                </a:cubicBezTo>
                <a:cubicBezTo>
                  <a:pt x="10315044" y="3551599"/>
                  <a:pt x="10495808" y="3554496"/>
                  <a:pt x="10547372" y="3548702"/>
                </a:cubicBezTo>
                <a:cubicBezTo>
                  <a:pt x="10580396" y="3545226"/>
                  <a:pt x="10540999" y="3524368"/>
                  <a:pt x="10604151" y="3530741"/>
                </a:cubicBezTo>
                <a:cubicBezTo>
                  <a:pt x="10607047" y="3530741"/>
                  <a:pt x="10591984" y="3560290"/>
                  <a:pt x="10586190" y="3557393"/>
                </a:cubicBezTo>
                <a:cubicBezTo>
                  <a:pt x="10607047" y="3572457"/>
                  <a:pt x="10694532" y="3554496"/>
                  <a:pt x="10751890" y="3548702"/>
                </a:cubicBezTo>
                <a:cubicBezTo>
                  <a:pt x="10815042" y="3542329"/>
                  <a:pt x="10868923" y="3521471"/>
                  <a:pt x="10920487" y="3530741"/>
                </a:cubicBezTo>
                <a:cubicBezTo>
                  <a:pt x="10809248" y="3554496"/>
                  <a:pt x="10775644" y="3551599"/>
                  <a:pt x="10706699" y="3557393"/>
                </a:cubicBezTo>
                <a:cubicBezTo>
                  <a:pt x="10682366" y="3560290"/>
                  <a:pt x="10393839" y="3596791"/>
                  <a:pt x="10528832" y="3596791"/>
                </a:cubicBezTo>
                <a:cubicBezTo>
                  <a:pt x="10679469" y="3590418"/>
                  <a:pt x="10784914" y="3560290"/>
                  <a:pt x="10938448" y="3548702"/>
                </a:cubicBezTo>
                <a:cubicBezTo>
                  <a:pt x="11022457" y="3542329"/>
                  <a:pt x="11158030" y="3521471"/>
                  <a:pt x="11224657" y="3530741"/>
                </a:cubicBezTo>
                <a:cubicBezTo>
                  <a:pt x="11257681" y="3533638"/>
                  <a:pt x="11221760" y="3542329"/>
                  <a:pt x="11242618" y="3548702"/>
                </a:cubicBezTo>
                <a:cubicBezTo>
                  <a:pt x="11248412" y="3548702"/>
                  <a:pt x="11290706" y="3548702"/>
                  <a:pt x="11290706" y="3548702"/>
                </a:cubicBezTo>
                <a:cubicBezTo>
                  <a:pt x="11284912" y="3572457"/>
                  <a:pt x="11107045" y="3581727"/>
                  <a:pt x="11104148" y="3584624"/>
                </a:cubicBezTo>
                <a:cubicBezTo>
                  <a:pt x="11091981" y="3608958"/>
                  <a:pt x="11191054" y="3587521"/>
                  <a:pt x="11188157" y="3584624"/>
                </a:cubicBezTo>
                <a:cubicBezTo>
                  <a:pt x="11239721" y="3590418"/>
                  <a:pt x="11176569" y="3593894"/>
                  <a:pt x="11206117" y="3605482"/>
                </a:cubicBezTo>
                <a:cubicBezTo>
                  <a:pt x="11266372" y="3623442"/>
                  <a:pt x="11345167" y="3602585"/>
                  <a:pt x="11251308" y="3623442"/>
                </a:cubicBezTo>
                <a:cubicBezTo>
                  <a:pt x="11185260" y="3639086"/>
                  <a:pt x="11101251" y="3639086"/>
                  <a:pt x="11058957" y="3650673"/>
                </a:cubicBezTo>
                <a:cubicBezTo>
                  <a:pt x="11031727" y="3657046"/>
                  <a:pt x="11013766" y="3675007"/>
                  <a:pt x="11001599" y="3677904"/>
                </a:cubicBezTo>
                <a:cubicBezTo>
                  <a:pt x="10926281" y="3695865"/>
                  <a:pt x="10797081" y="3705135"/>
                  <a:pt x="10715969" y="3717302"/>
                </a:cubicBezTo>
                <a:cubicBezTo>
                  <a:pt x="10685842" y="3720199"/>
                  <a:pt x="10414696" y="3735263"/>
                  <a:pt x="10408323" y="3743953"/>
                </a:cubicBezTo>
                <a:cubicBezTo>
                  <a:pt x="10402529" y="3756120"/>
                  <a:pt x="10495808" y="3753223"/>
                  <a:pt x="10502181" y="3753223"/>
                </a:cubicBezTo>
                <a:cubicBezTo>
                  <a:pt x="10754787" y="3741056"/>
                  <a:pt x="11019560" y="3677904"/>
                  <a:pt x="11233348" y="3677904"/>
                </a:cubicBezTo>
                <a:cubicBezTo>
                  <a:pt x="11209594" y="3710929"/>
                  <a:pt x="11314460" y="3668634"/>
                  <a:pt x="11335897" y="3687174"/>
                </a:cubicBezTo>
                <a:cubicBezTo>
                  <a:pt x="11341690" y="3690071"/>
                  <a:pt x="11272745" y="3705135"/>
                  <a:pt x="11272745" y="3705135"/>
                </a:cubicBezTo>
                <a:cubicBezTo>
                  <a:pt x="10959305" y="3756120"/>
                  <a:pt x="10604151" y="3786248"/>
                  <a:pt x="10327211" y="3825646"/>
                </a:cubicBezTo>
                <a:cubicBezTo>
                  <a:pt x="10390363" y="3852297"/>
                  <a:pt x="10468578" y="3792042"/>
                  <a:pt x="10547372" y="3816376"/>
                </a:cubicBezTo>
                <a:cubicBezTo>
                  <a:pt x="10571126" y="3825646"/>
                  <a:pt x="10525935" y="3825646"/>
                  <a:pt x="10520142" y="3825646"/>
                </a:cubicBezTo>
                <a:cubicBezTo>
                  <a:pt x="10369505" y="3849400"/>
                  <a:pt x="10589087" y="3834337"/>
                  <a:pt x="10613420" y="3837233"/>
                </a:cubicBezTo>
                <a:cubicBezTo>
                  <a:pt x="10667302" y="3840710"/>
                  <a:pt x="10775644" y="3831440"/>
                  <a:pt x="10827209" y="3837233"/>
                </a:cubicBezTo>
                <a:cubicBezTo>
                  <a:pt x="10902527" y="3840710"/>
                  <a:pt x="10850963" y="3837233"/>
                  <a:pt x="10817939" y="3846504"/>
                </a:cubicBezTo>
                <a:cubicBezTo>
                  <a:pt x="10694532" y="3870838"/>
                  <a:pt x="10420490" y="3891695"/>
                  <a:pt x="10315044" y="3900386"/>
                </a:cubicBezTo>
                <a:cubicBezTo>
                  <a:pt x="10125590" y="3916029"/>
                  <a:pt x="10450617" y="3909656"/>
                  <a:pt x="10456990" y="3909656"/>
                </a:cubicBezTo>
                <a:cubicBezTo>
                  <a:pt x="10547372" y="3916029"/>
                  <a:pt x="10556063" y="3906759"/>
                  <a:pt x="10688739" y="3900386"/>
                </a:cubicBezTo>
                <a:cubicBezTo>
                  <a:pt x="10805772" y="3897489"/>
                  <a:pt x="10727557" y="3906759"/>
                  <a:pt x="10706699" y="3909656"/>
                </a:cubicBezTo>
                <a:cubicBezTo>
                  <a:pt x="10682366" y="3916029"/>
                  <a:pt x="10543896" y="3931093"/>
                  <a:pt x="10595460" y="3936887"/>
                </a:cubicBezTo>
                <a:cubicBezTo>
                  <a:pt x="10670778" y="3949054"/>
                  <a:pt x="10769851" y="3916029"/>
                  <a:pt x="10827209" y="3909656"/>
                </a:cubicBezTo>
                <a:cubicBezTo>
                  <a:pt x="10878193" y="3906759"/>
                  <a:pt x="10956408" y="3888798"/>
                  <a:pt x="11001599" y="3900386"/>
                </a:cubicBezTo>
                <a:cubicBezTo>
                  <a:pt x="10992329" y="3897489"/>
                  <a:pt x="10935551" y="3931093"/>
                  <a:pt x="10938448" y="3918926"/>
                </a:cubicBezTo>
                <a:cubicBezTo>
                  <a:pt x="10935551" y="3936887"/>
                  <a:pt x="10974369" y="3931093"/>
                  <a:pt x="11001599" y="3927617"/>
                </a:cubicBezTo>
                <a:cubicBezTo>
                  <a:pt x="11056060" y="3927617"/>
                  <a:pt x="11272745" y="3909656"/>
                  <a:pt x="11188157" y="3936887"/>
                </a:cubicBezTo>
                <a:cubicBezTo>
                  <a:pt x="11040997" y="3984975"/>
                  <a:pt x="11333000" y="3927617"/>
                  <a:pt x="11345167" y="3936887"/>
                </a:cubicBezTo>
                <a:cubicBezTo>
                  <a:pt x="11371818" y="3967015"/>
                  <a:pt x="11275642" y="3972808"/>
                  <a:pt x="11290706" y="3967015"/>
                </a:cubicBezTo>
                <a:cubicBezTo>
                  <a:pt x="11260578" y="3979182"/>
                  <a:pt x="11239721" y="4000039"/>
                  <a:pt x="11233348" y="4002936"/>
                </a:cubicBezTo>
                <a:cubicBezTo>
                  <a:pt x="11125005" y="4035961"/>
                  <a:pt x="10986536" y="4039437"/>
                  <a:pt x="10845169" y="4057398"/>
                </a:cubicBezTo>
                <a:cubicBezTo>
                  <a:pt x="10721763" y="4075359"/>
                  <a:pt x="10595460" y="4105486"/>
                  <a:pt x="10465681" y="4123447"/>
                </a:cubicBezTo>
                <a:cubicBezTo>
                  <a:pt x="10074605" y="4177330"/>
                  <a:pt x="9490599" y="4165742"/>
                  <a:pt x="8999871" y="4141408"/>
                </a:cubicBezTo>
                <a:cubicBezTo>
                  <a:pt x="8855028" y="4135614"/>
                  <a:pt x="8776813" y="4147781"/>
                  <a:pt x="8647613" y="4141408"/>
                </a:cubicBezTo>
                <a:cubicBezTo>
                  <a:pt x="8524207" y="4138511"/>
                  <a:pt x="8412389" y="4111280"/>
                  <a:pt x="8295355" y="4096216"/>
                </a:cubicBezTo>
                <a:cubicBezTo>
                  <a:pt x="8222934" y="4087526"/>
                  <a:pt x="7966852" y="4053922"/>
                  <a:pt x="8081567" y="4087526"/>
                </a:cubicBezTo>
                <a:cubicBezTo>
                  <a:pt x="8012043" y="4075359"/>
                  <a:pt x="8051441" y="4114177"/>
                  <a:pt x="8081567" y="4087526"/>
                </a:cubicBezTo>
                <a:cubicBezTo>
                  <a:pt x="8144719" y="4090423"/>
                  <a:pt x="8195703" y="4099113"/>
                  <a:pt x="8286085" y="4114177"/>
                </a:cubicBezTo>
                <a:cubicBezTo>
                  <a:pt x="8373571" y="4126344"/>
                  <a:pt x="8527104" y="4159369"/>
                  <a:pt x="8433825" y="4150678"/>
                </a:cubicBezTo>
                <a:cubicBezTo>
                  <a:pt x="8415865" y="4150678"/>
                  <a:pt x="8319110" y="4123447"/>
                  <a:pt x="8295355" y="4132717"/>
                </a:cubicBezTo>
                <a:cubicBezTo>
                  <a:pt x="8295355" y="4111280"/>
                  <a:pt x="8255959" y="4129241"/>
                  <a:pt x="8240895" y="4123447"/>
                </a:cubicBezTo>
                <a:cubicBezTo>
                  <a:pt x="8237998" y="4102590"/>
                  <a:pt x="8202077" y="4120550"/>
                  <a:pt x="8183537" y="4114177"/>
                </a:cubicBezTo>
                <a:cubicBezTo>
                  <a:pt x="8183537" y="4093319"/>
                  <a:pt x="8144719" y="4111280"/>
                  <a:pt x="8129655" y="4105486"/>
                </a:cubicBezTo>
                <a:cubicBezTo>
                  <a:pt x="8108219" y="4075359"/>
                  <a:pt x="8069401" y="4114177"/>
                  <a:pt x="8129655" y="4105486"/>
                </a:cubicBezTo>
                <a:cubicBezTo>
                  <a:pt x="8129655" y="4126344"/>
                  <a:pt x="8168473" y="4108383"/>
                  <a:pt x="8183537" y="4114177"/>
                </a:cubicBezTo>
                <a:cubicBezTo>
                  <a:pt x="8187013" y="4135614"/>
                  <a:pt x="8222934" y="4117653"/>
                  <a:pt x="8240895" y="4123447"/>
                </a:cubicBezTo>
                <a:cubicBezTo>
                  <a:pt x="8240895" y="4144305"/>
                  <a:pt x="8280292" y="4126344"/>
                  <a:pt x="8295355" y="4132717"/>
                </a:cubicBezTo>
                <a:cubicBezTo>
                  <a:pt x="8433825" y="4153575"/>
                  <a:pt x="8608216" y="4195870"/>
                  <a:pt x="8740892" y="4208037"/>
                </a:cubicBezTo>
                <a:cubicBezTo>
                  <a:pt x="9123277" y="4237585"/>
                  <a:pt x="9532314" y="4228894"/>
                  <a:pt x="9890944" y="4243958"/>
                </a:cubicBezTo>
                <a:cubicBezTo>
                  <a:pt x="9977850" y="4246855"/>
                  <a:pt x="10071129" y="4259022"/>
                  <a:pt x="10140653" y="4252649"/>
                </a:cubicBezTo>
                <a:cubicBezTo>
                  <a:pt x="10152820" y="4252649"/>
                  <a:pt x="10167884" y="4234688"/>
                  <a:pt x="10185844" y="4234688"/>
                </a:cubicBezTo>
                <a:cubicBezTo>
                  <a:pt x="10200908" y="4234688"/>
                  <a:pt x="10354441" y="4256125"/>
                  <a:pt x="10354441" y="4261919"/>
                </a:cubicBezTo>
                <a:cubicBezTo>
                  <a:pt x="10354441" y="4286253"/>
                  <a:pt x="10155717" y="4279880"/>
                  <a:pt x="10158614" y="4279880"/>
                </a:cubicBezTo>
                <a:cubicBezTo>
                  <a:pt x="9947723" y="4292047"/>
                  <a:pt x="9448305" y="4292047"/>
                  <a:pt x="9213659" y="4279880"/>
                </a:cubicBezTo>
                <a:cubicBezTo>
                  <a:pt x="8794774" y="4261919"/>
                  <a:pt x="8476119" y="4264816"/>
                  <a:pt x="8111695" y="4198767"/>
                </a:cubicBezTo>
                <a:cubicBezTo>
                  <a:pt x="7970329" y="4171536"/>
                  <a:pt x="7813319" y="4141408"/>
                  <a:pt x="7674849" y="4105486"/>
                </a:cubicBezTo>
                <a:cubicBezTo>
                  <a:pt x="7430934" y="4039437"/>
                  <a:pt x="7160367" y="3927617"/>
                  <a:pt x="6961643" y="3837233"/>
                </a:cubicBezTo>
                <a:cubicBezTo>
                  <a:pt x="6844031" y="3783351"/>
                  <a:pt x="6979603" y="3867361"/>
                  <a:pt x="7006834" y="3882425"/>
                </a:cubicBezTo>
                <a:cubicBezTo>
                  <a:pt x="7277400" y="4024373"/>
                  <a:pt x="7563610" y="4081152"/>
                  <a:pt x="7879947" y="4189496"/>
                </a:cubicBezTo>
                <a:cubicBezTo>
                  <a:pt x="7973225" y="4219624"/>
                  <a:pt x="7783191" y="4186600"/>
                  <a:pt x="7711349" y="4168639"/>
                </a:cubicBezTo>
                <a:cubicBezTo>
                  <a:pt x="7253646" y="4063192"/>
                  <a:pt x="6886325" y="3888798"/>
                  <a:pt x="6569988" y="3687174"/>
                </a:cubicBezTo>
                <a:cubicBezTo>
                  <a:pt x="6290152" y="3509304"/>
                  <a:pt x="6022482" y="3304783"/>
                  <a:pt x="5736272" y="3133287"/>
                </a:cubicBezTo>
                <a:cubicBezTo>
                  <a:pt x="5634303" y="3069555"/>
                  <a:pt x="5538127" y="2994815"/>
                  <a:pt x="5441952" y="2955417"/>
                </a:cubicBezTo>
                <a:cubicBezTo>
                  <a:pt x="5381697" y="2931663"/>
                  <a:pt x="5318546" y="2931663"/>
                  <a:pt x="5254815" y="2910226"/>
                </a:cubicBezTo>
                <a:cubicBezTo>
                  <a:pt x="5173703" y="2880098"/>
                  <a:pt x="5101281" y="2823319"/>
                  <a:pt x="5023066" y="2789715"/>
                </a:cubicBezTo>
                <a:cubicBezTo>
                  <a:pt x="4785524" y="2687744"/>
                  <a:pt x="4523648" y="2591567"/>
                  <a:pt x="4261772" y="2527835"/>
                </a:cubicBezTo>
                <a:cubicBezTo>
                  <a:pt x="4267566" y="2534208"/>
                  <a:pt x="4240336" y="2542899"/>
                  <a:pt x="4234542" y="2537105"/>
                </a:cubicBezTo>
                <a:cubicBezTo>
                  <a:pt x="4231645" y="2534208"/>
                  <a:pt x="4249606" y="2527835"/>
                  <a:pt x="4258296" y="2527835"/>
                </a:cubicBezTo>
                <a:cubicBezTo>
                  <a:pt x="4249606" y="2524938"/>
                  <a:pt x="4237439" y="2522041"/>
                  <a:pt x="4225272" y="2519144"/>
                </a:cubicBezTo>
                <a:cubicBezTo>
                  <a:pt x="4222375" y="2506977"/>
                  <a:pt x="4201518" y="2512771"/>
                  <a:pt x="4189351" y="2509874"/>
                </a:cubicBezTo>
                <a:cubicBezTo>
                  <a:pt x="4177184" y="2482643"/>
                  <a:pt x="4141263" y="2522041"/>
                  <a:pt x="4189351" y="2509874"/>
                </a:cubicBezTo>
                <a:cubicBezTo>
                  <a:pt x="4189351" y="2512771"/>
                  <a:pt x="4189351" y="2516247"/>
                  <a:pt x="4189351" y="2519144"/>
                </a:cubicBezTo>
                <a:cubicBezTo>
                  <a:pt x="4159224" y="2519144"/>
                  <a:pt x="4131994" y="2516247"/>
                  <a:pt x="4114033" y="2501183"/>
                </a:cubicBezTo>
                <a:cubicBezTo>
                  <a:pt x="4165017" y="2509874"/>
                  <a:pt x="4126199" y="2473952"/>
                  <a:pt x="4114033" y="2501183"/>
                </a:cubicBezTo>
                <a:cubicBezTo>
                  <a:pt x="4032921" y="2509874"/>
                  <a:pt x="4147057" y="2473952"/>
                  <a:pt x="4068842" y="2482643"/>
                </a:cubicBezTo>
                <a:cubicBezTo>
                  <a:pt x="3993523" y="2491913"/>
                  <a:pt x="4098969" y="2479746"/>
                  <a:pt x="4020754" y="2473952"/>
                </a:cubicBezTo>
                <a:cubicBezTo>
                  <a:pt x="4002793" y="2455992"/>
                  <a:pt x="3978460" y="2464682"/>
                  <a:pt x="3984833" y="2471056"/>
                </a:cubicBezTo>
                <a:cubicBezTo>
                  <a:pt x="3779735" y="2464682"/>
                  <a:pt x="3578114" y="2410800"/>
                  <a:pt x="3364326" y="2389363"/>
                </a:cubicBezTo>
                <a:cubicBezTo>
                  <a:pt x="3220063" y="2377775"/>
                  <a:pt x="3072323" y="2377775"/>
                  <a:pt x="2918789" y="2371402"/>
                </a:cubicBezTo>
                <a:cubicBezTo>
                  <a:pt x="2662707" y="2362712"/>
                  <a:pt x="2397935" y="2320417"/>
                  <a:pt x="2130265" y="2344171"/>
                </a:cubicBezTo>
                <a:cubicBezTo>
                  <a:pt x="1561322" y="2392839"/>
                  <a:pt x="973840" y="2398633"/>
                  <a:pt x="516716" y="2567233"/>
                </a:cubicBezTo>
                <a:cubicBezTo>
                  <a:pt x="381143" y="2615321"/>
                  <a:pt x="278594" y="2675577"/>
                  <a:pt x="230506" y="2669783"/>
                </a:cubicBezTo>
                <a:cubicBezTo>
                  <a:pt x="176045" y="2660513"/>
                  <a:pt x="221236" y="2636179"/>
                  <a:pt x="194585" y="2621115"/>
                </a:cubicBezTo>
                <a:cubicBezTo>
                  <a:pt x="185315" y="2618218"/>
                  <a:pt x="155188" y="2636179"/>
                  <a:pt x="127958" y="2630385"/>
                </a:cubicBezTo>
                <a:cubicBezTo>
                  <a:pt x="97830" y="2624591"/>
                  <a:pt x="67703" y="2591567"/>
                  <a:pt x="25988" y="2585193"/>
                </a:cubicBezTo>
                <a:cubicBezTo>
                  <a:pt x="-64394" y="2573026"/>
                  <a:pt x="109997" y="2527835"/>
                  <a:pt x="109997" y="2527835"/>
                </a:cubicBezTo>
                <a:cubicBezTo>
                  <a:pt x="112894" y="2504080"/>
                  <a:pt x="19615" y="2516247"/>
                  <a:pt x="34679" y="2473952"/>
                </a:cubicBezTo>
                <a:cubicBezTo>
                  <a:pt x="31782" y="2486119"/>
                  <a:pt x="170252" y="2419491"/>
                  <a:pt x="155188" y="2425864"/>
                </a:cubicBezTo>
                <a:cubicBezTo>
                  <a:pt x="227609" y="2392839"/>
                  <a:pt x="89140" y="2443825"/>
                  <a:pt x="82767" y="2438031"/>
                </a:cubicBezTo>
                <a:cubicBezTo>
                  <a:pt x="79870" y="2434555"/>
                  <a:pt x="109997" y="2407324"/>
                  <a:pt x="109997" y="2407324"/>
                </a:cubicBezTo>
                <a:cubicBezTo>
                  <a:pt x="130854" y="2398633"/>
                  <a:pt x="143021" y="2395736"/>
                  <a:pt x="145918" y="2395736"/>
                </a:cubicBezTo>
                <a:cubicBezTo>
                  <a:pt x="143021" y="2395736"/>
                  <a:pt x="125061" y="2395736"/>
                  <a:pt x="100727" y="2389363"/>
                </a:cubicBezTo>
                <a:cubicBezTo>
                  <a:pt x="-10512" y="2362712"/>
                  <a:pt x="167355" y="2296083"/>
                  <a:pt x="164458" y="2287392"/>
                </a:cubicBezTo>
                <a:cubicBezTo>
                  <a:pt x="155188" y="2247994"/>
                  <a:pt x="92036" y="2287392"/>
                  <a:pt x="92036" y="2260161"/>
                </a:cubicBezTo>
                <a:cubicBezTo>
                  <a:pt x="89140" y="2214970"/>
                  <a:pt x="152291" y="2224240"/>
                  <a:pt x="191109" y="2187739"/>
                </a:cubicBezTo>
                <a:cubicBezTo>
                  <a:pt x="182418" y="2190636"/>
                  <a:pt x="209649" y="2146023"/>
                  <a:pt x="212546" y="2154714"/>
                </a:cubicBezTo>
                <a:cubicBezTo>
                  <a:pt x="209649" y="2128063"/>
                  <a:pt x="182418" y="2146023"/>
                  <a:pt x="194585" y="2122269"/>
                </a:cubicBezTo>
                <a:cubicBezTo>
                  <a:pt x="194585" y="2119372"/>
                  <a:pt x="230506" y="2125166"/>
                  <a:pt x="230506" y="2122269"/>
                </a:cubicBezTo>
                <a:cubicBezTo>
                  <a:pt x="236300" y="2092141"/>
                  <a:pt x="212546" y="2095038"/>
                  <a:pt x="212546" y="2074180"/>
                </a:cubicBezTo>
                <a:cubicBezTo>
                  <a:pt x="206173" y="2004655"/>
                  <a:pt x="260634" y="2028989"/>
                  <a:pt x="293658" y="2019719"/>
                </a:cubicBezTo>
                <a:cubicBezTo>
                  <a:pt x="299452" y="2019719"/>
                  <a:pt x="317991" y="2001758"/>
                  <a:pt x="323785" y="2001758"/>
                </a:cubicBezTo>
                <a:cubicBezTo>
                  <a:pt x="422858" y="1962939"/>
                  <a:pt x="299452" y="2001758"/>
                  <a:pt x="284388" y="2001758"/>
                </a:cubicBezTo>
                <a:cubicBezTo>
                  <a:pt x="266427" y="2001758"/>
                  <a:pt x="185315" y="1993067"/>
                  <a:pt x="212546" y="1953669"/>
                </a:cubicBezTo>
                <a:cubicBezTo>
                  <a:pt x="227609" y="1929335"/>
                  <a:pt x="302928" y="1968733"/>
                  <a:pt x="323785" y="1935709"/>
                </a:cubicBezTo>
                <a:cubicBezTo>
                  <a:pt x="333055" y="1917748"/>
                  <a:pt x="266427" y="1935709"/>
                  <a:pt x="257737" y="1926438"/>
                </a:cubicBezTo>
                <a:cubicBezTo>
                  <a:pt x="260634" y="1929335"/>
                  <a:pt x="263530" y="1872556"/>
                  <a:pt x="257737" y="1890517"/>
                </a:cubicBezTo>
                <a:cubicBezTo>
                  <a:pt x="278594" y="1805927"/>
                  <a:pt x="411270" y="1760736"/>
                  <a:pt x="555534" y="1712647"/>
                </a:cubicBezTo>
                <a:cubicBezTo>
                  <a:pt x="847537" y="1616470"/>
                  <a:pt x="1284383" y="1562588"/>
                  <a:pt x="1612307" y="1538254"/>
                </a:cubicBezTo>
                <a:cubicBezTo>
                  <a:pt x="2461086" y="1475102"/>
                  <a:pt x="3436747" y="1511023"/>
                  <a:pt x="4156327" y="1667456"/>
                </a:cubicBezTo>
                <a:cubicBezTo>
                  <a:pt x="3665599" y="1556215"/>
                  <a:pt x="3171975" y="1468728"/>
                  <a:pt x="2641850" y="1444974"/>
                </a:cubicBezTo>
                <a:cubicBezTo>
                  <a:pt x="2485420" y="1439180"/>
                  <a:pt x="2316823" y="1439180"/>
                  <a:pt x="2148226" y="1444974"/>
                </a:cubicBezTo>
                <a:cubicBezTo>
                  <a:pt x="2112304" y="1447871"/>
                  <a:pt x="1892143" y="1460038"/>
                  <a:pt x="1991795" y="1444974"/>
                </a:cubicBezTo>
                <a:cubicBezTo>
                  <a:pt x="2145329" y="1420640"/>
                  <a:pt x="2331886" y="1417743"/>
                  <a:pt x="2491214" y="1417743"/>
                </a:cubicBezTo>
                <a:cubicBezTo>
                  <a:pt x="2557841" y="1417743"/>
                  <a:pt x="2707898" y="1414846"/>
                  <a:pt x="2593762" y="1399782"/>
                </a:cubicBezTo>
                <a:cubicBezTo>
                  <a:pt x="2446023" y="1378924"/>
                  <a:pt x="2235711" y="1409052"/>
                  <a:pt x="2057843" y="1417743"/>
                </a:cubicBezTo>
                <a:cubicBezTo>
                  <a:pt x="1859119" y="1427013"/>
                  <a:pt x="1678355" y="1429910"/>
                  <a:pt x="1509758" y="1444974"/>
                </a:cubicBezTo>
                <a:cubicBezTo>
                  <a:pt x="1157500" y="1475102"/>
                  <a:pt x="898522" y="1535357"/>
                  <a:pt x="627955" y="1610676"/>
                </a:cubicBezTo>
                <a:cubicBezTo>
                  <a:pt x="594931" y="1622264"/>
                  <a:pt x="344642" y="1694686"/>
                  <a:pt x="480215" y="1640804"/>
                </a:cubicBezTo>
                <a:cubicBezTo>
                  <a:pt x="540470" y="1616470"/>
                  <a:pt x="600724" y="1604303"/>
                  <a:pt x="660979" y="1586342"/>
                </a:cubicBezTo>
                <a:cubicBezTo>
                  <a:pt x="676043" y="1580549"/>
                  <a:pt x="793655" y="1544048"/>
                  <a:pt x="917061" y="1520293"/>
                </a:cubicBezTo>
                <a:cubicBezTo>
                  <a:pt x="1097246" y="1480895"/>
                  <a:pt x="1332471" y="1444974"/>
                  <a:pt x="1473837" y="1435704"/>
                </a:cubicBezTo>
                <a:cubicBezTo>
                  <a:pt x="1925168" y="1405576"/>
                  <a:pt x="2440229" y="1372551"/>
                  <a:pt x="2852741" y="1369654"/>
                </a:cubicBezTo>
                <a:cubicBezTo>
                  <a:pt x="2903726" y="1369654"/>
                  <a:pt x="3081593" y="1376028"/>
                  <a:pt x="3012068" y="1360384"/>
                </a:cubicBezTo>
                <a:cubicBezTo>
                  <a:pt x="2912996" y="1342424"/>
                  <a:pt x="2707898" y="1342424"/>
                  <a:pt x="2632580" y="1333733"/>
                </a:cubicBezTo>
                <a:cubicBezTo>
                  <a:pt x="2554365" y="1327360"/>
                  <a:pt x="2364911" y="1333733"/>
                  <a:pt x="2491214" y="1324463"/>
                </a:cubicBezTo>
                <a:cubicBezTo>
                  <a:pt x="2722962" y="1309399"/>
                  <a:pt x="2958187" y="1330836"/>
                  <a:pt x="3159808" y="1342424"/>
                </a:cubicBezTo>
                <a:cubicBezTo>
                  <a:pt x="3945435" y="1390512"/>
                  <a:pt x="4695142" y="1604303"/>
                  <a:pt x="5321443" y="1881247"/>
                </a:cubicBezTo>
                <a:cubicBezTo>
                  <a:pt x="5321443" y="1890517"/>
                  <a:pt x="5330133" y="1887620"/>
                  <a:pt x="5339403" y="1890517"/>
                </a:cubicBezTo>
                <a:cubicBezTo>
                  <a:pt x="5339403" y="1917748"/>
                  <a:pt x="5378221" y="1881247"/>
                  <a:pt x="5339403" y="1890517"/>
                </a:cubicBezTo>
                <a:cubicBezTo>
                  <a:pt x="5339403" y="1881247"/>
                  <a:pt x="5327236" y="1881247"/>
                  <a:pt x="5321443" y="1881247"/>
                </a:cubicBezTo>
                <a:cubicBezTo>
                  <a:pt x="4908930" y="1676726"/>
                  <a:pt x="4436164" y="1511023"/>
                  <a:pt x="3909514" y="1409052"/>
                </a:cubicBezTo>
                <a:cubicBezTo>
                  <a:pt x="3824926" y="1390512"/>
                  <a:pt x="3565947" y="1348797"/>
                  <a:pt x="3734544" y="1369654"/>
                </a:cubicBezTo>
                <a:cubicBezTo>
                  <a:pt x="3852157" y="1384718"/>
                  <a:pt x="3809863" y="1357487"/>
                  <a:pt x="3752505" y="1342424"/>
                </a:cubicBezTo>
                <a:cubicBezTo>
                  <a:pt x="3686456" y="1324463"/>
                  <a:pt x="3626202" y="1321566"/>
                  <a:pt x="3572320" y="1315772"/>
                </a:cubicBezTo>
                <a:cubicBezTo>
                  <a:pt x="3578114" y="1312296"/>
                  <a:pt x="3481939" y="1285644"/>
                  <a:pt x="3466875" y="1294335"/>
                </a:cubicBezTo>
                <a:cubicBezTo>
                  <a:pt x="3479041" y="1279271"/>
                  <a:pt x="3545090" y="1285644"/>
                  <a:pt x="3557257" y="1288541"/>
                </a:cubicBezTo>
                <a:cubicBezTo>
                  <a:pt x="3689353" y="1294335"/>
                  <a:pt x="3837093" y="1321566"/>
                  <a:pt x="3975563" y="1342424"/>
                </a:cubicBezTo>
                <a:cubicBezTo>
                  <a:pt x="4378805" y="1409052"/>
                  <a:pt x="4749024" y="1535357"/>
                  <a:pt x="5077527" y="1658765"/>
                </a:cubicBezTo>
                <a:cubicBezTo>
                  <a:pt x="5080424" y="1685996"/>
                  <a:pt x="5116345" y="1649495"/>
                  <a:pt x="5077527" y="1658765"/>
                </a:cubicBezTo>
                <a:cubicBezTo>
                  <a:pt x="5011479" y="1604303"/>
                  <a:pt x="4921097" y="1577072"/>
                  <a:pt x="4836509" y="1547524"/>
                </a:cubicBezTo>
                <a:cubicBezTo>
                  <a:pt x="4484251" y="1414846"/>
                  <a:pt x="4063048" y="1333733"/>
                  <a:pt x="3698623" y="1249143"/>
                </a:cubicBezTo>
                <a:cubicBezTo>
                  <a:pt x="3864323" y="1261310"/>
                  <a:pt x="4014961" y="1288541"/>
                  <a:pt x="4153430" y="1315772"/>
                </a:cubicBezTo>
                <a:cubicBezTo>
                  <a:pt x="4162120" y="1318669"/>
                  <a:pt x="4367218" y="1360384"/>
                  <a:pt x="4273939" y="1333733"/>
                </a:cubicBezTo>
                <a:cubicBezTo>
                  <a:pt x="4225272" y="1321566"/>
                  <a:pt x="4249606" y="1324463"/>
                  <a:pt x="4162120" y="1306502"/>
                </a:cubicBezTo>
                <a:cubicBezTo>
                  <a:pt x="4086802" y="1291438"/>
                  <a:pt x="4011484" y="1279271"/>
                  <a:pt x="3957602" y="1258413"/>
                </a:cubicBezTo>
                <a:cubicBezTo>
                  <a:pt x="3801172" y="1203952"/>
                  <a:pt x="4071738" y="1236976"/>
                  <a:pt x="4078111" y="1231183"/>
                </a:cubicBezTo>
                <a:cubicBezTo>
                  <a:pt x="4075215" y="1234079"/>
                  <a:pt x="3870117" y="1180197"/>
                  <a:pt x="3864323" y="1177300"/>
                </a:cubicBezTo>
                <a:cubicBezTo>
                  <a:pt x="4189351" y="1203952"/>
                  <a:pt x="4445433" y="1297232"/>
                  <a:pt x="4725269" y="1369654"/>
                </a:cubicBezTo>
                <a:cubicBezTo>
                  <a:pt x="4728166" y="1399782"/>
                  <a:pt x="4764087" y="1360384"/>
                  <a:pt x="4725269" y="1369654"/>
                </a:cubicBezTo>
                <a:cubicBezTo>
                  <a:pt x="4475561" y="1279271"/>
                  <a:pt x="4285527" y="1221912"/>
                  <a:pt x="4002793" y="1168030"/>
                </a:cubicBezTo>
                <a:cubicBezTo>
                  <a:pt x="3822029" y="1132109"/>
                  <a:pt x="3809863" y="1135005"/>
                  <a:pt x="3614615" y="1092711"/>
                </a:cubicBezTo>
                <a:cubicBezTo>
                  <a:pt x="3590281" y="1086917"/>
                  <a:pt x="3210793" y="1038828"/>
                  <a:pt x="3204999" y="1026661"/>
                </a:cubicBezTo>
                <a:cubicBezTo>
                  <a:pt x="3204999" y="1020288"/>
                  <a:pt x="3240920" y="1008701"/>
                  <a:pt x="3243817" y="1008701"/>
                </a:cubicBezTo>
                <a:cubicBezTo>
                  <a:pt x="3298278" y="1005224"/>
                  <a:pt x="3340572" y="1014494"/>
                  <a:pt x="3409517" y="1017391"/>
                </a:cubicBezTo>
                <a:cubicBezTo>
                  <a:pt x="3617511" y="1032455"/>
                  <a:pt x="3791902" y="1047519"/>
                  <a:pt x="3984833" y="1074750"/>
                </a:cubicBezTo>
                <a:cubicBezTo>
                  <a:pt x="3993523" y="1074750"/>
                  <a:pt x="4089699" y="1099084"/>
                  <a:pt x="4105342" y="1083441"/>
                </a:cubicBezTo>
                <a:cubicBezTo>
                  <a:pt x="4111136" y="1077647"/>
                  <a:pt x="3987730" y="1056789"/>
                  <a:pt x="3957602" y="1047519"/>
                </a:cubicBezTo>
                <a:cubicBezTo>
                  <a:pt x="3809863" y="1005224"/>
                  <a:pt x="4083905" y="1035352"/>
                  <a:pt x="4131994" y="1047519"/>
                </a:cubicBezTo>
                <a:cubicBezTo>
                  <a:pt x="4216581" y="1062583"/>
                  <a:pt x="4403139" y="1107775"/>
                  <a:pt x="4318551" y="1074750"/>
                </a:cubicBezTo>
                <a:cubicBezTo>
                  <a:pt x="4180081" y="1020288"/>
                  <a:pt x="4045087" y="1014494"/>
                  <a:pt x="3909514" y="972200"/>
                </a:cubicBezTo>
                <a:cubicBezTo>
                  <a:pt x="3806966" y="939175"/>
                  <a:pt x="3933269" y="948445"/>
                  <a:pt x="3984833" y="954239"/>
                </a:cubicBezTo>
                <a:cubicBezTo>
                  <a:pt x="4114033" y="966406"/>
                  <a:pt x="4159224" y="966406"/>
                  <a:pt x="4282630" y="990160"/>
                </a:cubicBezTo>
                <a:cubicBezTo>
                  <a:pt x="4330718" y="999431"/>
                  <a:pt x="4511481" y="1050416"/>
                  <a:pt x="4403139" y="1008701"/>
                </a:cubicBezTo>
                <a:cubicBezTo>
                  <a:pt x="4363742" y="993637"/>
                  <a:pt x="4294796" y="981470"/>
                  <a:pt x="4261772" y="972200"/>
                </a:cubicBezTo>
                <a:cubicBezTo>
                  <a:pt x="4174287" y="948445"/>
                  <a:pt x="4089699" y="911944"/>
                  <a:pt x="4030024" y="896880"/>
                </a:cubicBezTo>
                <a:cubicBezTo>
                  <a:pt x="3957602" y="878920"/>
                  <a:pt x="3842887" y="873126"/>
                  <a:pt x="3771045" y="851689"/>
                </a:cubicBezTo>
                <a:cubicBezTo>
                  <a:pt x="3659805" y="815767"/>
                  <a:pt x="3857950" y="833728"/>
                  <a:pt x="3864323" y="815767"/>
                </a:cubicBezTo>
                <a:cubicBezTo>
                  <a:pt x="3865772" y="809684"/>
                  <a:pt x="3852881" y="806642"/>
                  <a:pt x="3839266" y="805483"/>
                </a:cubicBezTo>
                <a:lnTo>
                  <a:pt x="3821642" y="805052"/>
                </a:lnTo>
                <a:lnTo>
                  <a:pt x="3848545" y="801753"/>
                </a:lnTo>
                <a:cubicBezTo>
                  <a:pt x="3884203" y="800558"/>
                  <a:pt x="3914729" y="808815"/>
                  <a:pt x="3975563" y="815767"/>
                </a:cubicBezTo>
                <a:cubicBezTo>
                  <a:pt x="3996420" y="842998"/>
                  <a:pt x="4035817" y="803600"/>
                  <a:pt x="3975563" y="815767"/>
                </a:cubicBezTo>
                <a:cubicBezTo>
                  <a:pt x="3954705" y="797806"/>
                  <a:pt x="3852157" y="785639"/>
                  <a:pt x="3939642" y="785639"/>
                </a:cubicBezTo>
                <a:cubicBezTo>
                  <a:pt x="4017857" y="785639"/>
                  <a:pt x="4180081" y="833728"/>
                  <a:pt x="4225272" y="833728"/>
                </a:cubicBezTo>
                <a:cubicBezTo>
                  <a:pt x="4246709" y="848792"/>
                  <a:pt x="4273939" y="851689"/>
                  <a:pt x="4309860" y="851689"/>
                </a:cubicBezTo>
                <a:cubicBezTo>
                  <a:pt x="4322027" y="878920"/>
                  <a:pt x="4357948" y="842998"/>
                  <a:pt x="4309860" y="851689"/>
                </a:cubicBezTo>
                <a:cubicBezTo>
                  <a:pt x="4288424" y="836625"/>
                  <a:pt x="4261772" y="833728"/>
                  <a:pt x="4225272" y="833728"/>
                </a:cubicBezTo>
                <a:cubicBezTo>
                  <a:pt x="4126199" y="788536"/>
                  <a:pt x="3993523" y="779845"/>
                  <a:pt x="3882284" y="749718"/>
                </a:cubicBezTo>
                <a:cubicBezTo>
                  <a:pt x="4225272" y="755512"/>
                  <a:pt x="4466290" y="827934"/>
                  <a:pt x="4755397" y="914841"/>
                </a:cubicBezTo>
                <a:cubicBezTo>
                  <a:pt x="4969185" y="984367"/>
                  <a:pt x="5185870" y="1077647"/>
                  <a:pt x="5375324" y="1158760"/>
                </a:cubicBezTo>
                <a:cubicBezTo>
                  <a:pt x="5703248" y="1294335"/>
                  <a:pt x="5934997" y="1454244"/>
                  <a:pt x="6199770" y="1622264"/>
                </a:cubicBezTo>
                <a:cubicBezTo>
                  <a:pt x="6242064" y="1646598"/>
                  <a:pt x="6437891" y="1797237"/>
                  <a:pt x="6468019" y="1787967"/>
                </a:cubicBezTo>
                <a:cubicBezTo>
                  <a:pt x="6485979" y="1782173"/>
                  <a:pt x="6468019" y="1775800"/>
                  <a:pt x="6458749" y="1770006"/>
                </a:cubicBezTo>
                <a:cubicBezTo>
                  <a:pt x="6398494" y="1712647"/>
                  <a:pt x="6277985" y="1640804"/>
                  <a:pt x="6236270" y="1610676"/>
                </a:cubicBezTo>
                <a:cubicBezTo>
                  <a:pt x="5955854" y="1424116"/>
                  <a:pt x="5730479" y="1273477"/>
                  <a:pt x="5420515" y="1119942"/>
                </a:cubicBezTo>
                <a:cubicBezTo>
                  <a:pt x="5050297" y="936278"/>
                  <a:pt x="4665015" y="800703"/>
                  <a:pt x="4234542" y="686565"/>
                </a:cubicBezTo>
                <a:cubicBezTo>
                  <a:pt x="4207311" y="677295"/>
                  <a:pt x="4162120" y="674398"/>
                  <a:pt x="4141263" y="665128"/>
                </a:cubicBezTo>
                <a:cubicBezTo>
                  <a:pt x="4141263" y="665128"/>
                  <a:pt x="4225272" y="662231"/>
                  <a:pt x="4162120" y="647167"/>
                </a:cubicBezTo>
                <a:cubicBezTo>
                  <a:pt x="4093176" y="632104"/>
                  <a:pt x="3939642" y="604873"/>
                  <a:pt x="3909514" y="593285"/>
                </a:cubicBezTo>
                <a:cubicBezTo>
                  <a:pt x="4297693" y="641374"/>
                  <a:pt x="4629094" y="746821"/>
                  <a:pt x="4957018" y="851689"/>
                </a:cubicBezTo>
                <a:cubicBezTo>
                  <a:pt x="4959915" y="863856"/>
                  <a:pt x="4974978" y="860959"/>
                  <a:pt x="4987145" y="860959"/>
                </a:cubicBezTo>
                <a:cubicBezTo>
                  <a:pt x="4987145" y="873126"/>
                  <a:pt x="5002209" y="870229"/>
                  <a:pt x="5014376" y="870229"/>
                </a:cubicBezTo>
                <a:cubicBezTo>
                  <a:pt x="5020169" y="885293"/>
                  <a:pt x="5026543" y="870229"/>
                  <a:pt x="5014376" y="870229"/>
                </a:cubicBezTo>
                <a:cubicBezTo>
                  <a:pt x="5011479" y="858062"/>
                  <a:pt x="4996415" y="863856"/>
                  <a:pt x="4987145" y="860959"/>
                </a:cubicBezTo>
                <a:cubicBezTo>
                  <a:pt x="4984248" y="848792"/>
                  <a:pt x="4969185" y="851689"/>
                  <a:pt x="4957018" y="851689"/>
                </a:cubicBezTo>
                <a:cubicBezTo>
                  <a:pt x="4806381" y="770575"/>
                  <a:pt x="4634887" y="713217"/>
                  <a:pt x="4466290" y="647167"/>
                </a:cubicBezTo>
                <a:cubicBezTo>
                  <a:pt x="4505688" y="656438"/>
                  <a:pt x="4469187" y="619937"/>
                  <a:pt x="4466290" y="647167"/>
                </a:cubicBezTo>
                <a:cubicBezTo>
                  <a:pt x="4403139" y="647167"/>
                  <a:pt x="4378805" y="619937"/>
                  <a:pt x="4430369" y="619937"/>
                </a:cubicBezTo>
                <a:cubicBezTo>
                  <a:pt x="4538712" y="619937"/>
                  <a:pt x="4710206" y="698153"/>
                  <a:pt x="4782627" y="704526"/>
                </a:cubicBezTo>
                <a:cubicBezTo>
                  <a:pt x="4782627" y="713217"/>
                  <a:pt x="4800588" y="710320"/>
                  <a:pt x="4809278" y="713217"/>
                </a:cubicBezTo>
                <a:cubicBezTo>
                  <a:pt x="4812755" y="722487"/>
                  <a:pt x="4827818" y="719590"/>
                  <a:pt x="4836509" y="722487"/>
                </a:cubicBezTo>
                <a:cubicBezTo>
                  <a:pt x="4839406" y="749718"/>
                  <a:pt x="4875906" y="713217"/>
                  <a:pt x="4836509" y="722487"/>
                </a:cubicBezTo>
                <a:cubicBezTo>
                  <a:pt x="4836509" y="710320"/>
                  <a:pt x="4821446" y="713217"/>
                  <a:pt x="4809278" y="713217"/>
                </a:cubicBezTo>
                <a:cubicBezTo>
                  <a:pt x="4809278" y="701629"/>
                  <a:pt x="4794215" y="704526"/>
                  <a:pt x="4782627" y="704526"/>
                </a:cubicBezTo>
                <a:cubicBezTo>
                  <a:pt x="4703833" y="662231"/>
                  <a:pt x="4655745" y="650064"/>
                  <a:pt x="4550879" y="619937"/>
                </a:cubicBezTo>
                <a:cubicBezTo>
                  <a:pt x="4538712" y="617040"/>
                  <a:pt x="4300590" y="556784"/>
                  <a:pt x="4300590" y="545197"/>
                </a:cubicBezTo>
                <a:cubicBezTo>
                  <a:pt x="4300590" y="545197"/>
                  <a:pt x="4517275" y="568951"/>
                  <a:pt x="4430369" y="545197"/>
                </a:cubicBezTo>
                <a:cubicBezTo>
                  <a:pt x="4291900" y="508696"/>
                  <a:pt x="4180081" y="487838"/>
                  <a:pt x="4050881" y="463504"/>
                </a:cubicBezTo>
                <a:cubicBezTo>
                  <a:pt x="4017857" y="457710"/>
                  <a:pt x="3831299" y="415415"/>
                  <a:pt x="3966293" y="433376"/>
                </a:cubicBezTo>
                <a:cubicBezTo>
                  <a:pt x="4288424" y="481465"/>
                  <a:pt x="4535236" y="548094"/>
                  <a:pt x="4800588" y="637897"/>
                </a:cubicBezTo>
                <a:cubicBezTo>
                  <a:pt x="4821446" y="644271"/>
                  <a:pt x="4957018" y="689462"/>
                  <a:pt x="4911827" y="665128"/>
                </a:cubicBezTo>
                <a:cubicBezTo>
                  <a:pt x="4797691" y="611246"/>
                  <a:pt x="4682975" y="563157"/>
                  <a:pt x="4559569" y="526657"/>
                </a:cubicBezTo>
                <a:cubicBezTo>
                  <a:pt x="4682975" y="541720"/>
                  <a:pt x="4770460" y="596182"/>
                  <a:pt x="4884597" y="619937"/>
                </a:cubicBezTo>
                <a:cubicBezTo>
                  <a:pt x="4890970" y="632104"/>
                  <a:pt x="4896763" y="619937"/>
                  <a:pt x="4884597" y="619937"/>
                </a:cubicBezTo>
                <a:cubicBezTo>
                  <a:pt x="4827818" y="589809"/>
                  <a:pt x="4773357" y="556784"/>
                  <a:pt x="4715999" y="526657"/>
                </a:cubicBezTo>
                <a:cubicBezTo>
                  <a:pt x="4785524" y="526657"/>
                  <a:pt x="4824342" y="566054"/>
                  <a:pt x="4875906" y="574745"/>
                </a:cubicBezTo>
                <a:cubicBezTo>
                  <a:pt x="4899661" y="578221"/>
                  <a:pt x="4926891" y="566054"/>
                  <a:pt x="4957018" y="574745"/>
                </a:cubicBezTo>
                <a:cubicBezTo>
                  <a:pt x="4974978" y="578221"/>
                  <a:pt x="5065360" y="632104"/>
                  <a:pt x="5089694" y="629207"/>
                </a:cubicBezTo>
                <a:cubicBezTo>
                  <a:pt x="5131409" y="619937"/>
                  <a:pt x="5032337" y="599079"/>
                  <a:pt x="5023066" y="593285"/>
                </a:cubicBezTo>
                <a:cubicBezTo>
                  <a:pt x="5020169" y="586912"/>
                  <a:pt x="5041027" y="578221"/>
                  <a:pt x="5050297" y="584015"/>
                </a:cubicBezTo>
                <a:cubicBezTo>
                  <a:pt x="4941954" y="508696"/>
                  <a:pt x="4767564" y="451337"/>
                  <a:pt x="4523648" y="388185"/>
                </a:cubicBezTo>
                <a:cubicBezTo>
                  <a:pt x="4403139" y="355160"/>
                  <a:pt x="4129096" y="294904"/>
                  <a:pt x="4002793" y="268253"/>
                </a:cubicBezTo>
                <a:cubicBezTo>
                  <a:pt x="3993523" y="264777"/>
                  <a:pt x="3888078" y="234649"/>
                  <a:pt x="3948332" y="241022"/>
                </a:cubicBezTo>
                <a:cubicBezTo>
                  <a:pt x="4168494" y="261880"/>
                  <a:pt x="4415306" y="312865"/>
                  <a:pt x="4592594" y="322135"/>
                </a:cubicBezTo>
                <a:cubicBezTo>
                  <a:pt x="4589697" y="316342"/>
                  <a:pt x="4611133" y="304175"/>
                  <a:pt x="4625618" y="322135"/>
                </a:cubicBezTo>
                <a:cubicBezTo>
                  <a:pt x="4689348" y="319238"/>
                  <a:pt x="4737436" y="352263"/>
                  <a:pt x="4782627" y="360954"/>
                </a:cubicBezTo>
                <a:cubicBezTo>
                  <a:pt x="4821446" y="367327"/>
                  <a:pt x="4936161" y="376597"/>
                  <a:pt x="4875906" y="352263"/>
                </a:cubicBezTo>
                <a:cubicBezTo>
                  <a:pt x="4749024" y="297801"/>
                  <a:pt x="4616927" y="292008"/>
                  <a:pt x="4505688" y="231752"/>
                </a:cubicBezTo>
                <a:cubicBezTo>
                  <a:pt x="4345781" y="141369"/>
                  <a:pt x="4637784" y="225958"/>
                  <a:pt x="4707309" y="249713"/>
                </a:cubicBezTo>
                <a:cubicBezTo>
                  <a:pt x="4749024" y="261880"/>
                  <a:pt x="4785524" y="271150"/>
                  <a:pt x="4827818" y="286214"/>
                </a:cubicBezTo>
                <a:cubicBezTo>
                  <a:pt x="4869533" y="301278"/>
                  <a:pt x="4999312" y="342993"/>
                  <a:pt x="4939057" y="312865"/>
                </a:cubicBezTo>
                <a:cubicBezTo>
                  <a:pt x="4881700" y="286214"/>
                  <a:pt x="4824342" y="268253"/>
                  <a:pt x="4773357" y="249713"/>
                </a:cubicBezTo>
                <a:cubicBezTo>
                  <a:pt x="4734539" y="234649"/>
                  <a:pt x="4499315" y="123408"/>
                  <a:pt x="4662118" y="156433"/>
                </a:cubicBezTo>
                <a:cubicBezTo>
                  <a:pt x="4731063" y="168600"/>
                  <a:pt x="4803485" y="207997"/>
                  <a:pt x="4875906" y="231752"/>
                </a:cubicBezTo>
                <a:cubicBezTo>
                  <a:pt x="5104758" y="307072"/>
                  <a:pt x="5306379" y="376597"/>
                  <a:pt x="5505103" y="463504"/>
                </a:cubicBezTo>
                <a:cubicBezTo>
                  <a:pt x="6036966" y="689462"/>
                  <a:pt x="6485979" y="1050416"/>
                  <a:pt x="6940206" y="1333733"/>
                </a:cubicBezTo>
                <a:cubicBezTo>
                  <a:pt x="7166161" y="1475102"/>
                  <a:pt x="7422243" y="1604303"/>
                  <a:pt x="7692809" y="1679623"/>
                </a:cubicBezTo>
                <a:cubicBezTo>
                  <a:pt x="7687015" y="1679623"/>
                  <a:pt x="7681222" y="1682519"/>
                  <a:pt x="7674849" y="1685996"/>
                </a:cubicBezTo>
                <a:cubicBezTo>
                  <a:pt x="7674849" y="1685996"/>
                  <a:pt x="7783191" y="1716124"/>
                  <a:pt x="7813319" y="1721917"/>
                </a:cubicBezTo>
                <a:cubicBezTo>
                  <a:pt x="7936725" y="1754942"/>
                  <a:pt x="8135449" y="1812301"/>
                  <a:pt x="8250165" y="1815198"/>
                </a:cubicBezTo>
                <a:cubicBezTo>
                  <a:pt x="8247268" y="1836055"/>
                  <a:pt x="8283189" y="1820991"/>
                  <a:pt x="8295355" y="1824468"/>
                </a:cubicBezTo>
                <a:cubicBezTo>
                  <a:pt x="8334173" y="1854016"/>
                  <a:pt x="8373571" y="1815198"/>
                  <a:pt x="8295355" y="1824468"/>
                </a:cubicBezTo>
                <a:cubicBezTo>
                  <a:pt x="8298253" y="1805927"/>
                  <a:pt x="8262331" y="1820991"/>
                  <a:pt x="8250165" y="1815198"/>
                </a:cubicBezTo>
                <a:cubicBezTo>
                  <a:pt x="8126759" y="1779276"/>
                  <a:pt x="7979019" y="1764212"/>
                  <a:pt x="7858509" y="1721917"/>
                </a:cubicBezTo>
                <a:cubicBezTo>
                  <a:pt x="7864883" y="1727711"/>
                  <a:pt x="7885740" y="1719020"/>
                  <a:pt x="7888637" y="1721917"/>
                </a:cubicBezTo>
                <a:cubicBezTo>
                  <a:pt x="7870677" y="1697583"/>
                  <a:pt x="7783191" y="1688893"/>
                  <a:pt x="7692809" y="1658765"/>
                </a:cubicBezTo>
                <a:cubicBezTo>
                  <a:pt x="6961643" y="1405576"/>
                  <a:pt x="6497566" y="954239"/>
                  <a:pt x="5874742" y="601976"/>
                </a:cubicBezTo>
                <a:cubicBezTo>
                  <a:pt x="5685288" y="493632"/>
                  <a:pt x="5465706" y="403249"/>
                  <a:pt x="5264085" y="304175"/>
                </a:cubicBezTo>
                <a:cubicBezTo>
                  <a:pt x="5240331" y="292008"/>
                  <a:pt x="5131409" y="234649"/>
                  <a:pt x="5209624" y="258983"/>
                </a:cubicBezTo>
                <a:cubicBezTo>
                  <a:pt x="5333609" y="294904"/>
                  <a:pt x="5474976" y="382391"/>
                  <a:pt x="5571152" y="370224"/>
                </a:cubicBezTo>
                <a:cubicBezTo>
                  <a:pt x="5571152" y="397455"/>
                  <a:pt x="5610549" y="360954"/>
                  <a:pt x="5571152" y="370224"/>
                </a:cubicBezTo>
                <a:cubicBezTo>
                  <a:pt x="5474976" y="331405"/>
                  <a:pt x="5324339" y="207997"/>
                  <a:pt x="5209624" y="147742"/>
                </a:cubicBezTo>
                <a:cubicBezTo>
                  <a:pt x="5176600" y="129202"/>
                  <a:pt x="5017273" y="75319"/>
                  <a:pt x="5107655" y="63152"/>
                </a:cubicBezTo>
                <a:cubicBezTo>
                  <a:pt x="5240331" y="93280"/>
                  <a:pt x="5336507" y="153536"/>
                  <a:pt x="5477873" y="174393"/>
                </a:cubicBezTo>
                <a:cubicBezTo>
                  <a:pt x="5480770" y="201624"/>
                  <a:pt x="5517270" y="165703"/>
                  <a:pt x="5477873" y="174393"/>
                </a:cubicBezTo>
                <a:cubicBezTo>
                  <a:pt x="5441952" y="141369"/>
                  <a:pt x="5387491" y="132678"/>
                  <a:pt x="5348673" y="111241"/>
                </a:cubicBezTo>
                <a:cubicBezTo>
                  <a:pt x="5206727" y="33025"/>
                  <a:pt x="5490040" y="144266"/>
                  <a:pt x="5487143" y="147742"/>
                </a:cubicBezTo>
                <a:cubicBezTo>
                  <a:pt x="5517270" y="135575"/>
                  <a:pt x="5399658" y="75319"/>
                  <a:pt x="5393285" y="63152"/>
                </a:cubicBezTo>
                <a:cubicBezTo>
                  <a:pt x="5393285" y="66049"/>
                  <a:pt x="5444849" y="69526"/>
                  <a:pt x="5450642" y="63152"/>
                </a:cubicBezTo>
                <a:cubicBezTo>
                  <a:pt x="5472079" y="39398"/>
                  <a:pt x="5366634" y="27231"/>
                  <a:pt x="5348673" y="0"/>
                </a:cubicBezTo>
                <a:close/>
              </a:path>
            </a:pathLst>
          </a:custGeo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163578321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sp>
        <p:nvSpPr>
          <p:cNvPr id="10" name="Picture 1"/>
          <p:cNvSpPr>
            <a:spLocks noGrp="1"/>
          </p:cNvSpPr>
          <p:nvPr>
            <p:ph type="pic" sz="quarter" idx="17"/>
          </p:nvPr>
        </p:nvSpPr>
        <p:spPr bwMode="gray">
          <a:xfrm>
            <a:off x="3047468"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9" name="Picture 1"/>
          <p:cNvSpPr>
            <a:spLocks noGrp="1"/>
          </p:cNvSpPr>
          <p:nvPr>
            <p:ph type="pic" sz="quarter" idx="16"/>
          </p:nvPr>
        </p:nvSpPr>
        <p:spPr bwMode="gray">
          <a:xfrm>
            <a:off x="9142404"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8" name="Picture 1"/>
          <p:cNvSpPr>
            <a:spLocks noGrp="1"/>
          </p:cNvSpPr>
          <p:nvPr>
            <p:ph type="pic" sz="quarter" idx="15"/>
          </p:nvPr>
        </p:nvSpPr>
        <p:spPr bwMode="gray">
          <a:xfrm>
            <a:off x="0"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14" name="Picture 1"/>
          <p:cNvSpPr>
            <a:spLocks noGrp="1"/>
          </p:cNvSpPr>
          <p:nvPr>
            <p:ph type="pic" sz="quarter" idx="23"/>
          </p:nvPr>
        </p:nvSpPr>
        <p:spPr bwMode="gray">
          <a:xfrm>
            <a:off x="6097064"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16" name="Textplatzhalter 12"/>
          <p:cNvSpPr>
            <a:spLocks noGrp="1"/>
          </p:cNvSpPr>
          <p:nvPr>
            <p:ph type="body" sz="quarter" idx="21" hasCustomPrompt="1"/>
          </p:nvPr>
        </p:nvSpPr>
        <p:spPr>
          <a:xfrm>
            <a:off x="6094936" y="1512000"/>
            <a:ext cx="3049597" cy="5346000"/>
          </a:xfrm>
          <a:solidFill>
            <a:schemeClr val="accent1">
              <a:lumMod val="75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7" name="Textplatzhalter 12"/>
          <p:cNvSpPr>
            <a:spLocks noGrp="1"/>
          </p:cNvSpPr>
          <p:nvPr>
            <p:ph type="body" sz="quarter" idx="22" hasCustomPrompt="1"/>
          </p:nvPr>
        </p:nvSpPr>
        <p:spPr>
          <a:xfrm>
            <a:off x="9142404" y="1512000"/>
            <a:ext cx="3049597" cy="5346000"/>
          </a:xfrm>
          <a:solidFill>
            <a:schemeClr val="accent6">
              <a:lumMod val="75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3" name="Textplatzhalter 12"/>
          <p:cNvSpPr>
            <a:spLocks noGrp="1"/>
          </p:cNvSpPr>
          <p:nvPr>
            <p:ph type="body" sz="quarter" idx="19" hasCustomPrompt="1"/>
          </p:nvPr>
        </p:nvSpPr>
        <p:spPr>
          <a:xfrm>
            <a:off x="0" y="1512000"/>
            <a:ext cx="3049597" cy="5346000"/>
          </a:xfrm>
          <a:solidFill>
            <a:schemeClr val="accent1">
              <a:lumMod val="50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5" name="Textplatzhalter 12"/>
          <p:cNvSpPr>
            <a:spLocks noGrp="1"/>
          </p:cNvSpPr>
          <p:nvPr>
            <p:ph type="body" sz="quarter" idx="20" hasCustomPrompt="1"/>
          </p:nvPr>
        </p:nvSpPr>
        <p:spPr>
          <a:xfrm>
            <a:off x="3047468" y="1512000"/>
            <a:ext cx="3049597" cy="5346000"/>
          </a:xfrm>
          <a:solidFill>
            <a:schemeClr val="accent6">
              <a:lumMod val="50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2" name="Title"/>
          <p:cNvSpPr>
            <a:spLocks noGrp="1"/>
          </p:cNvSpPr>
          <p:nvPr>
            <p:ph type="title"/>
          </p:nvPr>
        </p:nvSpPr>
        <p:spPr>
          <a:xfrm>
            <a:off x="540073" y="432000"/>
            <a:ext cx="11111047" cy="1080000"/>
          </a:xfrm>
        </p:spPr>
        <p:txBody>
          <a:bodyPr/>
          <a:lstStyle/>
          <a:p>
            <a:r>
              <a:rPr lang="en-US" dirty="0"/>
              <a:t>Click to edit Master title style</a:t>
            </a:r>
          </a:p>
        </p:txBody>
      </p:sp>
      <p:sp>
        <p:nvSpPr>
          <p:cNvPr id="7" name="Subline"/>
          <p:cNvSpPr>
            <a:spLocks noGrp="1"/>
          </p:cNvSpPr>
          <p:nvPr>
            <p:ph type="body" sz="quarter" idx="13" hasCustomPrompt="1"/>
          </p:nvPr>
        </p:nvSpPr>
        <p:spPr>
          <a:xfrm>
            <a:off x="540073"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Date"/>
          <p:cNvSpPr>
            <a:spLocks noGrp="1"/>
          </p:cNvSpPr>
          <p:nvPr>
            <p:ph type="dt" sz="half" idx="10"/>
          </p:nvPr>
        </p:nvSpPr>
        <p:spPr/>
        <p:txBody>
          <a:bodyPr/>
          <a:lstStyle>
            <a:lvl1pPr>
              <a:lnSpc>
                <a:spcPct val="80000"/>
              </a:lnSpc>
              <a:spcAft>
                <a:spcPts val="751"/>
              </a:spcAft>
              <a:defRPr/>
            </a:lvl1pPr>
          </a:lstStyle>
          <a:p>
            <a:fld id="{27FC3DAB-407D-4279-8EB6-232635B61438}" type="datetimeFigureOut">
              <a:rPr lang="en-US" smtClean="0"/>
              <a:pPr/>
              <a:t>10/8/25</a:t>
            </a:fld>
            <a:endParaRPr lang="en-US" dirty="0"/>
          </a:p>
        </p:txBody>
      </p:sp>
      <p:sp>
        <p:nvSpPr>
          <p:cNvPr id="4" name="Footer"/>
          <p:cNvSpPr>
            <a:spLocks noGrp="1"/>
          </p:cNvSpPr>
          <p:nvPr>
            <p:ph type="ftr" sz="quarter" idx="11"/>
          </p:nvPr>
        </p:nvSpPr>
        <p:spPr/>
        <p:txBody>
          <a:bodyPr/>
          <a:lstStyle>
            <a:lvl1pPr>
              <a:lnSpc>
                <a:spcPct val="80000"/>
              </a:lnSpc>
              <a:spcAft>
                <a:spcPts val="751"/>
              </a:spcAft>
              <a:defRPr/>
            </a:lvl1pPr>
          </a:lstStyle>
          <a:p>
            <a:endParaRPr lang="en-US" dirty="0"/>
          </a:p>
        </p:txBody>
      </p:sp>
      <p:sp>
        <p:nvSpPr>
          <p:cNvPr id="5" name="Slide Number"/>
          <p:cNvSpPr>
            <a:spLocks noGrp="1"/>
          </p:cNvSpPr>
          <p:nvPr>
            <p:ph type="sldNum" sz="quarter" idx="12"/>
          </p:nvPr>
        </p:nvSpPr>
        <p:spPr/>
        <p:txBody>
          <a:bodyPr/>
          <a:lstStyle>
            <a:lvl1pPr>
              <a:lnSpc>
                <a:spcPct val="80000"/>
              </a:lnSpc>
              <a:spcAft>
                <a:spcPts val="751"/>
              </a:spcAft>
              <a:defRPr/>
            </a:lvl1pPr>
          </a:lstStyle>
          <a:p>
            <a:fld id="{02CEFE82-39F2-4F47-8A0C-D5AB3496FA5C}" type="slidenum">
              <a:rPr lang="en-US" smtClean="0"/>
              <a:pPr/>
              <a:t>‹Nr.›</a:t>
            </a:fld>
            <a:endParaRPr lang="en-US" dirty="0"/>
          </a:p>
        </p:txBody>
      </p:sp>
    </p:spTree>
    <p:extLst>
      <p:ext uri="{BB962C8B-B14F-4D97-AF65-F5344CB8AC3E}">
        <p14:creationId xmlns:p14="http://schemas.microsoft.com/office/powerpoint/2010/main" val="109684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0" name="Picture 1"/>
          <p:cNvSpPr>
            <a:spLocks noGrp="1"/>
          </p:cNvSpPr>
          <p:nvPr>
            <p:ph type="pic" sz="quarter" idx="17"/>
          </p:nvPr>
        </p:nvSpPr>
        <p:spPr bwMode="gray">
          <a:xfrm>
            <a:off x="3047468" y="1512000"/>
            <a:ext cx="6097064"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9" name="Picture 1"/>
          <p:cNvSpPr>
            <a:spLocks noGrp="1"/>
          </p:cNvSpPr>
          <p:nvPr>
            <p:ph type="pic" sz="quarter" idx="16"/>
          </p:nvPr>
        </p:nvSpPr>
        <p:spPr bwMode="gray">
          <a:xfrm>
            <a:off x="9142404"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16" name="Textplatzhalter 12"/>
          <p:cNvSpPr>
            <a:spLocks noGrp="1"/>
          </p:cNvSpPr>
          <p:nvPr>
            <p:ph type="body" sz="quarter" idx="21" hasCustomPrompt="1"/>
          </p:nvPr>
        </p:nvSpPr>
        <p:spPr>
          <a:xfrm>
            <a:off x="6094936" y="1512000"/>
            <a:ext cx="3049597" cy="5346000"/>
          </a:xfrm>
          <a:solidFill>
            <a:schemeClr val="accent1">
              <a:lumMod val="75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7" name="Textplatzhalter 12"/>
          <p:cNvSpPr>
            <a:spLocks noGrp="1"/>
          </p:cNvSpPr>
          <p:nvPr>
            <p:ph type="body" sz="quarter" idx="22" hasCustomPrompt="1"/>
          </p:nvPr>
        </p:nvSpPr>
        <p:spPr>
          <a:xfrm>
            <a:off x="9142404" y="1512000"/>
            <a:ext cx="3049597" cy="5346000"/>
          </a:xfrm>
          <a:solidFill>
            <a:schemeClr val="accent6">
              <a:lumMod val="75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8" name="Picture 1"/>
          <p:cNvSpPr>
            <a:spLocks noGrp="1"/>
          </p:cNvSpPr>
          <p:nvPr>
            <p:ph type="pic" sz="quarter" idx="15"/>
          </p:nvPr>
        </p:nvSpPr>
        <p:spPr bwMode="gray">
          <a:xfrm>
            <a:off x="0" y="1512000"/>
            <a:ext cx="3049597" cy="5346000"/>
          </a:xfrm>
          <a:solidFill>
            <a:schemeClr val="bg1">
              <a:lumMod val="85000"/>
            </a:schemeClr>
          </a:solidFill>
          <a:ln>
            <a:noFill/>
          </a:ln>
        </p:spPr>
        <p:txBody>
          <a:bodyPr lIns="144000" tIns="144000" rIns="144000" bIns="144000"/>
          <a:lstStyle>
            <a:lvl1pPr marL="0" indent="0">
              <a:lnSpc>
                <a:spcPct val="80000"/>
              </a:lnSpc>
              <a:spcAft>
                <a:spcPts val="751"/>
              </a:spcAft>
              <a:buNone/>
              <a:defRPr/>
            </a:lvl1pPr>
          </a:lstStyle>
          <a:p>
            <a:endParaRPr lang="en-US" dirty="0"/>
          </a:p>
        </p:txBody>
      </p:sp>
      <p:sp>
        <p:nvSpPr>
          <p:cNvPr id="13" name="Textplatzhalter 12"/>
          <p:cNvSpPr>
            <a:spLocks noGrp="1"/>
          </p:cNvSpPr>
          <p:nvPr>
            <p:ph type="body" sz="quarter" idx="19" hasCustomPrompt="1"/>
          </p:nvPr>
        </p:nvSpPr>
        <p:spPr>
          <a:xfrm>
            <a:off x="0" y="1512000"/>
            <a:ext cx="3049597" cy="5346000"/>
          </a:xfrm>
          <a:solidFill>
            <a:schemeClr val="accent1">
              <a:lumMod val="50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15" name="Textplatzhalter 12"/>
          <p:cNvSpPr>
            <a:spLocks noGrp="1"/>
          </p:cNvSpPr>
          <p:nvPr>
            <p:ph type="body" sz="quarter" idx="20" hasCustomPrompt="1"/>
          </p:nvPr>
        </p:nvSpPr>
        <p:spPr>
          <a:xfrm>
            <a:off x="3047468" y="1512000"/>
            <a:ext cx="3049597" cy="5346000"/>
          </a:xfrm>
          <a:solidFill>
            <a:schemeClr val="accent6">
              <a:lumMod val="50000"/>
              <a:alpha val="70000"/>
            </a:schemeClr>
          </a:solidFill>
          <a:ln>
            <a:noFill/>
          </a:ln>
        </p:spPr>
        <p:txBody>
          <a:bodyPr tIns="144000"/>
          <a:lstStyle>
            <a:lvl1pPr marL="0" indent="0" algn="ctr">
              <a:lnSpc>
                <a:spcPct val="80000"/>
              </a:lnSpc>
              <a:spcAft>
                <a:spcPts val="751"/>
              </a:spcAft>
              <a:buNone/>
              <a:defRPr>
                <a:solidFill>
                  <a:schemeClr val="bg2"/>
                </a:solidFill>
                <a:latin typeface="Bebas Neue" panose="020B0506020202020201" pitchFamily="34" charset="0"/>
              </a:defRPr>
            </a:lvl1pPr>
          </a:lstStyle>
          <a:p>
            <a:pPr lvl="0"/>
            <a:r>
              <a:rPr lang="en-US" dirty="0"/>
              <a:t>Click to edit</a:t>
            </a:r>
          </a:p>
        </p:txBody>
      </p:sp>
      <p:sp>
        <p:nvSpPr>
          <p:cNvPr id="2" name="Title"/>
          <p:cNvSpPr>
            <a:spLocks noGrp="1"/>
          </p:cNvSpPr>
          <p:nvPr>
            <p:ph type="title"/>
          </p:nvPr>
        </p:nvSpPr>
        <p:spPr>
          <a:xfrm>
            <a:off x="540073" y="432000"/>
            <a:ext cx="11111047" cy="1080000"/>
          </a:xfrm>
        </p:spPr>
        <p:txBody>
          <a:bodyPr/>
          <a:lstStyle/>
          <a:p>
            <a:r>
              <a:rPr lang="en-US" dirty="0"/>
              <a:t>Click to edit Master title style</a:t>
            </a:r>
          </a:p>
        </p:txBody>
      </p:sp>
      <p:sp>
        <p:nvSpPr>
          <p:cNvPr id="7" name="Subline"/>
          <p:cNvSpPr>
            <a:spLocks noGrp="1"/>
          </p:cNvSpPr>
          <p:nvPr>
            <p:ph type="body" sz="quarter" idx="13" hasCustomPrompt="1"/>
          </p:nvPr>
        </p:nvSpPr>
        <p:spPr>
          <a:xfrm>
            <a:off x="540073"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Date"/>
          <p:cNvSpPr>
            <a:spLocks noGrp="1"/>
          </p:cNvSpPr>
          <p:nvPr>
            <p:ph type="dt" sz="half" idx="10"/>
          </p:nvPr>
        </p:nvSpPr>
        <p:spPr/>
        <p:txBody>
          <a:bodyPr/>
          <a:lstStyle>
            <a:lvl1pPr>
              <a:lnSpc>
                <a:spcPct val="80000"/>
              </a:lnSpc>
              <a:spcAft>
                <a:spcPts val="751"/>
              </a:spcAft>
              <a:defRPr/>
            </a:lvl1pPr>
          </a:lstStyle>
          <a:p>
            <a:fld id="{27FC3DAB-407D-4279-8EB6-232635B61438}" type="datetimeFigureOut">
              <a:rPr lang="en-US" smtClean="0"/>
              <a:pPr/>
              <a:t>10/8/25</a:t>
            </a:fld>
            <a:endParaRPr lang="en-US" dirty="0"/>
          </a:p>
        </p:txBody>
      </p:sp>
      <p:sp>
        <p:nvSpPr>
          <p:cNvPr id="4" name="Footer"/>
          <p:cNvSpPr>
            <a:spLocks noGrp="1"/>
          </p:cNvSpPr>
          <p:nvPr>
            <p:ph type="ftr" sz="quarter" idx="11"/>
          </p:nvPr>
        </p:nvSpPr>
        <p:spPr/>
        <p:txBody>
          <a:bodyPr/>
          <a:lstStyle>
            <a:lvl1pPr>
              <a:lnSpc>
                <a:spcPct val="80000"/>
              </a:lnSpc>
              <a:spcAft>
                <a:spcPts val="751"/>
              </a:spcAft>
              <a:defRPr/>
            </a:lvl1pPr>
          </a:lstStyle>
          <a:p>
            <a:endParaRPr lang="en-US" dirty="0"/>
          </a:p>
        </p:txBody>
      </p:sp>
      <p:sp>
        <p:nvSpPr>
          <p:cNvPr id="5" name="Slide Number"/>
          <p:cNvSpPr>
            <a:spLocks noGrp="1"/>
          </p:cNvSpPr>
          <p:nvPr>
            <p:ph type="sldNum" sz="quarter" idx="12"/>
          </p:nvPr>
        </p:nvSpPr>
        <p:spPr/>
        <p:txBody>
          <a:bodyPr/>
          <a:lstStyle>
            <a:lvl1pPr>
              <a:lnSpc>
                <a:spcPct val="80000"/>
              </a:lnSpc>
              <a:spcAft>
                <a:spcPts val="751"/>
              </a:spcAft>
              <a:defRPr/>
            </a:lvl1pPr>
          </a:lstStyle>
          <a:p>
            <a:fld id="{02CEFE82-39F2-4F47-8A0C-D5AB3496FA5C}" type="slidenum">
              <a:rPr lang="en-US" smtClean="0"/>
              <a:pPr/>
              <a:t>‹Nr.›</a:t>
            </a:fld>
            <a:endParaRPr lang="en-US" dirty="0"/>
          </a:p>
        </p:txBody>
      </p:sp>
    </p:spTree>
    <p:extLst>
      <p:ext uri="{BB962C8B-B14F-4D97-AF65-F5344CB8AC3E}">
        <p14:creationId xmlns:p14="http://schemas.microsoft.com/office/powerpoint/2010/main" val="420562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EF540B0D-4795-4BC7-87C5-70C1142C5639}"/>
              </a:ext>
            </a:extLst>
          </p:cNvPr>
          <p:cNvSpPr>
            <a:spLocks noGrp="1"/>
          </p:cNvSpPr>
          <p:nvPr>
            <p:ph type="pic" sz="quarter" idx="15"/>
          </p:nvPr>
        </p:nvSpPr>
        <p:spPr>
          <a:xfrm>
            <a:off x="7391401" y="4470975"/>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9" name="Picture Placeholder 18">
            <a:extLst>
              <a:ext uri="{FF2B5EF4-FFF2-40B4-BE49-F238E27FC236}">
                <a16:creationId xmlns:a16="http://schemas.microsoft.com/office/drawing/2014/main" id="{577385D8-4260-4CD4-8EDB-C56E34A32864}"/>
              </a:ext>
            </a:extLst>
          </p:cNvPr>
          <p:cNvSpPr>
            <a:spLocks noGrp="1"/>
          </p:cNvSpPr>
          <p:nvPr>
            <p:ph type="pic" sz="quarter" idx="14"/>
          </p:nvPr>
        </p:nvSpPr>
        <p:spPr>
          <a:xfrm>
            <a:off x="8845359" y="4470975"/>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8" name="Picture Placeholder 17">
            <a:extLst>
              <a:ext uri="{FF2B5EF4-FFF2-40B4-BE49-F238E27FC236}">
                <a16:creationId xmlns:a16="http://schemas.microsoft.com/office/drawing/2014/main" id="{FC53C9E8-AC21-4D16-BB7D-EDD25725256F}"/>
              </a:ext>
            </a:extLst>
          </p:cNvPr>
          <p:cNvSpPr>
            <a:spLocks noGrp="1"/>
          </p:cNvSpPr>
          <p:nvPr>
            <p:ph type="pic" sz="quarter" idx="13"/>
          </p:nvPr>
        </p:nvSpPr>
        <p:spPr>
          <a:xfrm>
            <a:off x="9572625" y="3142046"/>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7" name="Picture Placeholder 16">
            <a:extLst>
              <a:ext uri="{FF2B5EF4-FFF2-40B4-BE49-F238E27FC236}">
                <a16:creationId xmlns:a16="http://schemas.microsoft.com/office/drawing/2014/main" id="{6900CEAA-39BA-434B-8E0D-4C5FFF31F795}"/>
              </a:ext>
            </a:extLst>
          </p:cNvPr>
          <p:cNvSpPr>
            <a:spLocks noGrp="1"/>
          </p:cNvSpPr>
          <p:nvPr>
            <p:ph type="pic" sz="quarter" idx="12"/>
          </p:nvPr>
        </p:nvSpPr>
        <p:spPr>
          <a:xfrm>
            <a:off x="8118380" y="3142046"/>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6" name="Picture Placeholder 15">
            <a:extLst>
              <a:ext uri="{FF2B5EF4-FFF2-40B4-BE49-F238E27FC236}">
                <a16:creationId xmlns:a16="http://schemas.microsoft.com/office/drawing/2014/main" id="{8CB1BD77-7453-40ED-A9B1-6A70B0FBBF9C}"/>
              </a:ext>
            </a:extLst>
          </p:cNvPr>
          <p:cNvSpPr>
            <a:spLocks noGrp="1"/>
          </p:cNvSpPr>
          <p:nvPr>
            <p:ph type="pic" sz="quarter" idx="11"/>
          </p:nvPr>
        </p:nvSpPr>
        <p:spPr>
          <a:xfrm>
            <a:off x="8845649" y="1813118"/>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5" name="Picture Placeholder 14">
            <a:extLst>
              <a:ext uri="{FF2B5EF4-FFF2-40B4-BE49-F238E27FC236}">
                <a16:creationId xmlns:a16="http://schemas.microsoft.com/office/drawing/2014/main" id="{56A50284-9143-4611-AC0B-E85174E0D0CB}"/>
              </a:ext>
            </a:extLst>
          </p:cNvPr>
          <p:cNvSpPr>
            <a:spLocks noGrp="1"/>
          </p:cNvSpPr>
          <p:nvPr>
            <p:ph type="pic" sz="quarter" idx="10"/>
          </p:nvPr>
        </p:nvSpPr>
        <p:spPr>
          <a:xfrm>
            <a:off x="8118476" y="484189"/>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Tree>
    <p:extLst>
      <p:ext uri="{BB962C8B-B14F-4D97-AF65-F5344CB8AC3E}">
        <p14:creationId xmlns:p14="http://schemas.microsoft.com/office/powerpoint/2010/main" val="328191627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90BF43A-ADF4-474C-A6C7-D13F30B47EDB}"/>
              </a:ext>
            </a:extLst>
          </p:cNvPr>
          <p:cNvSpPr>
            <a:spLocks noGrp="1"/>
          </p:cNvSpPr>
          <p:nvPr>
            <p:ph type="pic" sz="quarter" idx="10"/>
          </p:nvPr>
        </p:nvSpPr>
        <p:spPr>
          <a:xfrm>
            <a:off x="1" y="1003300"/>
            <a:ext cx="3952764" cy="5537200"/>
          </a:xfrm>
          <a:custGeom>
            <a:avLst/>
            <a:gdLst>
              <a:gd name="connsiteX0" fmla="*/ 1184164 w 3952764"/>
              <a:gd name="connsiteY0" fmla="*/ 0 h 5537200"/>
              <a:gd name="connsiteX1" fmla="*/ 3952764 w 3952764"/>
              <a:gd name="connsiteY1" fmla="*/ 2768600 h 5537200"/>
              <a:gd name="connsiteX2" fmla="*/ 1184164 w 3952764"/>
              <a:gd name="connsiteY2" fmla="*/ 5537200 h 5537200"/>
              <a:gd name="connsiteX3" fmla="*/ 106500 w 3952764"/>
              <a:gd name="connsiteY3" fmla="*/ 5319630 h 5537200"/>
              <a:gd name="connsiteX4" fmla="*/ 0 w 3952764"/>
              <a:gd name="connsiteY4" fmla="*/ 5268326 h 5537200"/>
              <a:gd name="connsiteX5" fmla="*/ 0 w 3952764"/>
              <a:gd name="connsiteY5" fmla="*/ 268874 h 5537200"/>
              <a:gd name="connsiteX6" fmla="*/ 106500 w 3952764"/>
              <a:gd name="connsiteY6" fmla="*/ 217570 h 5537200"/>
              <a:gd name="connsiteX7" fmla="*/ 1184164 w 3952764"/>
              <a:gd name="connsiteY7" fmla="*/ 0 h 553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2764" h="5537200">
                <a:moveTo>
                  <a:pt x="1184164" y="0"/>
                </a:moveTo>
                <a:cubicBezTo>
                  <a:pt x="2713220" y="0"/>
                  <a:pt x="3952764" y="1239544"/>
                  <a:pt x="3952764" y="2768600"/>
                </a:cubicBezTo>
                <a:cubicBezTo>
                  <a:pt x="3952764" y="4297656"/>
                  <a:pt x="2713220" y="5537200"/>
                  <a:pt x="1184164" y="5537200"/>
                </a:cubicBezTo>
                <a:cubicBezTo>
                  <a:pt x="801900" y="5537200"/>
                  <a:pt x="437731" y="5459729"/>
                  <a:pt x="106500" y="5319630"/>
                </a:cubicBezTo>
                <a:lnTo>
                  <a:pt x="0" y="5268326"/>
                </a:lnTo>
                <a:lnTo>
                  <a:pt x="0" y="268874"/>
                </a:lnTo>
                <a:lnTo>
                  <a:pt x="106500" y="217570"/>
                </a:lnTo>
                <a:cubicBezTo>
                  <a:pt x="437731" y="77472"/>
                  <a:pt x="801900" y="0"/>
                  <a:pt x="1184164" y="0"/>
                </a:cubicBezTo>
                <a:close/>
              </a:path>
            </a:pathLst>
          </a:custGeom>
        </p:spPr>
        <p:txBody>
          <a:bodyPr wrap="square" anchor="ctr">
            <a:noAutofit/>
          </a:bodyPr>
          <a:lstStyle>
            <a:lvl1pPr marL="0" indent="0" algn="ctr">
              <a:buNone/>
              <a:defRPr sz="1400"/>
            </a:lvl1pPr>
          </a:lstStyle>
          <a:p>
            <a:endParaRPr lang="en-US"/>
          </a:p>
        </p:txBody>
      </p:sp>
    </p:spTree>
    <p:extLst>
      <p:ext uri="{BB962C8B-B14F-4D97-AF65-F5344CB8AC3E}">
        <p14:creationId xmlns:p14="http://schemas.microsoft.com/office/powerpoint/2010/main" val="1745305222"/>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CEFA43A9-1515-43E3-9040-ACE0DD553CE8}"/>
              </a:ext>
            </a:extLst>
          </p:cNvPr>
          <p:cNvSpPr>
            <a:spLocks noGrp="1"/>
          </p:cNvSpPr>
          <p:nvPr>
            <p:ph type="pic" sz="quarter" idx="12"/>
          </p:nvPr>
        </p:nvSpPr>
        <p:spPr>
          <a:xfrm>
            <a:off x="266700" y="3607993"/>
            <a:ext cx="3671888" cy="2584451"/>
          </a:xfrm>
        </p:spPr>
        <p:txBody>
          <a:bodyPr anchor="ctr">
            <a:normAutofit/>
          </a:bodyPr>
          <a:lstStyle>
            <a:lvl1pPr marL="0" indent="0" algn="ctr">
              <a:buNone/>
              <a:defRPr sz="1400"/>
            </a:lvl1pPr>
          </a:lstStyle>
          <a:p>
            <a:endParaRPr lang="en-US" dirty="0"/>
          </a:p>
        </p:txBody>
      </p:sp>
      <p:sp>
        <p:nvSpPr>
          <p:cNvPr id="12" name="Picture Placeholder 11">
            <a:extLst>
              <a:ext uri="{FF2B5EF4-FFF2-40B4-BE49-F238E27FC236}">
                <a16:creationId xmlns:a16="http://schemas.microsoft.com/office/drawing/2014/main" id="{9593DE47-F666-42DA-B91B-BBB963FB9675}"/>
              </a:ext>
            </a:extLst>
          </p:cNvPr>
          <p:cNvSpPr>
            <a:spLocks noGrp="1"/>
          </p:cNvSpPr>
          <p:nvPr>
            <p:ph type="pic" sz="quarter" idx="10"/>
          </p:nvPr>
        </p:nvSpPr>
        <p:spPr>
          <a:xfrm>
            <a:off x="4048125" y="925513"/>
            <a:ext cx="3671888" cy="2584451"/>
          </a:xfrm>
        </p:spPr>
        <p:txBody>
          <a:bodyPr anchor="ctr">
            <a:normAutofit/>
          </a:bodyPr>
          <a:lstStyle>
            <a:lvl1pPr marL="0" indent="0" algn="ctr">
              <a:buNone/>
              <a:defRPr sz="1400"/>
            </a:lvl1pPr>
          </a:lstStyle>
          <a:p>
            <a:endParaRPr lang="en-US" dirty="0"/>
          </a:p>
        </p:txBody>
      </p:sp>
      <p:sp>
        <p:nvSpPr>
          <p:cNvPr id="13" name="Picture Placeholder 11">
            <a:extLst>
              <a:ext uri="{FF2B5EF4-FFF2-40B4-BE49-F238E27FC236}">
                <a16:creationId xmlns:a16="http://schemas.microsoft.com/office/drawing/2014/main" id="{F9A6711B-CC92-4052-A8A9-22AB9080948E}"/>
              </a:ext>
            </a:extLst>
          </p:cNvPr>
          <p:cNvSpPr>
            <a:spLocks noGrp="1"/>
          </p:cNvSpPr>
          <p:nvPr>
            <p:ph type="pic" sz="quarter" idx="11"/>
          </p:nvPr>
        </p:nvSpPr>
        <p:spPr>
          <a:xfrm>
            <a:off x="7828868" y="3607993"/>
            <a:ext cx="3671888" cy="2584451"/>
          </a:xfrm>
        </p:spPr>
        <p:txBody>
          <a:bodyPr anchor="ctr">
            <a:normAutofit/>
          </a:bodyPr>
          <a:lstStyle>
            <a:lvl1pPr marL="0" indent="0" algn="ctr">
              <a:buNone/>
              <a:defRPr sz="1400"/>
            </a:lvl1pPr>
          </a:lstStyle>
          <a:p>
            <a:endParaRPr lang="en-US" dirty="0"/>
          </a:p>
        </p:txBody>
      </p:sp>
    </p:spTree>
    <p:extLst>
      <p:ext uri="{BB962C8B-B14F-4D97-AF65-F5344CB8AC3E}">
        <p14:creationId xmlns:p14="http://schemas.microsoft.com/office/powerpoint/2010/main" val="3342034745"/>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7" name="Picture Placeholder 32">
            <a:extLst>
              <a:ext uri="{FF2B5EF4-FFF2-40B4-BE49-F238E27FC236}">
                <a16:creationId xmlns:a16="http://schemas.microsoft.com/office/drawing/2014/main" id="{F807600B-B6CF-4A17-895F-005923394515}"/>
              </a:ext>
            </a:extLst>
          </p:cNvPr>
          <p:cNvSpPr>
            <a:spLocks noGrp="1"/>
          </p:cNvSpPr>
          <p:nvPr>
            <p:ph type="pic" sz="quarter" idx="17"/>
          </p:nvPr>
        </p:nvSpPr>
        <p:spPr>
          <a:xfrm>
            <a:off x="9888046" y="3109019"/>
            <a:ext cx="1050925" cy="819151"/>
          </a:xfrm>
        </p:spPr>
        <p:txBody>
          <a:bodyPr anchor="ctr">
            <a:normAutofit/>
          </a:bodyPr>
          <a:lstStyle>
            <a:lvl1pPr marL="0" indent="0" algn="ctr">
              <a:buNone/>
              <a:defRPr sz="1200"/>
            </a:lvl1pPr>
          </a:lstStyle>
          <a:p>
            <a:endParaRPr lang="en-US"/>
          </a:p>
        </p:txBody>
      </p:sp>
      <p:sp>
        <p:nvSpPr>
          <p:cNvPr id="36" name="Picture Placeholder 32">
            <a:extLst>
              <a:ext uri="{FF2B5EF4-FFF2-40B4-BE49-F238E27FC236}">
                <a16:creationId xmlns:a16="http://schemas.microsoft.com/office/drawing/2014/main" id="{A6F9CD3E-4C01-47E9-8E53-8FE1715DECEE}"/>
              </a:ext>
            </a:extLst>
          </p:cNvPr>
          <p:cNvSpPr>
            <a:spLocks noGrp="1"/>
          </p:cNvSpPr>
          <p:nvPr>
            <p:ph type="pic" sz="quarter" idx="16"/>
          </p:nvPr>
        </p:nvSpPr>
        <p:spPr>
          <a:xfrm>
            <a:off x="7009380" y="3109019"/>
            <a:ext cx="1050925" cy="819151"/>
          </a:xfrm>
        </p:spPr>
        <p:txBody>
          <a:bodyPr anchor="ctr">
            <a:normAutofit/>
          </a:bodyPr>
          <a:lstStyle>
            <a:lvl1pPr marL="0" indent="0" algn="ctr">
              <a:buNone/>
              <a:defRPr sz="1200"/>
            </a:lvl1pPr>
          </a:lstStyle>
          <a:p>
            <a:endParaRPr lang="en-US"/>
          </a:p>
        </p:txBody>
      </p:sp>
      <p:sp>
        <p:nvSpPr>
          <p:cNvPr id="35" name="Picture Placeholder 32">
            <a:extLst>
              <a:ext uri="{FF2B5EF4-FFF2-40B4-BE49-F238E27FC236}">
                <a16:creationId xmlns:a16="http://schemas.microsoft.com/office/drawing/2014/main" id="{2D71831C-D257-4741-9FE5-6C91A558E809}"/>
              </a:ext>
            </a:extLst>
          </p:cNvPr>
          <p:cNvSpPr>
            <a:spLocks noGrp="1"/>
          </p:cNvSpPr>
          <p:nvPr>
            <p:ph type="pic" sz="quarter" idx="15"/>
          </p:nvPr>
        </p:nvSpPr>
        <p:spPr>
          <a:xfrm>
            <a:off x="4130714" y="3109019"/>
            <a:ext cx="1050925" cy="819151"/>
          </a:xfrm>
        </p:spPr>
        <p:txBody>
          <a:bodyPr anchor="ctr">
            <a:normAutofit/>
          </a:bodyPr>
          <a:lstStyle>
            <a:lvl1pPr marL="0" indent="0" algn="ctr">
              <a:buNone/>
              <a:defRPr sz="1200"/>
            </a:lvl1pPr>
          </a:lstStyle>
          <a:p>
            <a:endParaRPr lang="en-US"/>
          </a:p>
        </p:txBody>
      </p:sp>
      <p:sp>
        <p:nvSpPr>
          <p:cNvPr id="34" name="Picture Placeholder 32">
            <a:extLst>
              <a:ext uri="{FF2B5EF4-FFF2-40B4-BE49-F238E27FC236}">
                <a16:creationId xmlns:a16="http://schemas.microsoft.com/office/drawing/2014/main" id="{55AE3507-758E-476B-B0C7-A455CB878387}"/>
              </a:ext>
            </a:extLst>
          </p:cNvPr>
          <p:cNvSpPr>
            <a:spLocks noGrp="1"/>
          </p:cNvSpPr>
          <p:nvPr>
            <p:ph type="pic" sz="quarter" idx="14"/>
          </p:nvPr>
        </p:nvSpPr>
        <p:spPr>
          <a:xfrm>
            <a:off x="1253031" y="3109019"/>
            <a:ext cx="1050925" cy="819151"/>
          </a:xfrm>
        </p:spPr>
        <p:txBody>
          <a:bodyPr anchor="ctr">
            <a:normAutofit/>
          </a:bodyPr>
          <a:lstStyle>
            <a:lvl1pPr marL="0" indent="0" algn="ctr">
              <a:buNone/>
              <a:defRPr sz="1200"/>
            </a:lvl1pPr>
          </a:lstStyle>
          <a:p>
            <a:endParaRPr lang="en-US"/>
          </a:p>
        </p:txBody>
      </p:sp>
      <p:sp>
        <p:nvSpPr>
          <p:cNvPr id="33" name="Picture Placeholder 32">
            <a:extLst>
              <a:ext uri="{FF2B5EF4-FFF2-40B4-BE49-F238E27FC236}">
                <a16:creationId xmlns:a16="http://schemas.microsoft.com/office/drawing/2014/main" id="{32965218-7EAA-4C50-A1FC-CAFF1CC55C4A}"/>
              </a:ext>
            </a:extLst>
          </p:cNvPr>
          <p:cNvSpPr>
            <a:spLocks noGrp="1"/>
          </p:cNvSpPr>
          <p:nvPr>
            <p:ph type="pic" sz="quarter" idx="13"/>
          </p:nvPr>
        </p:nvSpPr>
        <p:spPr>
          <a:xfrm>
            <a:off x="5570539" y="1203326"/>
            <a:ext cx="1050925" cy="819151"/>
          </a:xfrm>
        </p:spPr>
        <p:txBody>
          <a:bodyPr anchor="ctr">
            <a:normAutofit/>
          </a:bodyPr>
          <a:lstStyle>
            <a:lvl1pPr marL="0" indent="0" algn="ctr">
              <a:buNone/>
              <a:defRPr sz="1200"/>
            </a:lvl1pPr>
          </a:lstStyle>
          <a:p>
            <a:endParaRPr lang="en-US"/>
          </a:p>
        </p:txBody>
      </p:sp>
      <p:sp>
        <p:nvSpPr>
          <p:cNvPr id="3" name="Date Placeholder 2">
            <a:extLst>
              <a:ext uri="{FF2B5EF4-FFF2-40B4-BE49-F238E27FC236}">
                <a16:creationId xmlns:a16="http://schemas.microsoft.com/office/drawing/2014/main" id="{13F4630D-11DC-4102-8766-0D88420E47E4}"/>
              </a:ext>
            </a:extLst>
          </p:cNvPr>
          <p:cNvSpPr>
            <a:spLocks noGrp="1"/>
          </p:cNvSpPr>
          <p:nvPr>
            <p:ph type="dt" sz="half" idx="10"/>
          </p:nvPr>
        </p:nvSpPr>
        <p:spPr/>
        <p:txBody>
          <a:bodyPr/>
          <a:lstStyle/>
          <a:p>
            <a:fld id="{613D84E3-1DE8-4F33-A884-614083C34056}" type="datetimeFigureOut">
              <a:rPr lang="en-US" smtClean="0"/>
              <a:t>10/8/25</a:t>
            </a:fld>
            <a:endParaRPr lang="en-US"/>
          </a:p>
        </p:txBody>
      </p:sp>
      <p:sp>
        <p:nvSpPr>
          <p:cNvPr id="4" name="Footer Placeholder 3">
            <a:extLst>
              <a:ext uri="{FF2B5EF4-FFF2-40B4-BE49-F238E27FC236}">
                <a16:creationId xmlns:a16="http://schemas.microsoft.com/office/drawing/2014/main" id="{365838A5-7A4E-46FE-94C8-C4A48478EF7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79A2D4F-8D23-4CF7-AB45-4647EB802A3F}"/>
              </a:ext>
            </a:extLst>
          </p:cNvPr>
          <p:cNvSpPr>
            <a:spLocks noGrp="1"/>
          </p:cNvSpPr>
          <p:nvPr>
            <p:ph type="sldNum" sz="quarter" idx="12"/>
          </p:nvPr>
        </p:nvSpPr>
        <p:spPr/>
        <p:txBody>
          <a:bodyPr/>
          <a:lstStyle/>
          <a:p>
            <a:fld id="{5A9078B4-09E3-4E92-BBC9-74AC7508B2E8}" type="slidenum">
              <a:rPr lang="en-US" smtClean="0"/>
              <a:t>‹Nr.›</a:t>
            </a:fld>
            <a:endParaRPr lang="en-US"/>
          </a:p>
        </p:txBody>
      </p:sp>
      <p:sp>
        <p:nvSpPr>
          <p:cNvPr id="19" name="Rectangle 18">
            <a:extLst>
              <a:ext uri="{FF2B5EF4-FFF2-40B4-BE49-F238E27FC236}">
                <a16:creationId xmlns:a16="http://schemas.microsoft.com/office/drawing/2014/main" id="{2EADFC39-5F39-47A0-8C0E-9C8E50DD6859}"/>
              </a:ext>
            </a:extLst>
          </p:cNvPr>
          <p:cNvSpPr/>
          <p:nvPr/>
        </p:nvSpPr>
        <p:spPr>
          <a:xfrm>
            <a:off x="5653618" y="1130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2" name="Rectangle 21">
            <a:extLst>
              <a:ext uri="{FF2B5EF4-FFF2-40B4-BE49-F238E27FC236}">
                <a16:creationId xmlns:a16="http://schemas.microsoft.com/office/drawing/2014/main" id="{8306F4D3-C292-4A71-8595-05D32A26310E}"/>
              </a:ext>
            </a:extLst>
          </p:cNvPr>
          <p:cNvSpPr/>
          <p:nvPr/>
        </p:nvSpPr>
        <p:spPr>
          <a:xfrm>
            <a:off x="1335618" y="3035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5" name="Rectangle 24">
            <a:extLst>
              <a:ext uri="{FF2B5EF4-FFF2-40B4-BE49-F238E27FC236}">
                <a16:creationId xmlns:a16="http://schemas.microsoft.com/office/drawing/2014/main" id="{67D30FF0-21D1-4CE5-89D0-DA444B2CF14D}"/>
              </a:ext>
            </a:extLst>
          </p:cNvPr>
          <p:cNvSpPr/>
          <p:nvPr/>
        </p:nvSpPr>
        <p:spPr>
          <a:xfrm>
            <a:off x="4214283" y="3035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8" name="Rectangle 27">
            <a:extLst>
              <a:ext uri="{FF2B5EF4-FFF2-40B4-BE49-F238E27FC236}">
                <a16:creationId xmlns:a16="http://schemas.microsoft.com/office/drawing/2014/main" id="{19D0C822-0C5C-4C1D-AF89-4ECF70E5BC11}"/>
              </a:ext>
            </a:extLst>
          </p:cNvPr>
          <p:cNvSpPr/>
          <p:nvPr/>
        </p:nvSpPr>
        <p:spPr>
          <a:xfrm>
            <a:off x="7092950" y="3035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31" name="Rectangle 30">
            <a:extLst>
              <a:ext uri="{FF2B5EF4-FFF2-40B4-BE49-F238E27FC236}">
                <a16:creationId xmlns:a16="http://schemas.microsoft.com/office/drawing/2014/main" id="{80CE8130-7EFD-48ED-B344-55BA0DF32E6E}"/>
              </a:ext>
            </a:extLst>
          </p:cNvPr>
          <p:cNvSpPr/>
          <p:nvPr/>
        </p:nvSpPr>
        <p:spPr>
          <a:xfrm>
            <a:off x="9971615" y="3035300"/>
            <a:ext cx="884767"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Tree>
    <p:extLst>
      <p:ext uri="{BB962C8B-B14F-4D97-AF65-F5344CB8AC3E}">
        <p14:creationId xmlns:p14="http://schemas.microsoft.com/office/powerpoint/2010/main" val="252117617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7BBFB488-F93E-4A51-8B21-C522DD50A349}" type="datetime1">
              <a:rPr lang="en-GB" smtClean="0"/>
              <a:t>08/10/2025</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0C262CF-5CC9-4929-99CD-9F101191856B}" type="slidenum">
              <a:rPr lang="en-GB" smtClean="0"/>
              <a:t>‹Nr.›</a:t>
            </a:fld>
            <a:endParaRPr lang="en-GB"/>
          </a:p>
        </p:txBody>
      </p:sp>
    </p:spTree>
    <p:extLst>
      <p:ext uri="{BB962C8B-B14F-4D97-AF65-F5344CB8AC3E}">
        <p14:creationId xmlns:p14="http://schemas.microsoft.com/office/powerpoint/2010/main" val="1667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Inhaltsplatzhalter 1"/>
          <p:cNvSpPr>
            <a:spLocks noGrp="1"/>
          </p:cNvSpPr>
          <p:nvPr>
            <p:ph idx="1"/>
          </p:nvPr>
        </p:nvSpPr>
        <p:spPr bwMode="gray">
          <a:xfrm>
            <a:off x="480002" y="1151999"/>
            <a:ext cx="5496983" cy="240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2"/>
          <p:cNvSpPr>
            <a:spLocks noGrp="1"/>
          </p:cNvSpPr>
          <p:nvPr>
            <p:ph idx="13"/>
          </p:nvPr>
        </p:nvSpPr>
        <p:spPr bwMode="gray">
          <a:xfrm>
            <a:off x="6213814" y="1152000"/>
            <a:ext cx="5496983" cy="240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Inhaltsplatzhalter 3"/>
          <p:cNvSpPr>
            <a:spLocks noGrp="1"/>
          </p:cNvSpPr>
          <p:nvPr>
            <p:ph sz="quarter" idx="14"/>
          </p:nvPr>
        </p:nvSpPr>
        <p:spPr>
          <a:xfrm>
            <a:off x="480002" y="3792000"/>
            <a:ext cx="5496983" cy="240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4"/>
          <p:cNvSpPr>
            <a:spLocks noGrp="1"/>
          </p:cNvSpPr>
          <p:nvPr>
            <p:ph sz="quarter" idx="15"/>
          </p:nvPr>
        </p:nvSpPr>
        <p:spPr>
          <a:xfrm>
            <a:off x="6213814" y="3792000"/>
            <a:ext cx="5496983" cy="240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384533628"/>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D5C9834-A4C7-4469-8AEC-6310F53199EB}" type="datetime1">
              <a:rPr lang="en-GB" smtClean="0"/>
              <a:t>08/10/2025</a:t>
            </a:fld>
            <a:endParaRPr lang="en-GB"/>
          </a:p>
        </p:txBody>
      </p:sp>
      <p:sp>
        <p:nvSpPr>
          <p:cNvPr id="5" name="Footer Placeholder 4"/>
          <p:cNvSpPr>
            <a:spLocks noGrp="1"/>
          </p:cNvSpPr>
          <p:nvPr>
            <p:ph type="ftr" sz="quarter" idx="11"/>
          </p:nvPr>
        </p:nvSpPr>
        <p:spPr/>
        <p:txBody>
          <a:bodyPr/>
          <a:lstStyle/>
          <a:p>
            <a:endParaRPr lang="en-GB"/>
          </a:p>
        </p:txBody>
      </p:sp>
      <p:sp>
        <p:nvSpPr>
          <p:cNvPr id="7" name="Slide Number Placeholder 4"/>
          <p:cNvSpPr>
            <a:spLocks noGrp="1"/>
          </p:cNvSpPr>
          <p:nvPr>
            <p:ph type="sldNum" sz="quarter" idx="12"/>
          </p:nvPr>
        </p:nvSpPr>
        <p:spPr>
          <a:xfrm>
            <a:off x="11552935" y="6379400"/>
            <a:ext cx="434380" cy="387433"/>
          </a:xfrm>
        </p:spPr>
        <p:txBody>
          <a:bodyPr/>
          <a:lstStyle>
            <a:lvl1pPr algn="ctr">
              <a:defRPr sz="1600">
                <a:solidFill>
                  <a:schemeClr val="tx2">
                    <a:lumMod val="60000"/>
                    <a:lumOff val="40000"/>
                  </a:schemeClr>
                </a:solidFill>
              </a:defRPr>
            </a:lvl1pPr>
          </a:lstStyle>
          <a:p>
            <a:fld id="{70C262CF-5CC9-4929-99CD-9F101191856B}" type="slidenum">
              <a:rPr lang="en-GB" smtClean="0"/>
              <a:pPr/>
              <a:t>‹Nr.›</a:t>
            </a:fld>
            <a:endParaRPr lang="en-GB"/>
          </a:p>
        </p:txBody>
      </p:sp>
      <p:sp>
        <p:nvSpPr>
          <p:cNvPr id="8" name="Flowchart: Off-page Connector 7"/>
          <p:cNvSpPr/>
          <p:nvPr userDrawn="1"/>
        </p:nvSpPr>
        <p:spPr>
          <a:xfrm>
            <a:off x="11579922" y="6400719"/>
            <a:ext cx="380407" cy="380407"/>
          </a:xfrm>
          <a:prstGeom prst="flowChartOffpageConnector">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Tree>
    <p:extLst>
      <p:ext uri="{BB962C8B-B14F-4D97-AF65-F5344CB8AC3E}">
        <p14:creationId xmlns:p14="http://schemas.microsoft.com/office/powerpoint/2010/main" val="367162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540070" y="432000"/>
            <a:ext cx="11111047" cy="1080000"/>
          </a:xfrm>
        </p:spPr>
        <p:txBody>
          <a:bodyPr/>
          <a:lstStyle/>
          <a:p>
            <a:r>
              <a:rPr lang="en-US" dirty="0"/>
              <a:t>Click to edit Master title style</a:t>
            </a:r>
          </a:p>
        </p:txBody>
      </p:sp>
      <p:sp>
        <p:nvSpPr>
          <p:cNvPr id="13" name="Subtitle"/>
          <p:cNvSpPr>
            <a:spLocks noGrp="1"/>
          </p:cNvSpPr>
          <p:nvPr>
            <p:ph type="body" sz="quarter" idx="13" hasCustomPrompt="1"/>
          </p:nvPr>
        </p:nvSpPr>
        <p:spPr>
          <a:xfrm>
            <a:off x="540070"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p:txBody>
          <a:bodyPr/>
          <a:lstStyle/>
          <a:p>
            <a:fld id="{27FC3DAB-407D-4279-8EB6-232635B61438}" type="datetimeFigureOut">
              <a:rPr lang="en-US" smtClean="0"/>
              <a:t>10/8/25</a:t>
            </a:fld>
            <a:endParaRPr lang="en-US"/>
          </a:p>
        </p:txBody>
      </p:sp>
      <p:sp>
        <p:nvSpPr>
          <p:cNvPr id="5" name="Footer"/>
          <p:cNvSpPr>
            <a:spLocks noGrp="1"/>
          </p:cNvSpPr>
          <p:nvPr>
            <p:ph type="ftr" sz="quarter" idx="11"/>
          </p:nvPr>
        </p:nvSpPr>
        <p:spPr/>
        <p:txBody>
          <a:bodyPr/>
          <a:lstStyle/>
          <a:p>
            <a:endParaRPr lang="en-US"/>
          </a:p>
        </p:txBody>
      </p:sp>
      <p:sp>
        <p:nvSpPr>
          <p:cNvPr id="6" name="Slide Number"/>
          <p:cNvSpPr>
            <a:spLocks noGrp="1"/>
          </p:cNvSpPr>
          <p:nvPr>
            <p:ph type="sldNum" sz="quarter" idx="12"/>
          </p:nvPr>
        </p:nvSpPr>
        <p:spPr/>
        <p:txBody>
          <a:bodyPr/>
          <a:lstStyle/>
          <a:p>
            <a:fld id="{02CEFE82-39F2-4F47-8A0C-D5AB3496FA5C}" type="slidenum">
              <a:rPr lang="en-US" smtClean="0"/>
              <a:t>‹Nr.›</a:t>
            </a:fld>
            <a:endParaRPr lang="en-US"/>
          </a:p>
        </p:txBody>
      </p:sp>
    </p:spTree>
    <p:extLst>
      <p:ext uri="{BB962C8B-B14F-4D97-AF65-F5344CB8AC3E}">
        <p14:creationId xmlns:p14="http://schemas.microsoft.com/office/powerpoint/2010/main" val="307421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chedule overview">
    <p:spTree>
      <p:nvGrpSpPr>
        <p:cNvPr id="1" name=""/>
        <p:cNvGrpSpPr/>
        <p:nvPr/>
      </p:nvGrpSpPr>
      <p:grpSpPr>
        <a:xfrm>
          <a:off x="0" y="0"/>
          <a:ext cx="0" cy="0"/>
          <a:chOff x="0" y="0"/>
          <a:chExt cx="0" cy="0"/>
        </a:xfrm>
      </p:grpSpPr>
      <p:sp>
        <p:nvSpPr>
          <p:cNvPr id="10" name="Picture Placeholder 13"/>
          <p:cNvSpPr>
            <a:spLocks noGrp="1"/>
          </p:cNvSpPr>
          <p:nvPr>
            <p:ph type="pic" sz="quarter" idx="13"/>
          </p:nvPr>
        </p:nvSpPr>
        <p:spPr>
          <a:xfrm>
            <a:off x="-1588" y="2027403"/>
            <a:ext cx="12192000" cy="3268323"/>
          </a:xfrm>
          <a:effectLst/>
        </p:spPr>
        <p:txBody>
          <a:bodyPr>
            <a:normAutofit/>
          </a:bodyPr>
          <a:lstStyle>
            <a:lvl1pPr marL="0" indent="0">
              <a:buNone/>
              <a:defRPr sz="1576">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199864732"/>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am-Support">
    <p:spTree>
      <p:nvGrpSpPr>
        <p:cNvPr id="1" name=""/>
        <p:cNvGrpSpPr/>
        <p:nvPr/>
      </p:nvGrpSpPr>
      <p:grpSpPr>
        <a:xfrm>
          <a:off x="0" y="0"/>
          <a:ext cx="0" cy="0"/>
          <a:chOff x="0" y="0"/>
          <a:chExt cx="0" cy="0"/>
        </a:xfrm>
      </p:grpSpPr>
      <p:sp>
        <p:nvSpPr>
          <p:cNvPr id="14" name="Picture Placeholder 13"/>
          <p:cNvSpPr>
            <a:spLocks noGrp="1" noChangeAspect="1"/>
          </p:cNvSpPr>
          <p:nvPr>
            <p:ph type="pic" sz="quarter" idx="10" hasCustomPrompt="1"/>
          </p:nvPr>
        </p:nvSpPr>
        <p:spPr>
          <a:xfrm>
            <a:off x="1368167" y="1603017"/>
            <a:ext cx="1259943" cy="1258811"/>
          </a:xfrm>
          <a:prstGeom prst="ellipse">
            <a:avLst/>
          </a:prstGeom>
        </p:spPr>
        <p:txBody>
          <a:bodyPr>
            <a:noAutofit/>
          </a:bodyPr>
          <a:lstStyle>
            <a:lvl1pPr marL="0" indent="0">
              <a:lnSpc>
                <a:spcPct val="130000"/>
              </a:lnSpc>
              <a:buNone/>
              <a:defRPr sz="900" baseline="0"/>
            </a:lvl1pPr>
          </a:lstStyle>
          <a:p>
            <a:r>
              <a:rPr lang="en-US" dirty="0"/>
              <a:t>Drag  Your Picture Here</a:t>
            </a:r>
          </a:p>
        </p:txBody>
      </p:sp>
      <p:sp>
        <p:nvSpPr>
          <p:cNvPr id="75" name="Picture Placeholder 13"/>
          <p:cNvSpPr>
            <a:spLocks noGrp="1" noChangeAspect="1"/>
          </p:cNvSpPr>
          <p:nvPr>
            <p:ph type="pic" sz="quarter" idx="11" hasCustomPrompt="1"/>
          </p:nvPr>
        </p:nvSpPr>
        <p:spPr>
          <a:xfrm>
            <a:off x="4134533" y="1592557"/>
            <a:ext cx="1259943" cy="1258811"/>
          </a:xfrm>
          <a:prstGeom prst="ellipse">
            <a:avLst/>
          </a:prstGeom>
        </p:spPr>
        <p:txBody>
          <a:bodyPr>
            <a:normAutofit/>
          </a:bodyPr>
          <a:lstStyle>
            <a:lvl1pPr marL="0" indent="0">
              <a:lnSpc>
                <a:spcPct val="130000"/>
              </a:lnSpc>
              <a:buNone/>
              <a:defRPr sz="900"/>
            </a:lvl1pPr>
          </a:lstStyle>
          <a:p>
            <a:r>
              <a:rPr lang="en-US" dirty="0"/>
              <a:t>Drag  Your Picture Here</a:t>
            </a:r>
          </a:p>
        </p:txBody>
      </p:sp>
      <p:sp>
        <p:nvSpPr>
          <p:cNvPr id="76" name="Picture Placeholder 13"/>
          <p:cNvSpPr>
            <a:spLocks noGrp="1" noChangeAspect="1"/>
          </p:cNvSpPr>
          <p:nvPr>
            <p:ph type="pic" sz="quarter" idx="12" hasCustomPrompt="1"/>
          </p:nvPr>
        </p:nvSpPr>
        <p:spPr>
          <a:xfrm>
            <a:off x="6839989" y="1609009"/>
            <a:ext cx="1259943" cy="1258811"/>
          </a:xfrm>
          <a:prstGeom prst="ellipse">
            <a:avLst/>
          </a:prstGeom>
        </p:spPr>
        <p:txBody>
          <a:bodyPr>
            <a:normAutofit/>
          </a:bodyPr>
          <a:lstStyle>
            <a:lvl1pPr marL="0" marR="0" indent="0" algn="l" defTabSz="685916" rtl="0" eaLnBrk="1" fontAlgn="auto" latinLnBrk="0" hangingPunct="1">
              <a:lnSpc>
                <a:spcPct val="130000"/>
              </a:lnSpc>
              <a:spcBef>
                <a:spcPts val="751"/>
              </a:spcBef>
              <a:spcAft>
                <a:spcPts val="0"/>
              </a:spcAft>
              <a:buClrTx/>
              <a:buSzTx/>
              <a:buFont typeface="Arial" panose="020B0604020202020204" pitchFamily="34" charset="0"/>
              <a:buNone/>
              <a:tabLst/>
              <a:defRPr sz="900"/>
            </a:lvl1pPr>
          </a:lstStyle>
          <a:p>
            <a:r>
              <a:rPr lang="en-US" dirty="0"/>
              <a:t>Drag  Your Picture Here</a:t>
            </a:r>
          </a:p>
          <a:p>
            <a:endParaRPr lang="en-US" dirty="0"/>
          </a:p>
        </p:txBody>
      </p:sp>
      <p:sp>
        <p:nvSpPr>
          <p:cNvPr id="77" name="Picture Placeholder 13"/>
          <p:cNvSpPr>
            <a:spLocks noGrp="1" noChangeAspect="1"/>
          </p:cNvSpPr>
          <p:nvPr>
            <p:ph type="pic" sz="quarter" idx="13" hasCustomPrompt="1"/>
          </p:nvPr>
        </p:nvSpPr>
        <p:spPr>
          <a:xfrm>
            <a:off x="9564329" y="1609009"/>
            <a:ext cx="1259943" cy="1258811"/>
          </a:xfrm>
          <a:prstGeom prst="ellipse">
            <a:avLst/>
          </a:prstGeom>
        </p:spPr>
        <p:txBody>
          <a:bodyPr>
            <a:normAutofit/>
          </a:bodyPr>
          <a:lstStyle>
            <a:lvl1pPr marL="0" marR="0" indent="0" algn="l" defTabSz="685916" rtl="0" eaLnBrk="1" fontAlgn="auto" latinLnBrk="0" hangingPunct="1">
              <a:lnSpc>
                <a:spcPct val="130000"/>
              </a:lnSpc>
              <a:spcBef>
                <a:spcPts val="751"/>
              </a:spcBef>
              <a:spcAft>
                <a:spcPts val="0"/>
              </a:spcAft>
              <a:buClrTx/>
              <a:buSzTx/>
              <a:buFont typeface="Arial" panose="020B0604020202020204" pitchFamily="34" charset="0"/>
              <a:buNone/>
              <a:tabLst/>
              <a:defRPr sz="900"/>
            </a:lvl1pPr>
          </a:lstStyle>
          <a:p>
            <a:r>
              <a:rPr lang="en-US" dirty="0"/>
              <a:t>Drag  Your Picture Here</a:t>
            </a:r>
          </a:p>
          <a:p>
            <a:endParaRPr lang="en-US" dirty="0"/>
          </a:p>
        </p:txBody>
      </p:sp>
      <p:sp>
        <p:nvSpPr>
          <p:cNvPr id="78" name="Picture Placeholder 13"/>
          <p:cNvSpPr>
            <a:spLocks noGrp="1" noChangeAspect="1"/>
          </p:cNvSpPr>
          <p:nvPr>
            <p:ph type="pic" sz="quarter" idx="14" hasCustomPrompt="1"/>
          </p:nvPr>
        </p:nvSpPr>
        <p:spPr>
          <a:xfrm>
            <a:off x="8214261" y="4054261"/>
            <a:ext cx="1259943" cy="1258811"/>
          </a:xfrm>
          <a:prstGeom prst="ellipse">
            <a:avLst/>
          </a:prstGeom>
        </p:spPr>
        <p:txBody>
          <a:bodyPr>
            <a:normAutofit/>
          </a:bodyPr>
          <a:lstStyle>
            <a:lvl1pPr>
              <a:lnSpc>
                <a:spcPct val="130000"/>
              </a:lnSpc>
              <a:defRPr sz="900"/>
            </a:lvl1pPr>
          </a:lstStyle>
          <a:p>
            <a:r>
              <a:rPr lang="en-US" dirty="0"/>
              <a:t>Drag  Your Picture Here</a:t>
            </a:r>
          </a:p>
        </p:txBody>
      </p:sp>
      <p:sp>
        <p:nvSpPr>
          <p:cNvPr id="79" name="Picture Placeholder 13"/>
          <p:cNvSpPr>
            <a:spLocks noGrp="1" noChangeAspect="1"/>
          </p:cNvSpPr>
          <p:nvPr>
            <p:ph type="pic" sz="quarter" idx="15" hasCustomPrompt="1"/>
          </p:nvPr>
        </p:nvSpPr>
        <p:spPr>
          <a:xfrm>
            <a:off x="5499537" y="4054261"/>
            <a:ext cx="1259943" cy="1258811"/>
          </a:xfrm>
          <a:prstGeom prst="ellipse">
            <a:avLst/>
          </a:prstGeom>
        </p:spPr>
        <p:txBody>
          <a:bodyPr>
            <a:normAutofit/>
          </a:bodyPr>
          <a:lstStyle>
            <a:lvl1pPr marL="0" marR="0" indent="0" algn="l" defTabSz="685916" rtl="0" eaLnBrk="1" fontAlgn="auto" latinLnBrk="0" hangingPunct="1">
              <a:lnSpc>
                <a:spcPct val="130000"/>
              </a:lnSpc>
              <a:spcBef>
                <a:spcPts val="751"/>
              </a:spcBef>
              <a:spcAft>
                <a:spcPts val="0"/>
              </a:spcAft>
              <a:buClrTx/>
              <a:buSzTx/>
              <a:buFont typeface="Arial" panose="020B0604020202020204" pitchFamily="34" charset="0"/>
              <a:buNone/>
              <a:tabLst/>
              <a:defRPr sz="900"/>
            </a:lvl1pPr>
          </a:lstStyle>
          <a:p>
            <a:r>
              <a:rPr lang="en-US" dirty="0"/>
              <a:t>Drag  Your Picture Here</a:t>
            </a:r>
          </a:p>
          <a:p>
            <a:endParaRPr lang="en-US" dirty="0"/>
          </a:p>
        </p:txBody>
      </p:sp>
      <p:sp>
        <p:nvSpPr>
          <p:cNvPr id="80" name="Picture Placeholder 13"/>
          <p:cNvSpPr>
            <a:spLocks noGrp="1" noChangeAspect="1"/>
          </p:cNvSpPr>
          <p:nvPr>
            <p:ph type="pic" sz="quarter" idx="16" hasCustomPrompt="1"/>
          </p:nvPr>
        </p:nvSpPr>
        <p:spPr>
          <a:xfrm>
            <a:off x="2756074" y="4040049"/>
            <a:ext cx="1259943" cy="1258811"/>
          </a:xfrm>
          <a:prstGeom prst="ellipse">
            <a:avLst/>
          </a:prstGeom>
        </p:spPr>
        <p:txBody>
          <a:bodyPr>
            <a:normAutofit/>
          </a:bodyPr>
          <a:lstStyle>
            <a:lvl1pPr marL="0" marR="0" indent="0" algn="l" defTabSz="685916" rtl="0" eaLnBrk="1" fontAlgn="auto" latinLnBrk="0" hangingPunct="1">
              <a:lnSpc>
                <a:spcPct val="130000"/>
              </a:lnSpc>
              <a:spcBef>
                <a:spcPts val="751"/>
              </a:spcBef>
              <a:spcAft>
                <a:spcPts val="0"/>
              </a:spcAft>
              <a:buClrTx/>
              <a:buSzTx/>
              <a:buFont typeface="Arial" panose="020B0604020202020204" pitchFamily="34" charset="0"/>
              <a:buNone/>
              <a:tabLst/>
              <a:defRPr sz="900"/>
            </a:lvl1pPr>
          </a:lstStyle>
          <a:p>
            <a:r>
              <a:rPr lang="en-US" dirty="0"/>
              <a:t>Drag  Your Picture Here</a:t>
            </a:r>
          </a:p>
          <a:p>
            <a:endParaRPr lang="en-US" dirty="0"/>
          </a:p>
        </p:txBody>
      </p:sp>
    </p:spTree>
    <p:extLst>
      <p:ext uri="{BB962C8B-B14F-4D97-AF65-F5344CB8AC3E}">
        <p14:creationId xmlns:p14="http://schemas.microsoft.com/office/powerpoint/2010/main" val="1766388996"/>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meline 1">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7" y="4544123"/>
            <a:ext cx="3099468" cy="2018371"/>
          </a:xfrm>
          <a:prstGeom prst="rect">
            <a:avLst/>
          </a:prstGeom>
          <a:effectLst/>
        </p:spPr>
        <p:txBody>
          <a:bodyPr>
            <a:normAutofit/>
          </a:bodyPr>
          <a:lstStyle>
            <a:lvl1pPr marL="0" indent="0">
              <a:buNone/>
              <a:defRPr sz="975" b="0" i="0">
                <a:ln>
                  <a:noFill/>
                </a:ln>
                <a:solidFill>
                  <a:schemeClr val="bg1">
                    <a:lumMod val="85000"/>
                  </a:schemeClr>
                </a:solidFill>
                <a:latin typeface="Lato Light" charset="0"/>
                <a:ea typeface="Lato Light" charset="0"/>
                <a:cs typeface="Lato Light" charset="0"/>
              </a:defRPr>
            </a:lvl1pPr>
          </a:lstStyle>
          <a:p>
            <a:endParaRPr lang="en-US" dirty="0"/>
          </a:p>
        </p:txBody>
      </p:sp>
      <p:sp>
        <p:nvSpPr>
          <p:cNvPr id="9" name="Picture Placeholder 13"/>
          <p:cNvSpPr>
            <a:spLocks noGrp="1"/>
          </p:cNvSpPr>
          <p:nvPr>
            <p:ph type="pic" sz="quarter" idx="18"/>
          </p:nvPr>
        </p:nvSpPr>
        <p:spPr>
          <a:xfrm>
            <a:off x="2432978" y="3289612"/>
            <a:ext cx="3099468" cy="2018371"/>
          </a:xfrm>
          <a:prstGeom prst="rect">
            <a:avLst/>
          </a:prstGeom>
          <a:effectLst/>
        </p:spPr>
        <p:txBody>
          <a:bodyPr>
            <a:normAutofit/>
          </a:bodyPr>
          <a:lstStyle>
            <a:lvl1pPr marL="0" indent="0">
              <a:buNone/>
              <a:defRPr sz="975" b="0" i="0">
                <a:ln>
                  <a:noFill/>
                </a:ln>
                <a:solidFill>
                  <a:schemeClr val="bg1">
                    <a:lumMod val="85000"/>
                  </a:schemeClr>
                </a:solidFill>
                <a:latin typeface="Lato Light" charset="0"/>
                <a:ea typeface="Lato Light" charset="0"/>
                <a:cs typeface="Lato Light" charset="0"/>
              </a:defRPr>
            </a:lvl1pPr>
          </a:lstStyle>
          <a:p>
            <a:endParaRPr lang="en-US" dirty="0"/>
          </a:p>
        </p:txBody>
      </p:sp>
      <p:sp>
        <p:nvSpPr>
          <p:cNvPr id="2" name="Rectangle 1"/>
          <p:cNvSpPr/>
          <p:nvPr userDrawn="1"/>
        </p:nvSpPr>
        <p:spPr>
          <a:xfrm>
            <a:off x="2895184" y="6278137"/>
            <a:ext cx="6404741" cy="4125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Lato Light"/>
              <a:ea typeface="+mn-ea"/>
              <a:cs typeface="+mn-cs"/>
            </a:endParaRPr>
          </a:p>
        </p:txBody>
      </p:sp>
    </p:spTree>
    <p:extLst>
      <p:ext uri="{BB962C8B-B14F-4D97-AF65-F5344CB8AC3E}">
        <p14:creationId xmlns:p14="http://schemas.microsoft.com/office/powerpoint/2010/main" val="615668874"/>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3_Blank">
    <p:spTree>
      <p:nvGrpSpPr>
        <p:cNvPr id="1" name=""/>
        <p:cNvGrpSpPr/>
        <p:nvPr/>
      </p:nvGrpSpPr>
      <p:grpSpPr>
        <a:xfrm>
          <a:off x="0" y="0"/>
          <a:ext cx="0" cy="0"/>
          <a:chOff x="0" y="0"/>
          <a:chExt cx="0" cy="0"/>
        </a:xfrm>
      </p:grpSpPr>
      <p:sp>
        <p:nvSpPr>
          <p:cNvPr id="8"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9" name="TextBox 8"/>
          <p:cNvSpPr txBox="1"/>
          <p:nvPr userDrawn="1"/>
        </p:nvSpPr>
        <p:spPr>
          <a:xfrm>
            <a:off x="399052" y="6394263"/>
            <a:ext cx="1308692" cy="230832"/>
          </a:xfrm>
          <a:prstGeom prst="rect">
            <a:avLst/>
          </a:prstGeom>
          <a:noFill/>
        </p:spPr>
        <p:txBody>
          <a:bodyPr wrap="none" rtlCol="0">
            <a:spAutoFit/>
          </a:bodyPr>
          <a:lstStyle/>
          <a:p>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
        <p:nvSpPr>
          <p:cNvPr id="13" name="Picture Placeholder 47"/>
          <p:cNvSpPr>
            <a:spLocks noGrp="1"/>
          </p:cNvSpPr>
          <p:nvPr>
            <p:ph type="pic" sz="quarter" idx="13"/>
          </p:nvPr>
        </p:nvSpPr>
        <p:spPr>
          <a:xfrm>
            <a:off x="928358" y="1393472"/>
            <a:ext cx="3987977" cy="2340797"/>
          </a:xfrm>
          <a:solidFill>
            <a:srgbClr val="E1E9EA">
              <a:alpha val="70000"/>
            </a:srgbClr>
          </a:solidFill>
        </p:spPr>
        <p:txBody>
          <a:bodyPr vert="horz" lIns="91440" tIns="45720" rIns="91440" bIns="45720" rtlCol="0">
            <a:normAutofit/>
          </a:bodyPr>
          <a:lstStyle>
            <a:lvl1pPr>
              <a:defRPr lang="en-US" sz="1351" dirty="0"/>
            </a:lvl1pPr>
          </a:lstStyle>
          <a:p>
            <a:pPr marL="0" lvl="0" indent="0">
              <a:buNone/>
            </a:pPr>
            <a:endParaRPr lang="en-US" dirty="0"/>
          </a:p>
        </p:txBody>
      </p:sp>
    </p:spTree>
    <p:extLst>
      <p:ext uri="{BB962C8B-B14F-4D97-AF65-F5344CB8AC3E}">
        <p14:creationId xmlns:p14="http://schemas.microsoft.com/office/powerpoint/2010/main" val="2668478726"/>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8" name="Content 1"/>
          <p:cNvSpPr>
            <a:spLocks noGrp="1"/>
          </p:cNvSpPr>
          <p:nvPr>
            <p:ph sz="half" idx="1"/>
          </p:nvPr>
        </p:nvSpPr>
        <p:spPr>
          <a:xfrm>
            <a:off x="651640" y="2822031"/>
            <a:ext cx="2606785" cy="2988368"/>
          </a:xfrm>
          <a:solidFill>
            <a:schemeClr val="bg2">
              <a:lumMod val="95000"/>
            </a:schemeClr>
          </a:solidFill>
        </p:spPr>
        <p:txBody>
          <a:bodyPr lIns="144000" tIns="252000" rIns="144000" bIns="108000"/>
          <a:lstStyle>
            <a:lvl1pPr>
              <a:defRPr sz="1400"/>
            </a:lvl1pPr>
            <a:lvl2pPr>
              <a:defRPr sz="1200"/>
            </a:lvl2pPr>
            <a:lvl3pPr>
              <a:defRPr sz="1100"/>
            </a:lvl3pPr>
            <a:lvl4pPr>
              <a:defRPr sz="1051"/>
            </a:lvl4pPr>
            <a:lvl5pPr>
              <a:defRPr sz="1051"/>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Content 1"/>
          <p:cNvSpPr>
            <a:spLocks noGrp="1"/>
          </p:cNvSpPr>
          <p:nvPr>
            <p:ph sz="half" idx="18"/>
          </p:nvPr>
        </p:nvSpPr>
        <p:spPr>
          <a:xfrm>
            <a:off x="3404988" y="2822031"/>
            <a:ext cx="2606785" cy="2988368"/>
          </a:xfrm>
          <a:solidFill>
            <a:schemeClr val="bg2">
              <a:lumMod val="95000"/>
            </a:schemeClr>
          </a:solidFill>
        </p:spPr>
        <p:txBody>
          <a:bodyPr lIns="144000" tIns="252000" rIns="144000" bIns="108000"/>
          <a:lstStyle>
            <a:lvl1pPr>
              <a:defRPr sz="1400"/>
            </a:lvl1pPr>
            <a:lvl2pPr>
              <a:defRPr sz="1200"/>
            </a:lvl2pPr>
            <a:lvl3pPr>
              <a:defRPr sz="1100"/>
            </a:lvl3pPr>
            <a:lvl4pPr>
              <a:defRPr sz="1051"/>
            </a:lvl4pPr>
            <a:lvl5pPr>
              <a:defRPr sz="1051"/>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1" name="Content 1"/>
          <p:cNvSpPr>
            <a:spLocks noGrp="1"/>
          </p:cNvSpPr>
          <p:nvPr>
            <p:ph sz="half" idx="19"/>
          </p:nvPr>
        </p:nvSpPr>
        <p:spPr>
          <a:xfrm>
            <a:off x="6158337" y="2822031"/>
            <a:ext cx="2606785" cy="2988368"/>
          </a:xfrm>
          <a:solidFill>
            <a:schemeClr val="bg2">
              <a:lumMod val="95000"/>
            </a:schemeClr>
          </a:solidFill>
        </p:spPr>
        <p:txBody>
          <a:bodyPr lIns="144000" tIns="252000" rIns="144000" bIns="108000"/>
          <a:lstStyle>
            <a:lvl1pPr>
              <a:defRPr sz="1400"/>
            </a:lvl1pPr>
            <a:lvl2pPr>
              <a:defRPr sz="1200"/>
            </a:lvl2pPr>
            <a:lvl3pPr>
              <a:defRPr sz="1100"/>
            </a:lvl3pPr>
            <a:lvl4pPr>
              <a:defRPr sz="1051"/>
            </a:lvl4pPr>
            <a:lvl5pPr>
              <a:defRPr sz="1051"/>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2" name="Content 1"/>
          <p:cNvSpPr>
            <a:spLocks noGrp="1"/>
          </p:cNvSpPr>
          <p:nvPr>
            <p:ph sz="half" idx="20"/>
          </p:nvPr>
        </p:nvSpPr>
        <p:spPr>
          <a:xfrm>
            <a:off x="8911685" y="2822031"/>
            <a:ext cx="2606785" cy="2988368"/>
          </a:xfrm>
          <a:solidFill>
            <a:schemeClr val="bg2">
              <a:lumMod val="95000"/>
            </a:schemeClr>
          </a:solidFill>
        </p:spPr>
        <p:txBody>
          <a:bodyPr lIns="144000" tIns="252000" rIns="144000" bIns="108000"/>
          <a:lstStyle>
            <a:lvl1pPr>
              <a:defRPr sz="1400"/>
            </a:lvl1pPr>
            <a:lvl2pPr>
              <a:defRPr sz="1200"/>
            </a:lvl2pPr>
            <a:lvl3pPr>
              <a:defRPr sz="1100"/>
            </a:lvl3pPr>
            <a:lvl4pPr>
              <a:defRPr sz="1051"/>
            </a:lvl4pPr>
            <a:lvl5pPr>
              <a:defRPr sz="1051"/>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1" name="AutoShape 6"/>
          <p:cNvSpPr>
            <a:spLocks noChangeArrowheads="1"/>
          </p:cNvSpPr>
          <p:nvPr userDrawn="1"/>
        </p:nvSpPr>
        <p:spPr bwMode="gray">
          <a:xfrm>
            <a:off x="651637" y="2096459"/>
            <a:ext cx="2739435" cy="715155"/>
          </a:xfrm>
          <a:prstGeom prst="chevron">
            <a:avLst>
              <a:gd name="adj" fmla="val 17533"/>
            </a:avLst>
          </a:prstGeom>
          <a:solidFill>
            <a:schemeClr val="accent1">
              <a:lumMod val="75000"/>
            </a:schemeClr>
          </a:solidFill>
          <a:ln w="12700">
            <a:noFill/>
            <a:miter lim="800000"/>
            <a:headEnd/>
            <a:tailEnd/>
          </a:ln>
          <a:effectLst/>
        </p:spPr>
        <p:txBody>
          <a:bodyPr lIns="0" tIns="0" rIns="0" bIns="0" anchor="ctr" anchorCtr="0"/>
          <a:lstStyle/>
          <a:p>
            <a:pPr algn="ctr">
              <a:lnSpc>
                <a:spcPct val="80000"/>
              </a:lnSpc>
              <a:spcAft>
                <a:spcPts val="1000"/>
              </a:spcAft>
            </a:pPr>
            <a:endParaRPr lang="de-DE" sz="2400" dirty="0">
              <a:solidFill>
                <a:srgbClr val="FFFFFF"/>
              </a:solidFill>
              <a:latin typeface="Bebas Neue" panose="020B0506020202020201" pitchFamily="34" charset="0"/>
              <a:cs typeface="Arial" charset="0"/>
            </a:endParaRPr>
          </a:p>
        </p:txBody>
      </p:sp>
      <p:sp>
        <p:nvSpPr>
          <p:cNvPr id="2" name="Title"/>
          <p:cNvSpPr>
            <a:spLocks noGrp="1"/>
          </p:cNvSpPr>
          <p:nvPr>
            <p:ph type="title"/>
          </p:nvPr>
        </p:nvSpPr>
        <p:spPr/>
        <p:txBody>
          <a:bodyPr/>
          <a:lstStyle/>
          <a:p>
            <a:r>
              <a:rPr lang="en-US" dirty="0"/>
              <a:t>Click to edit Master title style</a:t>
            </a:r>
          </a:p>
        </p:txBody>
      </p:sp>
      <p:sp>
        <p:nvSpPr>
          <p:cNvPr id="7" name="Subline"/>
          <p:cNvSpPr>
            <a:spLocks noGrp="1"/>
          </p:cNvSpPr>
          <p:nvPr>
            <p:ph type="body" sz="quarter" idx="13" hasCustomPrompt="1"/>
          </p:nvPr>
        </p:nvSpPr>
        <p:spPr>
          <a:xfrm>
            <a:off x="540070"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Date"/>
          <p:cNvSpPr>
            <a:spLocks noGrp="1"/>
          </p:cNvSpPr>
          <p:nvPr>
            <p:ph type="dt" sz="half" idx="10"/>
          </p:nvPr>
        </p:nvSpPr>
        <p:spPr/>
        <p:txBody>
          <a:bodyPr/>
          <a:lstStyle/>
          <a:p>
            <a:fld id="{27FC3DAB-407D-4279-8EB6-232635B61438}" type="datetimeFigureOut">
              <a:rPr lang="en-US" smtClean="0"/>
              <a:t>10/8/25</a:t>
            </a:fld>
            <a:endParaRPr lang="en-US"/>
          </a:p>
        </p:txBody>
      </p:sp>
      <p:sp>
        <p:nvSpPr>
          <p:cNvPr id="4" name="Footer"/>
          <p:cNvSpPr>
            <a:spLocks noGrp="1"/>
          </p:cNvSpPr>
          <p:nvPr>
            <p:ph type="ftr" sz="quarter" idx="11"/>
          </p:nvPr>
        </p:nvSpPr>
        <p:spPr/>
        <p:txBody>
          <a:bodyPr/>
          <a:lstStyle/>
          <a:p>
            <a:endParaRPr lang="en-US"/>
          </a:p>
        </p:txBody>
      </p:sp>
      <p:sp>
        <p:nvSpPr>
          <p:cNvPr id="5" name="Slide Number"/>
          <p:cNvSpPr>
            <a:spLocks noGrp="1"/>
          </p:cNvSpPr>
          <p:nvPr>
            <p:ph type="sldNum" sz="quarter" idx="12"/>
          </p:nvPr>
        </p:nvSpPr>
        <p:spPr/>
        <p:txBody>
          <a:bodyPr/>
          <a:lstStyle/>
          <a:p>
            <a:fld id="{02CEFE82-39F2-4F47-8A0C-D5AB3496FA5C}" type="slidenum">
              <a:rPr lang="en-US" smtClean="0"/>
              <a:t>‹Nr.›</a:t>
            </a:fld>
            <a:endParaRPr lang="en-US"/>
          </a:p>
        </p:txBody>
      </p:sp>
      <p:grpSp>
        <p:nvGrpSpPr>
          <p:cNvPr id="35" name="Gruppieren 34"/>
          <p:cNvGrpSpPr/>
          <p:nvPr/>
        </p:nvGrpSpPr>
        <p:grpSpPr>
          <a:xfrm>
            <a:off x="578723" y="1512001"/>
            <a:ext cx="728484" cy="728052"/>
            <a:chOff x="236752" y="1619435"/>
            <a:chExt cx="606054" cy="606054"/>
          </a:xfrm>
        </p:grpSpPr>
        <p:sp>
          <p:nvSpPr>
            <p:cNvPr id="49" name="Ellipse 48"/>
            <p:cNvSpPr/>
            <p:nvPr/>
          </p:nvSpPr>
          <p:spPr bwMode="gray">
            <a:xfrm>
              <a:off x="236752" y="1619435"/>
              <a:ext cx="606054" cy="606054"/>
            </a:xfrm>
            <a:prstGeom prst="ellipse">
              <a:avLst/>
            </a:prstGeom>
            <a:solidFill>
              <a:schemeClr val="accent1">
                <a:lumMod val="75000"/>
              </a:schemeClr>
            </a:solidFill>
            <a:ln w="12700">
              <a:noFill/>
              <a:round/>
              <a:headEnd/>
              <a:tailEnd/>
            </a:ln>
          </p:spPr>
          <p:txBody>
            <a:bodyPr rtlCol="0" anchor="ctr"/>
            <a:lstStyle/>
            <a:p>
              <a:pPr algn="ctr">
                <a:lnSpc>
                  <a:spcPct val="80000"/>
                </a:lnSpc>
                <a:spcAft>
                  <a:spcPts val="1000"/>
                </a:spcAft>
              </a:pPr>
              <a:endParaRPr lang="de-DE" sz="2400" dirty="0">
                <a:latin typeface="Calibri Light" panose="020F0302020204030204" pitchFamily="34" charset="0"/>
              </a:endParaRPr>
            </a:p>
          </p:txBody>
        </p:sp>
        <p:sp>
          <p:nvSpPr>
            <p:cNvPr id="50" name="Ellipse 49"/>
            <p:cNvSpPr/>
            <p:nvPr/>
          </p:nvSpPr>
          <p:spPr bwMode="gray">
            <a:xfrm>
              <a:off x="296779" y="1679461"/>
              <a:ext cx="486000" cy="486000"/>
            </a:xfrm>
            <a:prstGeom prst="ellipse">
              <a:avLst/>
            </a:prstGeom>
            <a:gradFill>
              <a:gsLst>
                <a:gs pos="47500">
                  <a:schemeClr val="bg1">
                    <a:lumMod val="95000"/>
                  </a:schemeClr>
                </a:gs>
                <a:gs pos="0">
                  <a:schemeClr val="bg1">
                    <a:lumMod val="95000"/>
                  </a:schemeClr>
                </a:gs>
                <a:gs pos="100000">
                  <a:schemeClr val="bg1">
                    <a:lumMod val="95000"/>
                  </a:schemeClr>
                </a:gs>
              </a:gsLst>
              <a:lin ang="16200000" scaled="1"/>
            </a:gradFill>
            <a:ln w="12700">
              <a:noFill/>
              <a:round/>
              <a:headEnd/>
              <a:tailEnd/>
            </a:ln>
            <a:effectLst/>
          </p:spPr>
          <p:txBody>
            <a:bodyPr lIns="0" tIns="0" rIns="0" bIns="0" rtlCol="0" anchor="ctr"/>
            <a:lstStyle/>
            <a:p>
              <a:pPr algn="ctr">
                <a:lnSpc>
                  <a:spcPct val="80000"/>
                </a:lnSpc>
                <a:spcAft>
                  <a:spcPts val="1000"/>
                </a:spcAft>
              </a:pPr>
              <a:r>
                <a:rPr lang="de-DE" sz="3200" dirty="0">
                  <a:solidFill>
                    <a:schemeClr val="tx1">
                      <a:lumMod val="50000"/>
                      <a:lumOff val="50000"/>
                    </a:schemeClr>
                  </a:solidFill>
                  <a:latin typeface="Bebas Neue" panose="020B0506020202020201" pitchFamily="34" charset="0"/>
                </a:rPr>
                <a:t>1</a:t>
              </a:r>
            </a:p>
          </p:txBody>
        </p:sp>
      </p:grpSp>
      <p:sp>
        <p:nvSpPr>
          <p:cNvPr id="36" name="AutoShape 9"/>
          <p:cNvSpPr>
            <a:spLocks noChangeArrowheads="1"/>
          </p:cNvSpPr>
          <p:nvPr/>
        </p:nvSpPr>
        <p:spPr bwMode="gray">
          <a:xfrm>
            <a:off x="6158335" y="2096459"/>
            <a:ext cx="2739435" cy="715155"/>
          </a:xfrm>
          <a:prstGeom prst="chevron">
            <a:avLst>
              <a:gd name="adj" fmla="val 17533"/>
            </a:avLst>
          </a:prstGeom>
          <a:solidFill>
            <a:schemeClr val="accent6">
              <a:lumMod val="50000"/>
            </a:schemeClr>
          </a:solidFill>
          <a:ln w="12700">
            <a:noFill/>
            <a:miter lim="800000"/>
            <a:headEnd/>
            <a:tailEnd/>
          </a:ln>
          <a:effectLst/>
        </p:spPr>
        <p:txBody>
          <a:bodyPr lIns="0" tIns="0" rIns="0" bIns="0" anchor="ctr" anchorCtr="0"/>
          <a:lstStyle/>
          <a:p>
            <a:pPr algn="ctr">
              <a:lnSpc>
                <a:spcPct val="80000"/>
              </a:lnSpc>
              <a:spcAft>
                <a:spcPts val="1000"/>
              </a:spcAft>
            </a:pPr>
            <a:endParaRPr lang="de-DE" sz="2400" dirty="0">
              <a:solidFill>
                <a:srgbClr val="FFFFFF"/>
              </a:solidFill>
              <a:latin typeface="Bebas Neue" panose="020B0506020202020201" pitchFamily="34" charset="0"/>
              <a:cs typeface="Arial" charset="0"/>
            </a:endParaRPr>
          </a:p>
        </p:txBody>
      </p:sp>
      <p:grpSp>
        <p:nvGrpSpPr>
          <p:cNvPr id="38" name="Gruppieren 37"/>
          <p:cNvGrpSpPr/>
          <p:nvPr/>
        </p:nvGrpSpPr>
        <p:grpSpPr>
          <a:xfrm>
            <a:off x="6087967" y="1512001"/>
            <a:ext cx="728484" cy="728052"/>
            <a:chOff x="236752" y="1619435"/>
            <a:chExt cx="606054" cy="606054"/>
          </a:xfrm>
        </p:grpSpPr>
        <p:sp>
          <p:nvSpPr>
            <p:cNvPr id="47" name="Ellipse 46"/>
            <p:cNvSpPr/>
            <p:nvPr/>
          </p:nvSpPr>
          <p:spPr bwMode="gray">
            <a:xfrm>
              <a:off x="236752" y="1619435"/>
              <a:ext cx="606054" cy="606054"/>
            </a:xfrm>
            <a:prstGeom prst="ellipse">
              <a:avLst/>
            </a:prstGeom>
            <a:solidFill>
              <a:schemeClr val="accent6">
                <a:lumMod val="50000"/>
              </a:schemeClr>
            </a:solidFill>
            <a:ln w="12700">
              <a:noFill/>
              <a:round/>
              <a:headEnd/>
              <a:tailEnd/>
            </a:ln>
          </p:spPr>
          <p:txBody>
            <a:bodyPr rtlCol="0" anchor="ctr"/>
            <a:lstStyle/>
            <a:p>
              <a:pPr algn="ctr">
                <a:lnSpc>
                  <a:spcPct val="90000"/>
                </a:lnSpc>
                <a:spcAft>
                  <a:spcPts val="600"/>
                </a:spcAft>
              </a:pPr>
              <a:endParaRPr lang="de-DE" sz="2400" dirty="0">
                <a:latin typeface="Calibri Light" panose="020F0302020204030204" pitchFamily="34" charset="0"/>
              </a:endParaRPr>
            </a:p>
          </p:txBody>
        </p:sp>
        <p:sp>
          <p:nvSpPr>
            <p:cNvPr id="48" name="Ellipse 47"/>
            <p:cNvSpPr/>
            <p:nvPr/>
          </p:nvSpPr>
          <p:spPr bwMode="gray">
            <a:xfrm>
              <a:off x="296779" y="1679462"/>
              <a:ext cx="486000" cy="486000"/>
            </a:xfrm>
            <a:prstGeom prst="ellipse">
              <a:avLst/>
            </a:prstGeom>
            <a:gradFill>
              <a:gsLst>
                <a:gs pos="47500">
                  <a:schemeClr val="bg1">
                    <a:lumMod val="95000"/>
                  </a:schemeClr>
                </a:gs>
                <a:gs pos="0">
                  <a:schemeClr val="bg1">
                    <a:lumMod val="95000"/>
                  </a:schemeClr>
                </a:gs>
                <a:gs pos="100000">
                  <a:schemeClr val="bg1">
                    <a:lumMod val="95000"/>
                  </a:schemeClr>
                </a:gs>
              </a:gsLst>
              <a:lin ang="16200000" scaled="1"/>
            </a:gradFill>
            <a:ln w="12700">
              <a:noFill/>
              <a:round/>
              <a:headEnd/>
              <a:tailEnd/>
            </a:ln>
            <a:effectLst/>
          </p:spPr>
          <p:txBody>
            <a:bodyPr lIns="0" tIns="0" rIns="0" bIns="0" rtlCol="0" anchor="ctr"/>
            <a:lstStyle/>
            <a:p>
              <a:pPr algn="ctr">
                <a:lnSpc>
                  <a:spcPct val="80000"/>
                </a:lnSpc>
                <a:spcAft>
                  <a:spcPts val="1000"/>
                </a:spcAft>
              </a:pPr>
              <a:r>
                <a:rPr lang="de-DE" sz="3200" dirty="0">
                  <a:solidFill>
                    <a:schemeClr val="tx1">
                      <a:lumMod val="50000"/>
                      <a:lumOff val="50000"/>
                    </a:schemeClr>
                  </a:solidFill>
                  <a:latin typeface="Bebas Neue" panose="020B0506020202020201" pitchFamily="34" charset="0"/>
                </a:rPr>
                <a:t>3</a:t>
              </a:r>
            </a:p>
          </p:txBody>
        </p:sp>
      </p:grpSp>
      <p:sp>
        <p:nvSpPr>
          <p:cNvPr id="39" name="AutoShape 6"/>
          <p:cNvSpPr>
            <a:spLocks noChangeArrowheads="1"/>
          </p:cNvSpPr>
          <p:nvPr/>
        </p:nvSpPr>
        <p:spPr bwMode="gray">
          <a:xfrm>
            <a:off x="3404987" y="2096459"/>
            <a:ext cx="2739435" cy="715155"/>
          </a:xfrm>
          <a:prstGeom prst="chevron">
            <a:avLst>
              <a:gd name="adj" fmla="val 17533"/>
            </a:avLst>
          </a:prstGeom>
          <a:solidFill>
            <a:schemeClr val="accent1">
              <a:lumMod val="50000"/>
            </a:schemeClr>
          </a:solidFill>
          <a:ln w="12700">
            <a:noFill/>
            <a:miter lim="800000"/>
            <a:headEnd/>
            <a:tailEnd/>
          </a:ln>
          <a:effectLst/>
        </p:spPr>
        <p:txBody>
          <a:bodyPr lIns="0" tIns="0" rIns="0" bIns="0" anchor="ctr" anchorCtr="0"/>
          <a:lstStyle/>
          <a:p>
            <a:pPr algn="ctr">
              <a:lnSpc>
                <a:spcPct val="80000"/>
              </a:lnSpc>
              <a:spcAft>
                <a:spcPts val="1000"/>
              </a:spcAft>
            </a:pPr>
            <a:endParaRPr lang="de-DE" sz="2400" dirty="0">
              <a:solidFill>
                <a:srgbClr val="FFFFFF"/>
              </a:solidFill>
              <a:latin typeface="Bebas Neue" panose="020B0506020202020201" pitchFamily="34" charset="0"/>
              <a:cs typeface="Arial" charset="0"/>
            </a:endParaRPr>
          </a:p>
        </p:txBody>
      </p:sp>
      <p:sp>
        <p:nvSpPr>
          <p:cNvPr id="41" name="AutoShape 6"/>
          <p:cNvSpPr>
            <a:spLocks noChangeArrowheads="1"/>
          </p:cNvSpPr>
          <p:nvPr/>
        </p:nvSpPr>
        <p:spPr bwMode="gray">
          <a:xfrm>
            <a:off x="8911683" y="2096459"/>
            <a:ext cx="2739435" cy="715155"/>
          </a:xfrm>
          <a:prstGeom prst="chevron">
            <a:avLst>
              <a:gd name="adj" fmla="val 17533"/>
            </a:avLst>
          </a:prstGeom>
          <a:solidFill>
            <a:schemeClr val="tx2"/>
          </a:solidFill>
          <a:ln w="12700">
            <a:noFill/>
            <a:miter lim="800000"/>
            <a:headEnd/>
            <a:tailEnd/>
          </a:ln>
          <a:effectLst/>
        </p:spPr>
        <p:txBody>
          <a:bodyPr lIns="0" tIns="0" rIns="0" bIns="0" anchor="ctr" anchorCtr="0"/>
          <a:lstStyle/>
          <a:p>
            <a:pPr algn="ctr">
              <a:lnSpc>
                <a:spcPct val="80000"/>
              </a:lnSpc>
              <a:spcAft>
                <a:spcPts val="1000"/>
              </a:spcAft>
            </a:pPr>
            <a:endParaRPr lang="de-DE" sz="2400" dirty="0">
              <a:solidFill>
                <a:srgbClr val="FFFFFF"/>
              </a:solidFill>
              <a:latin typeface="Bebas Neue" panose="020B0506020202020201" pitchFamily="34" charset="0"/>
              <a:cs typeface="Arial" charset="0"/>
            </a:endParaRPr>
          </a:p>
        </p:txBody>
      </p:sp>
      <p:grpSp>
        <p:nvGrpSpPr>
          <p:cNvPr id="6" name="Gruppieren 5"/>
          <p:cNvGrpSpPr/>
          <p:nvPr userDrawn="1"/>
        </p:nvGrpSpPr>
        <p:grpSpPr>
          <a:xfrm>
            <a:off x="3333345" y="1512001"/>
            <a:ext cx="728484" cy="728052"/>
            <a:chOff x="3340719" y="1514723"/>
            <a:chExt cx="728389" cy="728052"/>
          </a:xfrm>
        </p:grpSpPr>
        <p:sp>
          <p:nvSpPr>
            <p:cNvPr id="40" name="Ellipse 39"/>
            <p:cNvSpPr/>
            <p:nvPr/>
          </p:nvSpPr>
          <p:spPr bwMode="gray">
            <a:xfrm>
              <a:off x="3340719" y="1514723"/>
              <a:ext cx="728389" cy="728052"/>
            </a:xfrm>
            <a:prstGeom prst="ellipse">
              <a:avLst/>
            </a:prstGeom>
            <a:solidFill>
              <a:schemeClr val="accent1">
                <a:lumMod val="50000"/>
              </a:schemeClr>
            </a:solidFill>
            <a:ln w="12700">
              <a:noFill/>
              <a:miter lim="800000"/>
              <a:headEnd/>
              <a:tailEnd/>
            </a:ln>
            <a:effectLst/>
          </p:spPr>
          <p:txBody>
            <a:bodyPr lIns="0" tIns="0" rIns="0" bIns="0" anchor="ctr" anchorCtr="0"/>
            <a:lstStyle/>
            <a:p>
              <a:pPr algn="ctr">
                <a:lnSpc>
                  <a:spcPct val="90000"/>
                </a:lnSpc>
                <a:spcAft>
                  <a:spcPts val="600"/>
                </a:spcAft>
              </a:pPr>
              <a:endParaRPr lang="de-DE" sz="2000" b="1" dirty="0">
                <a:solidFill>
                  <a:srgbClr val="FFFFFF"/>
                </a:solidFill>
                <a:effectLst>
                  <a:outerShdw blurRad="190500" algn="ctr" rotWithShape="0">
                    <a:prstClr val="black">
                      <a:alpha val="50000"/>
                    </a:prstClr>
                  </a:outerShdw>
                </a:effectLst>
                <a:latin typeface="Calibri Light" panose="020F0302020204030204" pitchFamily="34" charset="0"/>
                <a:cs typeface="Arial" charset="0"/>
              </a:endParaRPr>
            </a:p>
          </p:txBody>
        </p:sp>
        <p:sp>
          <p:nvSpPr>
            <p:cNvPr id="45" name="Ellipse 44"/>
            <p:cNvSpPr/>
            <p:nvPr/>
          </p:nvSpPr>
          <p:spPr bwMode="gray">
            <a:xfrm>
              <a:off x="3412863" y="1586833"/>
              <a:ext cx="584101" cy="583831"/>
            </a:xfrm>
            <a:prstGeom prst="ellipse">
              <a:avLst/>
            </a:prstGeom>
            <a:gradFill>
              <a:gsLst>
                <a:gs pos="47500">
                  <a:schemeClr val="bg1">
                    <a:lumMod val="95000"/>
                  </a:schemeClr>
                </a:gs>
                <a:gs pos="0">
                  <a:schemeClr val="bg1">
                    <a:lumMod val="95000"/>
                  </a:schemeClr>
                </a:gs>
                <a:gs pos="100000">
                  <a:schemeClr val="bg1">
                    <a:lumMod val="95000"/>
                  </a:schemeClr>
                </a:gs>
              </a:gsLst>
              <a:lin ang="16200000" scaled="1"/>
            </a:gradFill>
            <a:ln w="12700">
              <a:noFill/>
              <a:round/>
              <a:headEnd/>
              <a:tailEnd/>
            </a:ln>
            <a:effectLst/>
          </p:spPr>
          <p:txBody>
            <a:bodyPr lIns="0" tIns="0" rIns="0" bIns="0" rtlCol="0" anchor="ctr"/>
            <a:lstStyle/>
            <a:p>
              <a:pPr algn="ctr">
                <a:lnSpc>
                  <a:spcPct val="80000"/>
                </a:lnSpc>
                <a:spcAft>
                  <a:spcPts val="1000"/>
                </a:spcAft>
              </a:pPr>
              <a:r>
                <a:rPr lang="de-DE" sz="3200" dirty="0">
                  <a:solidFill>
                    <a:schemeClr val="tx1">
                      <a:lumMod val="50000"/>
                      <a:lumOff val="50000"/>
                    </a:schemeClr>
                  </a:solidFill>
                  <a:latin typeface="Bebas Neue" panose="020B0506020202020201" pitchFamily="34" charset="0"/>
                </a:rPr>
                <a:t>2</a:t>
              </a:r>
            </a:p>
          </p:txBody>
        </p:sp>
      </p:grpSp>
      <p:grpSp>
        <p:nvGrpSpPr>
          <p:cNvPr id="52" name="Gruppieren 51"/>
          <p:cNvGrpSpPr/>
          <p:nvPr userDrawn="1"/>
        </p:nvGrpSpPr>
        <p:grpSpPr>
          <a:xfrm>
            <a:off x="8842591" y="1512001"/>
            <a:ext cx="728484" cy="728052"/>
            <a:chOff x="8823181" y="1525142"/>
            <a:chExt cx="728389" cy="728052"/>
          </a:xfrm>
        </p:grpSpPr>
        <p:sp>
          <p:nvSpPr>
            <p:cNvPr id="42" name="Ellipse 41"/>
            <p:cNvSpPr/>
            <p:nvPr/>
          </p:nvSpPr>
          <p:spPr bwMode="gray">
            <a:xfrm>
              <a:off x="8823181" y="1525142"/>
              <a:ext cx="728389" cy="728052"/>
            </a:xfrm>
            <a:prstGeom prst="ellipse">
              <a:avLst/>
            </a:prstGeom>
            <a:solidFill>
              <a:schemeClr val="tx2"/>
            </a:solidFill>
            <a:ln w="12700">
              <a:noFill/>
              <a:miter lim="800000"/>
              <a:headEnd/>
              <a:tailEnd/>
            </a:ln>
            <a:effectLst/>
          </p:spPr>
          <p:txBody>
            <a:bodyPr lIns="0" tIns="0" rIns="0" bIns="0" anchor="ctr" anchorCtr="0"/>
            <a:lstStyle/>
            <a:p>
              <a:pPr algn="ctr">
                <a:lnSpc>
                  <a:spcPct val="90000"/>
                </a:lnSpc>
                <a:spcAft>
                  <a:spcPts val="600"/>
                </a:spcAft>
              </a:pPr>
              <a:endParaRPr lang="de-DE" sz="2000" b="1" dirty="0">
                <a:solidFill>
                  <a:srgbClr val="FFFFFF"/>
                </a:solidFill>
                <a:effectLst>
                  <a:outerShdw blurRad="190500" algn="ctr" rotWithShape="0">
                    <a:prstClr val="black">
                      <a:alpha val="50000"/>
                    </a:prstClr>
                  </a:outerShdw>
                </a:effectLst>
                <a:latin typeface="Calibri Light" panose="020F0302020204030204" pitchFamily="34" charset="0"/>
                <a:cs typeface="Arial" charset="0"/>
              </a:endParaRPr>
            </a:p>
          </p:txBody>
        </p:sp>
        <p:sp>
          <p:nvSpPr>
            <p:cNvPr id="46" name="Ellipse 45"/>
            <p:cNvSpPr/>
            <p:nvPr/>
          </p:nvSpPr>
          <p:spPr bwMode="gray">
            <a:xfrm>
              <a:off x="8895325" y="1597252"/>
              <a:ext cx="584101" cy="583831"/>
            </a:xfrm>
            <a:prstGeom prst="ellipse">
              <a:avLst/>
            </a:prstGeom>
            <a:gradFill>
              <a:gsLst>
                <a:gs pos="47500">
                  <a:schemeClr val="bg1">
                    <a:lumMod val="95000"/>
                  </a:schemeClr>
                </a:gs>
                <a:gs pos="0">
                  <a:schemeClr val="bg1">
                    <a:lumMod val="95000"/>
                  </a:schemeClr>
                </a:gs>
                <a:gs pos="100000">
                  <a:schemeClr val="bg1">
                    <a:lumMod val="95000"/>
                  </a:schemeClr>
                </a:gs>
              </a:gsLst>
              <a:lin ang="16200000" scaled="1"/>
            </a:gradFill>
            <a:ln w="12700">
              <a:noFill/>
              <a:round/>
              <a:headEnd/>
              <a:tailEnd/>
            </a:ln>
            <a:effectLst/>
          </p:spPr>
          <p:txBody>
            <a:bodyPr lIns="0" tIns="0" rIns="0" bIns="0" rtlCol="0" anchor="ctr"/>
            <a:lstStyle/>
            <a:p>
              <a:pPr algn="ctr">
                <a:lnSpc>
                  <a:spcPct val="80000"/>
                </a:lnSpc>
                <a:spcAft>
                  <a:spcPts val="1000"/>
                </a:spcAft>
              </a:pPr>
              <a:r>
                <a:rPr lang="de-DE" sz="3200" dirty="0">
                  <a:solidFill>
                    <a:schemeClr val="tx1">
                      <a:lumMod val="50000"/>
                      <a:lumOff val="50000"/>
                    </a:schemeClr>
                  </a:solidFill>
                  <a:latin typeface="Bebas Neue" panose="020B0506020202020201" pitchFamily="34" charset="0"/>
                </a:rPr>
                <a:t>4</a:t>
              </a:r>
              <a:endParaRPr lang="de-DE" sz="3600" dirty="0">
                <a:solidFill>
                  <a:schemeClr val="tx1">
                    <a:lumMod val="50000"/>
                    <a:lumOff val="50000"/>
                  </a:schemeClr>
                </a:solidFill>
                <a:latin typeface="Bebas Neue" panose="020B0506020202020201" pitchFamily="34" charset="0"/>
              </a:endParaRPr>
            </a:p>
          </p:txBody>
        </p:sp>
      </p:grpSp>
      <p:sp>
        <p:nvSpPr>
          <p:cNvPr id="54" name="Textplatzhalter 53"/>
          <p:cNvSpPr>
            <a:spLocks noGrp="1"/>
          </p:cNvSpPr>
          <p:nvPr>
            <p:ph type="body" sz="quarter" idx="14" hasCustomPrompt="1"/>
          </p:nvPr>
        </p:nvSpPr>
        <p:spPr>
          <a:xfrm>
            <a:off x="961561" y="2239726"/>
            <a:ext cx="2119589" cy="428625"/>
          </a:xfrm>
        </p:spPr>
        <p:txBody>
          <a:bodyPr anchor="ctr"/>
          <a:lstStyle>
            <a:lvl1pPr marL="0" indent="0" algn="ctr">
              <a:lnSpc>
                <a:spcPct val="80000"/>
              </a:lnSpc>
              <a:buNone/>
              <a:defRPr sz="2800">
                <a:solidFill>
                  <a:schemeClr val="bg2"/>
                </a:solidFill>
                <a:latin typeface="Bebas Neue" panose="020B0506020202020201" pitchFamily="34" charset="0"/>
              </a:defRPr>
            </a:lvl1pPr>
          </a:lstStyle>
          <a:p>
            <a:pPr lvl="0"/>
            <a:r>
              <a:rPr lang="de-DE" dirty="0"/>
              <a:t>TEXT</a:t>
            </a:r>
          </a:p>
        </p:txBody>
      </p:sp>
      <p:sp>
        <p:nvSpPr>
          <p:cNvPr id="55" name="Textplatzhalter 53"/>
          <p:cNvSpPr>
            <a:spLocks noGrp="1"/>
          </p:cNvSpPr>
          <p:nvPr>
            <p:ph type="body" sz="quarter" idx="15" hasCustomPrompt="1"/>
          </p:nvPr>
        </p:nvSpPr>
        <p:spPr>
          <a:xfrm>
            <a:off x="3714910" y="2239726"/>
            <a:ext cx="2119589" cy="428625"/>
          </a:xfrm>
        </p:spPr>
        <p:txBody>
          <a:bodyPr anchor="ctr"/>
          <a:lstStyle>
            <a:lvl1pPr marL="0" indent="0" algn="ctr">
              <a:lnSpc>
                <a:spcPct val="80000"/>
              </a:lnSpc>
              <a:buNone/>
              <a:defRPr sz="2800">
                <a:solidFill>
                  <a:schemeClr val="bg2"/>
                </a:solidFill>
                <a:latin typeface="Bebas Neue" panose="020B0506020202020201" pitchFamily="34" charset="0"/>
              </a:defRPr>
            </a:lvl1pPr>
          </a:lstStyle>
          <a:p>
            <a:pPr lvl="0"/>
            <a:r>
              <a:rPr lang="de-DE" dirty="0"/>
              <a:t>TEXT</a:t>
            </a:r>
          </a:p>
        </p:txBody>
      </p:sp>
      <p:sp>
        <p:nvSpPr>
          <p:cNvPr id="56" name="Textplatzhalter 53"/>
          <p:cNvSpPr>
            <a:spLocks noGrp="1"/>
          </p:cNvSpPr>
          <p:nvPr>
            <p:ph type="body" sz="quarter" idx="16" hasCustomPrompt="1"/>
          </p:nvPr>
        </p:nvSpPr>
        <p:spPr>
          <a:xfrm>
            <a:off x="6468258" y="2239726"/>
            <a:ext cx="2119589" cy="428625"/>
          </a:xfrm>
        </p:spPr>
        <p:txBody>
          <a:bodyPr anchor="ctr"/>
          <a:lstStyle>
            <a:lvl1pPr marL="0" indent="0" algn="ctr">
              <a:lnSpc>
                <a:spcPct val="80000"/>
              </a:lnSpc>
              <a:buNone/>
              <a:defRPr sz="2800">
                <a:solidFill>
                  <a:schemeClr val="bg2"/>
                </a:solidFill>
                <a:latin typeface="Bebas Neue" panose="020B0506020202020201" pitchFamily="34" charset="0"/>
              </a:defRPr>
            </a:lvl1pPr>
          </a:lstStyle>
          <a:p>
            <a:pPr lvl="0"/>
            <a:r>
              <a:rPr lang="de-DE" dirty="0"/>
              <a:t>TEXT</a:t>
            </a:r>
          </a:p>
        </p:txBody>
      </p:sp>
      <p:sp>
        <p:nvSpPr>
          <p:cNvPr id="57" name="Textplatzhalter 53"/>
          <p:cNvSpPr>
            <a:spLocks noGrp="1"/>
          </p:cNvSpPr>
          <p:nvPr>
            <p:ph type="body" sz="quarter" idx="17" hasCustomPrompt="1"/>
          </p:nvPr>
        </p:nvSpPr>
        <p:spPr>
          <a:xfrm>
            <a:off x="9221607" y="2239726"/>
            <a:ext cx="2119589" cy="428625"/>
          </a:xfrm>
        </p:spPr>
        <p:txBody>
          <a:bodyPr anchor="ctr"/>
          <a:lstStyle>
            <a:lvl1pPr marL="0" indent="0" algn="ctr">
              <a:lnSpc>
                <a:spcPct val="80000"/>
              </a:lnSpc>
              <a:buNone/>
              <a:defRPr sz="2800">
                <a:solidFill>
                  <a:schemeClr val="bg2"/>
                </a:solidFill>
                <a:latin typeface="Bebas Neue" panose="020B0506020202020201" pitchFamily="34" charset="0"/>
              </a:defRPr>
            </a:lvl1pPr>
          </a:lstStyle>
          <a:p>
            <a:pPr lvl="0"/>
            <a:r>
              <a:rPr lang="de-DE" dirty="0"/>
              <a:t>TEXT</a:t>
            </a:r>
          </a:p>
        </p:txBody>
      </p:sp>
    </p:spTree>
    <p:extLst>
      <p:ext uri="{BB962C8B-B14F-4D97-AF65-F5344CB8AC3E}">
        <p14:creationId xmlns:p14="http://schemas.microsoft.com/office/powerpoint/2010/main" val="119871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Tree>
    <p:extLst>
      <p:ext uri="{BB962C8B-B14F-4D97-AF65-F5344CB8AC3E}">
        <p14:creationId xmlns:p14="http://schemas.microsoft.com/office/powerpoint/2010/main" val="1786154136"/>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Middle_Blank">
    <p:spTree>
      <p:nvGrpSpPr>
        <p:cNvPr id="1" name=""/>
        <p:cNvGrpSpPr/>
        <p:nvPr/>
      </p:nvGrpSpPr>
      <p:grpSpPr>
        <a:xfrm>
          <a:off x="0" y="0"/>
          <a:ext cx="0" cy="0"/>
          <a:chOff x="0" y="0"/>
          <a:chExt cx="0" cy="0"/>
        </a:xfrm>
      </p:grpSpPr>
      <p:sp>
        <p:nvSpPr>
          <p:cNvPr id="8"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9" name="TextBox 8"/>
          <p:cNvSpPr txBox="1"/>
          <p:nvPr userDrawn="1"/>
        </p:nvSpPr>
        <p:spPr>
          <a:xfrm>
            <a:off x="5441657" y="6394263"/>
            <a:ext cx="1308692" cy="230832"/>
          </a:xfrm>
          <a:prstGeom prst="rect">
            <a:avLst/>
          </a:prstGeom>
          <a:noFill/>
        </p:spPr>
        <p:txBody>
          <a:bodyPr wrap="none" rtlCol="0">
            <a:spAutoFit/>
          </a:bodyPr>
          <a:lstStyle/>
          <a:p>
            <a:pPr algn="ctr"/>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Tree>
    <p:extLst>
      <p:ext uri="{BB962C8B-B14F-4D97-AF65-F5344CB8AC3E}">
        <p14:creationId xmlns:p14="http://schemas.microsoft.com/office/powerpoint/2010/main" val="168484187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8_Blank">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4667788"/>
          </a:xfrm>
          <a:solidFill>
            <a:srgbClr val="E1E9EA">
              <a:alpha val="70000"/>
            </a:srgbClr>
          </a:solidFill>
        </p:spPr>
        <p:txBody>
          <a:bodyPr vert="horz" lIns="91440" tIns="45720" rIns="91440" bIns="45720" rtlCol="0">
            <a:normAutofit/>
          </a:bodyPr>
          <a:lstStyle>
            <a:lvl1pPr>
              <a:defRPr lang="en-US" sz="1351"/>
            </a:lvl1pPr>
          </a:lstStyle>
          <a:p>
            <a:pPr marL="0" lvl="0" indent="0">
              <a:buNone/>
            </a:pPr>
            <a:endParaRPr lang="en-US"/>
          </a:p>
        </p:txBody>
      </p:sp>
      <p:sp>
        <p:nvSpPr>
          <p:cNvPr id="9" name="TextBox 8"/>
          <p:cNvSpPr txBox="1"/>
          <p:nvPr userDrawn="1"/>
        </p:nvSpPr>
        <p:spPr>
          <a:xfrm>
            <a:off x="399052" y="6394263"/>
            <a:ext cx="1308692" cy="230832"/>
          </a:xfrm>
          <a:prstGeom prst="rect">
            <a:avLst/>
          </a:prstGeom>
          <a:noFill/>
        </p:spPr>
        <p:txBody>
          <a:bodyPr wrap="none" rtlCol="0">
            <a:spAutoFit/>
          </a:bodyPr>
          <a:lstStyle/>
          <a:p>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Tree>
    <p:extLst>
      <p:ext uri="{BB962C8B-B14F-4D97-AF65-F5344CB8AC3E}">
        <p14:creationId xmlns:p14="http://schemas.microsoft.com/office/powerpoint/2010/main" val="244206187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Inhaltsplatzhalter 1"/>
          <p:cNvSpPr>
            <a:spLocks noGrp="1"/>
          </p:cNvSpPr>
          <p:nvPr>
            <p:ph idx="1"/>
          </p:nvPr>
        </p:nvSpPr>
        <p:spPr bwMode="gray">
          <a:xfrm>
            <a:off x="480001" y="1152000"/>
            <a:ext cx="3600000" cy="240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2"/>
          <p:cNvSpPr>
            <a:spLocks noGrp="1"/>
          </p:cNvSpPr>
          <p:nvPr>
            <p:ph idx="13"/>
          </p:nvPr>
        </p:nvSpPr>
        <p:spPr bwMode="gray">
          <a:xfrm>
            <a:off x="4296003" y="1152000"/>
            <a:ext cx="3600000" cy="240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Inhaltsplatzhalter 3"/>
          <p:cNvSpPr>
            <a:spLocks noGrp="1"/>
          </p:cNvSpPr>
          <p:nvPr>
            <p:ph sz="quarter" idx="14"/>
          </p:nvPr>
        </p:nvSpPr>
        <p:spPr>
          <a:xfrm>
            <a:off x="8112003" y="1152000"/>
            <a:ext cx="3600000" cy="240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4"/>
          <p:cNvSpPr>
            <a:spLocks noGrp="1"/>
          </p:cNvSpPr>
          <p:nvPr>
            <p:ph sz="quarter" idx="15"/>
          </p:nvPr>
        </p:nvSpPr>
        <p:spPr>
          <a:xfrm>
            <a:off x="480001" y="3792000"/>
            <a:ext cx="3600000" cy="240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Inhaltsplatzhalter 5"/>
          <p:cNvSpPr>
            <a:spLocks noGrp="1"/>
          </p:cNvSpPr>
          <p:nvPr>
            <p:ph sz="quarter" idx="16"/>
          </p:nvPr>
        </p:nvSpPr>
        <p:spPr>
          <a:xfrm>
            <a:off x="4296003" y="3791702"/>
            <a:ext cx="3600000" cy="2400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Inhaltsplatzhalter 6"/>
          <p:cNvSpPr>
            <a:spLocks noGrp="1"/>
          </p:cNvSpPr>
          <p:nvPr>
            <p:ph sz="quarter" idx="17"/>
          </p:nvPr>
        </p:nvSpPr>
        <p:spPr>
          <a:xfrm>
            <a:off x="8112003" y="3791702"/>
            <a:ext cx="3600000" cy="2400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42180492"/>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70_Blank">
    <p:spTree>
      <p:nvGrpSpPr>
        <p:cNvPr id="1" name=""/>
        <p:cNvGrpSpPr/>
        <p:nvPr/>
      </p:nvGrpSpPr>
      <p:grpSpPr>
        <a:xfrm>
          <a:off x="0" y="0"/>
          <a:ext cx="0" cy="0"/>
          <a:chOff x="0" y="0"/>
          <a:chExt cx="0" cy="0"/>
        </a:xfrm>
      </p:grpSpPr>
      <p:sp>
        <p:nvSpPr>
          <p:cNvPr id="8" name="Freeform 5"/>
          <p:cNvSpPr>
            <a:spLocks noEditPoints="1"/>
          </p:cNvSpPr>
          <p:nvPr userDrawn="1"/>
        </p:nvSpPr>
        <p:spPr bwMode="auto">
          <a:xfrm>
            <a:off x="11282406" y="4"/>
            <a:ext cx="522761" cy="540913"/>
          </a:xfrm>
          <a:custGeom>
            <a:avLst/>
            <a:gdLst>
              <a:gd name="T0" fmla="*/ 251 w 586"/>
              <a:gd name="T1" fmla="*/ 567 h 609"/>
              <a:gd name="T2" fmla="*/ 209 w 586"/>
              <a:gd name="T3" fmla="*/ 609 h 609"/>
              <a:gd name="T4" fmla="*/ 167 w 586"/>
              <a:gd name="T5" fmla="*/ 567 h 609"/>
              <a:gd name="T6" fmla="*/ 209 w 586"/>
              <a:gd name="T7" fmla="*/ 526 h 609"/>
              <a:gd name="T8" fmla="*/ 251 w 586"/>
              <a:gd name="T9" fmla="*/ 567 h 609"/>
              <a:gd name="T10" fmla="*/ 502 w 586"/>
              <a:gd name="T11" fmla="*/ 0 h 609"/>
              <a:gd name="T12" fmla="*/ 418 w 586"/>
              <a:gd name="T13" fmla="*/ 0 h 609"/>
              <a:gd name="T14" fmla="*/ 335 w 586"/>
              <a:gd name="T15" fmla="*/ 0 h 609"/>
              <a:gd name="T16" fmla="*/ 251 w 586"/>
              <a:gd name="T17" fmla="*/ 0 h 609"/>
              <a:gd name="T18" fmla="*/ 167 w 586"/>
              <a:gd name="T19" fmla="*/ 0 h 609"/>
              <a:gd name="T20" fmla="*/ 84 w 586"/>
              <a:gd name="T21" fmla="*/ 0 h 609"/>
              <a:gd name="T22" fmla="*/ 0 w 586"/>
              <a:gd name="T23" fmla="*/ 0 h 609"/>
              <a:gd name="T24" fmla="*/ 0 w 586"/>
              <a:gd name="T25" fmla="*/ 349 h 609"/>
              <a:gd name="T26" fmla="*/ 42 w 586"/>
              <a:gd name="T27" fmla="*/ 391 h 609"/>
              <a:gd name="T28" fmla="*/ 84 w 586"/>
              <a:gd name="T29" fmla="*/ 349 h 609"/>
              <a:gd name="T30" fmla="*/ 84 w 586"/>
              <a:gd name="T31" fmla="*/ 206 h 609"/>
              <a:gd name="T32" fmla="*/ 126 w 586"/>
              <a:gd name="T33" fmla="*/ 164 h 609"/>
              <a:gd name="T34" fmla="*/ 126 w 586"/>
              <a:gd name="T35" fmla="*/ 164 h 609"/>
              <a:gd name="T36" fmla="*/ 167 w 586"/>
              <a:gd name="T37" fmla="*/ 206 h 609"/>
              <a:gd name="T38" fmla="*/ 167 w 586"/>
              <a:gd name="T39" fmla="*/ 429 h 609"/>
              <a:gd name="T40" fmla="*/ 209 w 586"/>
              <a:gd name="T41" fmla="*/ 471 h 609"/>
              <a:gd name="T42" fmla="*/ 251 w 586"/>
              <a:gd name="T43" fmla="*/ 429 h 609"/>
              <a:gd name="T44" fmla="*/ 251 w 586"/>
              <a:gd name="T45" fmla="*/ 319 h 609"/>
              <a:gd name="T46" fmla="*/ 293 w 586"/>
              <a:gd name="T47" fmla="*/ 277 h 609"/>
              <a:gd name="T48" fmla="*/ 293 w 586"/>
              <a:gd name="T49" fmla="*/ 277 h 609"/>
              <a:gd name="T50" fmla="*/ 335 w 586"/>
              <a:gd name="T51" fmla="*/ 319 h 609"/>
              <a:gd name="T52" fmla="*/ 335 w 586"/>
              <a:gd name="T53" fmla="*/ 406 h 609"/>
              <a:gd name="T54" fmla="*/ 377 w 586"/>
              <a:gd name="T55" fmla="*/ 448 h 609"/>
              <a:gd name="T56" fmla="*/ 418 w 586"/>
              <a:gd name="T57" fmla="*/ 406 h 609"/>
              <a:gd name="T58" fmla="*/ 418 w 586"/>
              <a:gd name="T59" fmla="*/ 237 h 609"/>
              <a:gd name="T60" fmla="*/ 460 w 586"/>
              <a:gd name="T61" fmla="*/ 195 h 609"/>
              <a:gd name="T62" fmla="*/ 460 w 586"/>
              <a:gd name="T63" fmla="*/ 195 h 609"/>
              <a:gd name="T64" fmla="*/ 502 w 586"/>
              <a:gd name="T65" fmla="*/ 237 h 609"/>
              <a:gd name="T66" fmla="*/ 502 w 586"/>
              <a:gd name="T67" fmla="*/ 265 h 609"/>
              <a:gd name="T68" fmla="*/ 544 w 586"/>
              <a:gd name="T69" fmla="*/ 307 h 609"/>
              <a:gd name="T70" fmla="*/ 586 w 586"/>
              <a:gd name="T71" fmla="*/ 265 h 609"/>
              <a:gd name="T72" fmla="*/ 586 w 586"/>
              <a:gd name="T73" fmla="*/ 0 h 609"/>
              <a:gd name="T74" fmla="*/ 502 w 586"/>
              <a:gd name="T75"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609">
                <a:moveTo>
                  <a:pt x="251" y="567"/>
                </a:moveTo>
                <a:cubicBezTo>
                  <a:pt x="251" y="591"/>
                  <a:pt x="232" y="609"/>
                  <a:pt x="209" y="609"/>
                </a:cubicBezTo>
                <a:cubicBezTo>
                  <a:pt x="186" y="609"/>
                  <a:pt x="167" y="591"/>
                  <a:pt x="167" y="567"/>
                </a:cubicBezTo>
                <a:cubicBezTo>
                  <a:pt x="167" y="544"/>
                  <a:pt x="186" y="526"/>
                  <a:pt x="209" y="526"/>
                </a:cubicBezTo>
                <a:cubicBezTo>
                  <a:pt x="232" y="526"/>
                  <a:pt x="251" y="544"/>
                  <a:pt x="251" y="567"/>
                </a:cubicBezTo>
                <a:close/>
                <a:moveTo>
                  <a:pt x="502" y="0"/>
                </a:moveTo>
                <a:cubicBezTo>
                  <a:pt x="418" y="0"/>
                  <a:pt x="418" y="0"/>
                  <a:pt x="418" y="0"/>
                </a:cubicBezTo>
                <a:cubicBezTo>
                  <a:pt x="335" y="0"/>
                  <a:pt x="335" y="0"/>
                  <a:pt x="335" y="0"/>
                </a:cubicBezTo>
                <a:cubicBezTo>
                  <a:pt x="251" y="0"/>
                  <a:pt x="251" y="0"/>
                  <a:pt x="251" y="0"/>
                </a:cubicBezTo>
                <a:cubicBezTo>
                  <a:pt x="167" y="0"/>
                  <a:pt x="167" y="0"/>
                  <a:pt x="167" y="0"/>
                </a:cubicBezTo>
                <a:cubicBezTo>
                  <a:pt x="84" y="0"/>
                  <a:pt x="84" y="0"/>
                  <a:pt x="84" y="0"/>
                </a:cubicBezTo>
                <a:cubicBezTo>
                  <a:pt x="0" y="0"/>
                  <a:pt x="0" y="0"/>
                  <a:pt x="0" y="0"/>
                </a:cubicBezTo>
                <a:cubicBezTo>
                  <a:pt x="0" y="349"/>
                  <a:pt x="0" y="349"/>
                  <a:pt x="0" y="349"/>
                </a:cubicBezTo>
                <a:cubicBezTo>
                  <a:pt x="0" y="372"/>
                  <a:pt x="19" y="391"/>
                  <a:pt x="42" y="391"/>
                </a:cubicBezTo>
                <a:cubicBezTo>
                  <a:pt x="65" y="391"/>
                  <a:pt x="84" y="372"/>
                  <a:pt x="84" y="349"/>
                </a:cubicBezTo>
                <a:cubicBezTo>
                  <a:pt x="84" y="206"/>
                  <a:pt x="84" y="206"/>
                  <a:pt x="84" y="206"/>
                </a:cubicBezTo>
                <a:cubicBezTo>
                  <a:pt x="84" y="183"/>
                  <a:pt x="102" y="164"/>
                  <a:pt x="126" y="164"/>
                </a:cubicBezTo>
                <a:cubicBezTo>
                  <a:pt x="126" y="164"/>
                  <a:pt x="126" y="164"/>
                  <a:pt x="126" y="164"/>
                </a:cubicBezTo>
                <a:cubicBezTo>
                  <a:pt x="149" y="164"/>
                  <a:pt x="167" y="183"/>
                  <a:pt x="167" y="206"/>
                </a:cubicBezTo>
                <a:cubicBezTo>
                  <a:pt x="167" y="429"/>
                  <a:pt x="167" y="429"/>
                  <a:pt x="167" y="429"/>
                </a:cubicBezTo>
                <a:cubicBezTo>
                  <a:pt x="167" y="452"/>
                  <a:pt x="186" y="471"/>
                  <a:pt x="209" y="471"/>
                </a:cubicBezTo>
                <a:cubicBezTo>
                  <a:pt x="232" y="471"/>
                  <a:pt x="251" y="452"/>
                  <a:pt x="251" y="429"/>
                </a:cubicBezTo>
                <a:cubicBezTo>
                  <a:pt x="251" y="319"/>
                  <a:pt x="251" y="319"/>
                  <a:pt x="251" y="319"/>
                </a:cubicBezTo>
                <a:cubicBezTo>
                  <a:pt x="251" y="296"/>
                  <a:pt x="270" y="277"/>
                  <a:pt x="293" y="277"/>
                </a:cubicBezTo>
                <a:cubicBezTo>
                  <a:pt x="293" y="277"/>
                  <a:pt x="293" y="277"/>
                  <a:pt x="293" y="277"/>
                </a:cubicBezTo>
                <a:cubicBezTo>
                  <a:pt x="316" y="277"/>
                  <a:pt x="335" y="296"/>
                  <a:pt x="335" y="319"/>
                </a:cubicBezTo>
                <a:cubicBezTo>
                  <a:pt x="335" y="406"/>
                  <a:pt x="335" y="406"/>
                  <a:pt x="335" y="406"/>
                </a:cubicBezTo>
                <a:cubicBezTo>
                  <a:pt x="335" y="429"/>
                  <a:pt x="353" y="448"/>
                  <a:pt x="377" y="448"/>
                </a:cubicBezTo>
                <a:cubicBezTo>
                  <a:pt x="400" y="448"/>
                  <a:pt x="418" y="429"/>
                  <a:pt x="418" y="406"/>
                </a:cubicBezTo>
                <a:cubicBezTo>
                  <a:pt x="418" y="237"/>
                  <a:pt x="418" y="237"/>
                  <a:pt x="418" y="237"/>
                </a:cubicBezTo>
                <a:cubicBezTo>
                  <a:pt x="418" y="214"/>
                  <a:pt x="437" y="195"/>
                  <a:pt x="460" y="195"/>
                </a:cubicBezTo>
                <a:cubicBezTo>
                  <a:pt x="460" y="195"/>
                  <a:pt x="460" y="195"/>
                  <a:pt x="460" y="195"/>
                </a:cubicBezTo>
                <a:cubicBezTo>
                  <a:pt x="483" y="195"/>
                  <a:pt x="502" y="214"/>
                  <a:pt x="502" y="237"/>
                </a:cubicBezTo>
                <a:cubicBezTo>
                  <a:pt x="502" y="265"/>
                  <a:pt x="502" y="265"/>
                  <a:pt x="502" y="265"/>
                </a:cubicBezTo>
                <a:cubicBezTo>
                  <a:pt x="502" y="288"/>
                  <a:pt x="521" y="307"/>
                  <a:pt x="544" y="307"/>
                </a:cubicBezTo>
                <a:cubicBezTo>
                  <a:pt x="567" y="307"/>
                  <a:pt x="586" y="288"/>
                  <a:pt x="586" y="265"/>
                </a:cubicBezTo>
                <a:cubicBezTo>
                  <a:pt x="586" y="0"/>
                  <a:pt x="586" y="0"/>
                  <a:pt x="586" y="0"/>
                </a:cubicBezTo>
                <a:lnTo>
                  <a:pt x="502" y="0"/>
                </a:lnTo>
                <a:close/>
              </a:path>
            </a:pathLst>
          </a:custGeom>
          <a:solidFill>
            <a:srgbClr val="E1E9EA"/>
          </a:solidFill>
          <a:ln w="1588" cap="flat">
            <a:noFill/>
            <a:prstDash val="solid"/>
            <a:miter lim="800000"/>
            <a:headEnd/>
            <a:tailEnd/>
          </a:ln>
        </p:spPr>
        <p:txBody>
          <a:bodyPr vert="horz" wrap="square" lIns="68580" tIns="34291" rIns="68580" bIns="34291" numCol="1" anchor="t" anchorCtr="0" compatLnSpc="1">
            <a:prstTxWarp prst="textNoShape">
              <a:avLst/>
            </a:prstTxWarp>
          </a:bodyPr>
          <a:lstStyle/>
          <a:p>
            <a:pPr lvl="0"/>
            <a:endParaRPr lang="en-US" sz="1800"/>
          </a:p>
        </p:txBody>
      </p:sp>
      <p:sp>
        <p:nvSpPr>
          <p:cNvPr id="9" name="TextBox 8"/>
          <p:cNvSpPr txBox="1"/>
          <p:nvPr userDrawn="1"/>
        </p:nvSpPr>
        <p:spPr>
          <a:xfrm>
            <a:off x="399052" y="6394263"/>
            <a:ext cx="1308692" cy="230832"/>
          </a:xfrm>
          <a:prstGeom prst="rect">
            <a:avLst/>
          </a:prstGeom>
          <a:noFill/>
        </p:spPr>
        <p:txBody>
          <a:bodyPr wrap="none" rtlCol="0">
            <a:spAutoFit/>
          </a:bodyPr>
          <a:lstStyle/>
          <a:p>
            <a:r>
              <a:rPr lang="en-US" sz="900" b="1" spc="15" baseline="0" dirty="0">
                <a:solidFill>
                  <a:schemeClr val="tx2"/>
                </a:solidFill>
                <a:latin typeface="Calibri" panose="020F0502020204030204" pitchFamily="34" charset="0"/>
                <a:cs typeface="Calibri" panose="020F0502020204030204" pitchFamily="34" charset="0"/>
              </a:rPr>
              <a:t>Monteiro</a:t>
            </a:r>
            <a:r>
              <a:rPr lang="en-US" sz="900" b="0" spc="15" baseline="0" dirty="0">
                <a:solidFill>
                  <a:schemeClr val="tx1">
                    <a:lumMod val="60000"/>
                    <a:lumOff val="40000"/>
                  </a:schemeClr>
                </a:solidFill>
                <a:latin typeface="Calibri" panose="020F0502020204030204" pitchFamily="34" charset="0"/>
                <a:cs typeface="Calibri" panose="020F0502020204030204" pitchFamily="34" charset="0"/>
              </a:rPr>
              <a:t> Presentation</a:t>
            </a:r>
          </a:p>
        </p:txBody>
      </p:sp>
      <p:sp>
        <p:nvSpPr>
          <p:cNvPr id="10" name="TextBox 9"/>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
        <p:nvSpPr>
          <p:cNvPr id="11" name="Picture Placeholder 2"/>
          <p:cNvSpPr>
            <a:spLocks noGrp="1"/>
          </p:cNvSpPr>
          <p:nvPr>
            <p:ph type="pic" sz="quarter" idx="10"/>
          </p:nvPr>
        </p:nvSpPr>
        <p:spPr>
          <a:xfrm>
            <a:off x="1146787" y="2023209"/>
            <a:ext cx="2966448" cy="3732825"/>
          </a:xfrm>
          <a:solidFill>
            <a:srgbClr val="E1E9EA">
              <a:alpha val="70000"/>
            </a:srgbClr>
          </a:solidFill>
        </p:spPr>
        <p:txBody>
          <a:bodyPr vert="horz" lIns="91440" tIns="45720" rIns="91440" bIns="45720" rtlCol="0">
            <a:normAutofit/>
          </a:bodyPr>
          <a:lstStyle>
            <a:lvl1pPr>
              <a:defRPr lang="en-US" sz="1351" dirty="0"/>
            </a:lvl1pPr>
          </a:lstStyle>
          <a:p>
            <a:pPr marL="0" lvl="0" indent="0">
              <a:buNone/>
            </a:pPr>
            <a:endParaRPr lang="en-US" dirty="0"/>
          </a:p>
        </p:txBody>
      </p:sp>
    </p:spTree>
    <p:extLst>
      <p:ext uri="{BB962C8B-B14F-4D97-AF65-F5344CB8AC3E}">
        <p14:creationId xmlns:p14="http://schemas.microsoft.com/office/powerpoint/2010/main" val="1325276011"/>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8_Blank">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1"/>
            <a:ext cx="12192000" cy="4173795"/>
          </a:xfrm>
          <a:solidFill>
            <a:srgbClr val="E1E9EA">
              <a:alpha val="70000"/>
            </a:srgbClr>
          </a:solidFill>
        </p:spPr>
        <p:txBody>
          <a:bodyPr vert="horz" lIns="91440" tIns="45720" rIns="91440" bIns="45720" rtlCol="0">
            <a:normAutofit/>
          </a:bodyPr>
          <a:lstStyle>
            <a:lvl1pPr>
              <a:defRPr lang="en-US" sz="1351" dirty="0"/>
            </a:lvl1pPr>
          </a:lstStyle>
          <a:p>
            <a:pPr marL="0" lvl="0" indent="0">
              <a:buNone/>
            </a:pPr>
            <a:endParaRPr lang="en-US" dirty="0"/>
          </a:p>
        </p:txBody>
      </p:sp>
      <p:sp>
        <p:nvSpPr>
          <p:cNvPr id="7" name="TextBox 6"/>
          <p:cNvSpPr txBox="1"/>
          <p:nvPr userDrawn="1"/>
        </p:nvSpPr>
        <p:spPr>
          <a:xfrm>
            <a:off x="11380052" y="6394263"/>
            <a:ext cx="425116" cy="230832"/>
          </a:xfrm>
          <a:prstGeom prst="rect">
            <a:avLst/>
          </a:prstGeom>
          <a:noFill/>
        </p:spPr>
        <p:txBody>
          <a:bodyPr wrap="none" rtlCol="0">
            <a:spAutoFit/>
          </a:bodyPr>
          <a:lstStyle>
            <a:defPPr>
              <a:defRPr lang="en-US"/>
            </a:defPPr>
            <a:lvl1pPr>
              <a:defRPr sz="1200" b="1" spc="20" baseline="0">
                <a:solidFill>
                  <a:schemeClr val="tx2"/>
                </a:solidFill>
                <a:latin typeface="Calibri" panose="020F0502020204030204" pitchFamily="34" charset="0"/>
                <a:cs typeface="Calibri" panose="020F0502020204030204" pitchFamily="34" charset="0"/>
              </a:defRPr>
            </a:lvl1pPr>
          </a:lstStyle>
          <a:p>
            <a:pPr lvl="0" algn="r"/>
            <a:fld id="{C7C71010-677A-489C-BB3F-CA8EBC4C3264}" type="slidenum">
              <a:rPr lang="id-ID" sz="900" smtClean="0">
                <a:solidFill>
                  <a:schemeClr val="bg1"/>
                </a:solidFill>
              </a:rPr>
              <a:pPr lvl="0" algn="r"/>
              <a:t>‹Nr.›</a:t>
            </a:fld>
            <a:endParaRPr lang="id-ID" sz="900" dirty="0">
              <a:solidFill>
                <a:schemeClr val="bg1"/>
              </a:solidFill>
            </a:endParaRPr>
          </a:p>
        </p:txBody>
      </p:sp>
      <p:sp>
        <p:nvSpPr>
          <p:cNvPr id="3" name="Fußzeilenplatzhalter 2">
            <a:extLst>
              <a:ext uri="{FF2B5EF4-FFF2-40B4-BE49-F238E27FC236}">
                <a16:creationId xmlns:a16="http://schemas.microsoft.com/office/drawing/2014/main" id="{8F204E0B-1F56-8595-2988-E32483AA9E7D}"/>
              </a:ext>
            </a:extLst>
          </p:cNvPr>
          <p:cNvSpPr>
            <a:spLocks noGrp="1"/>
          </p:cNvSpPr>
          <p:nvPr>
            <p:ph type="ftr" sz="quarter" idx="11"/>
          </p:nvPr>
        </p:nvSpPr>
        <p:spPr/>
        <p:txBody>
          <a:bodyPr/>
          <a:lstStyle/>
          <a:p>
            <a:pPr>
              <a:lnSpc>
                <a:spcPts val="1067"/>
              </a:lnSpc>
            </a:pPr>
            <a:endParaRPr lang="de-DE"/>
          </a:p>
        </p:txBody>
      </p:sp>
      <p:sp>
        <p:nvSpPr>
          <p:cNvPr id="4" name="Foliennummernplatzhalter 3">
            <a:extLst>
              <a:ext uri="{FF2B5EF4-FFF2-40B4-BE49-F238E27FC236}">
                <a16:creationId xmlns:a16="http://schemas.microsoft.com/office/drawing/2014/main" id="{E755C83E-0EB6-6585-FFCD-91E5DB3B5F18}"/>
              </a:ext>
            </a:extLst>
          </p:cNvPr>
          <p:cNvSpPr>
            <a:spLocks noGrp="1"/>
          </p:cNvSpPr>
          <p:nvPr>
            <p:ph type="sldNum" sz="quarter" idx="12"/>
          </p:nvPr>
        </p:nvSpPr>
        <p:spPr/>
        <p:txBody>
          <a:bodyPr/>
          <a:lstStyle/>
          <a:p>
            <a:pPr algn="r">
              <a:lnSpc>
                <a:spcPts val="1067"/>
              </a:lnSpc>
            </a:pPr>
            <a:fld id="{D985BC7C-F6A2-4FED-9217-735A5E10A319}" type="slidenum">
              <a:rPr lang="de-DE" smtClean="0"/>
              <a:pPr algn="r">
                <a:lnSpc>
                  <a:spcPts val="1067"/>
                </a:lnSpc>
              </a:pPr>
              <a:t>‹Nr.›</a:t>
            </a:fld>
            <a:endParaRPr lang="de-DE"/>
          </a:p>
        </p:txBody>
      </p:sp>
    </p:spTree>
    <p:extLst>
      <p:ext uri="{BB962C8B-B14F-4D97-AF65-F5344CB8AC3E}">
        <p14:creationId xmlns:p14="http://schemas.microsoft.com/office/powerpoint/2010/main" val="1177138591"/>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9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540073" y="432000"/>
            <a:ext cx="11111047" cy="1080000"/>
          </a:xfrm>
        </p:spPr>
        <p:txBody>
          <a:bodyPr/>
          <a:lstStyle/>
          <a:p>
            <a:r>
              <a:rPr lang="en-US" dirty="0"/>
              <a:t>Click to edit Master title style</a:t>
            </a:r>
          </a:p>
        </p:txBody>
      </p:sp>
      <p:sp>
        <p:nvSpPr>
          <p:cNvPr id="13" name="Subline"/>
          <p:cNvSpPr>
            <a:spLocks noGrp="1"/>
          </p:cNvSpPr>
          <p:nvPr>
            <p:ph type="body" sz="quarter" idx="13" hasCustomPrompt="1"/>
          </p:nvPr>
        </p:nvSpPr>
        <p:spPr>
          <a:xfrm>
            <a:off x="540073" y="972000"/>
            <a:ext cx="11111047" cy="54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a:xfrm>
            <a:off x="540073" y="1512000"/>
            <a:ext cx="11111047" cy="306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cNvSpPr>
            <a:spLocks noGrp="1"/>
          </p:cNvSpPr>
          <p:nvPr>
            <p:ph idx="15"/>
          </p:nvPr>
        </p:nvSpPr>
        <p:spPr bwMode="gray">
          <a:xfrm>
            <a:off x="1201" y="4572000"/>
            <a:ext cx="12191187" cy="2286000"/>
          </a:xfrm>
          <a:solidFill>
            <a:schemeClr val="accent1">
              <a:lumMod val="75000"/>
            </a:schemeClr>
          </a:solidFill>
        </p:spPr>
        <p:txBody>
          <a:bodyPr lIns="540000" tIns="180000" rIns="540000" bIns="180000" anchor="ctr"/>
          <a:lstStyle>
            <a:lvl1pPr marL="0" indent="0">
              <a:buNone/>
              <a:defRPr>
                <a:solidFill>
                  <a:schemeClr val="bg1"/>
                </a:solidFill>
              </a:defRPr>
            </a:lvl1pPr>
            <a:lvl2pPr marL="337537" indent="0">
              <a:buNone/>
              <a:defRPr/>
            </a:lvl2pPr>
            <a:lvl3pPr marL="607566" indent="0">
              <a:buNone/>
              <a:defRPr/>
            </a:lvl3pPr>
            <a:lvl4pPr marL="877595" indent="0">
              <a:buNone/>
              <a:defRPr/>
            </a:lvl4pPr>
            <a:lvl5pPr marL="1147625" indent="0">
              <a:buNone/>
              <a:defRPr/>
            </a:lvl5pPr>
          </a:lstStyle>
          <a:p>
            <a:pPr lvl="0"/>
            <a:r>
              <a:rPr lang="en-US" dirty="0"/>
              <a:t>Click to edit Master text styles</a:t>
            </a:r>
          </a:p>
        </p:txBody>
      </p:sp>
      <p:sp>
        <p:nvSpPr>
          <p:cNvPr id="4" name="Date"/>
          <p:cNvSpPr>
            <a:spLocks noGrp="1"/>
          </p:cNvSpPr>
          <p:nvPr>
            <p:ph type="dt" sz="half" idx="10"/>
          </p:nvPr>
        </p:nvSpPr>
        <p:spPr/>
        <p:txBody>
          <a:bodyPr/>
          <a:lstStyle/>
          <a:p>
            <a:fld id="{27FC3DAB-407D-4279-8EB6-232635B61438}" type="datetimeFigureOut">
              <a:rPr lang="en-US" smtClean="0"/>
              <a:t>10/8/25</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107463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kt 5"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640255101"/>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kt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ußzeilenplatzhalter 2"/>
          <p:cNvSpPr>
            <a:spLocks noGrp="1"/>
          </p:cNvSpPr>
          <p:nvPr>
            <p:ph type="ftr" sz="quarter" idx="10"/>
          </p:nvPr>
        </p:nvSpPr>
        <p:spPr/>
        <p:txBody>
          <a:bodyPr/>
          <a:lstStyle/>
          <a:p>
            <a:pPr>
              <a:lnSpc>
                <a:spcPts val="1067"/>
              </a:lnSpc>
            </a:pPr>
            <a:r>
              <a:rPr lang="en-GB"/>
              <a:t>Sound.AI Player Analysis – Results 			      02.11.2017</a:t>
            </a:r>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en-GB" smtClean="0"/>
              <a:pPr algn="r">
                <a:lnSpc>
                  <a:spcPts val="1067"/>
                </a:lnSpc>
              </a:pPr>
              <a:t>‹Nr.›</a:t>
            </a:fld>
            <a:endParaRPr lang="en-GB" dirty="0"/>
          </a:p>
        </p:txBody>
      </p:sp>
      <p:sp>
        <p:nvSpPr>
          <p:cNvPr id="5" name="Textplatzhalter 3"/>
          <p:cNvSpPr>
            <a:spLocks noGrp="1"/>
          </p:cNvSpPr>
          <p:nvPr>
            <p:ph idx="1"/>
          </p:nvPr>
        </p:nvSpPr>
        <p:spPr bwMode="gray">
          <a:xfrm>
            <a:off x="480003" y="1152001"/>
            <a:ext cx="11232000" cy="504000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3422620189"/>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67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7719D1A4-ECE8-404F-8753-8DF5104F504E}"/>
              </a:ext>
            </a:extLst>
          </p:cNvPr>
          <p:cNvSpPr>
            <a:spLocks noGrp="1"/>
          </p:cNvSpPr>
          <p:nvPr>
            <p:ph type="pic" sz="quarter" idx="13"/>
          </p:nvPr>
        </p:nvSpPr>
        <p:spPr>
          <a:xfrm>
            <a:off x="8486775" y="0"/>
            <a:ext cx="3705225" cy="6858000"/>
          </a:xfrm>
          <a:solidFill>
            <a:schemeClr val="accent1">
              <a:lumMod val="20000"/>
              <a:lumOff val="80000"/>
            </a:schemeClr>
          </a:solidFill>
        </p:spPr>
        <p:txBody>
          <a:bodyPr lIns="0" tIns="0" rIns="0" bIns="0" anchor="ctr" anchorCtr="0"/>
          <a:lstStyle>
            <a:lvl1pPr algn="ctr">
              <a:defRPr/>
            </a:lvl1pPr>
          </a:lstStyle>
          <a:p>
            <a:endParaRPr lang="en-US"/>
          </a:p>
        </p:txBody>
      </p:sp>
    </p:spTree>
    <p:extLst>
      <p:ext uri="{BB962C8B-B14F-4D97-AF65-F5344CB8AC3E}">
        <p14:creationId xmlns:p14="http://schemas.microsoft.com/office/powerpoint/2010/main" val="2217199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750"/>
                                        <p:tgtEl>
                                          <p:spTgt spid="7"/>
                                        </p:tgtEl>
                                      </p:cBhvr>
                                    </p:animEffect>
                                  </p:childTnLst>
                                </p:cTn>
                              </p:par>
                              <p:par>
                                <p:cTn id="8" presetID="26" presetClass="emph" presetSubtype="0" fill="hold" grpId="1" nodeType="withEffect">
                                  <p:stCondLst>
                                    <p:cond delay="900"/>
                                  </p:stCondLst>
                                  <p:childTnLst>
                                    <p:animEffect transition="out" filter="fade">
                                      <p:cBhvr>
                                        <p:cTn id="9" dur="750" tmFilter="0, 0; .2, .5; .8, .5; 1, 0"/>
                                        <p:tgtEl>
                                          <p:spTgt spid="7"/>
                                        </p:tgtEl>
                                      </p:cBhvr>
                                    </p:animEffect>
                                    <p:animScale>
                                      <p:cBhvr>
                                        <p:cTn id="10" dur="375" autoRev="1" fill="hold"/>
                                        <p:tgtEl>
                                          <p:spTgt spid="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Slide">
    <p:bg>
      <p:bgPr>
        <a:solidFill>
          <a:schemeClr val="accent6">
            <a:lumMod val="50000"/>
            <a:alpha val="17124"/>
          </a:schemeClr>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D45746-75BE-E94D-2842-8BA7627E8849}"/>
              </a:ext>
            </a:extLst>
          </p:cNvPr>
          <p:cNvSpPr/>
          <p:nvPr userDrawn="1"/>
        </p:nvSpPr>
        <p:spPr>
          <a:xfrm>
            <a:off x="-113271" y="6297938"/>
            <a:ext cx="12418541" cy="71669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0"/>
              </a:spcBef>
            </a:pPr>
            <a:endParaRPr lang="de-DE" sz="1200" dirty="0" err="1">
              <a:solidFill>
                <a:schemeClr val="tx1"/>
              </a:solidFill>
              <a:latin typeface="Tahoma" pitchFamily="34" charset="0"/>
              <a:cs typeface="Tahoma" pitchFamily="34" charset="0"/>
            </a:endParaRPr>
          </a:p>
        </p:txBody>
      </p:sp>
      <p:pic>
        <p:nvPicPr>
          <p:cNvPr id="7" name="Grafik 6">
            <a:extLst>
              <a:ext uri="{FF2B5EF4-FFF2-40B4-BE49-F238E27FC236}">
                <a16:creationId xmlns:a16="http://schemas.microsoft.com/office/drawing/2014/main" id="{01C92676-8E93-29F0-53BE-1CB5B3E30BFF}"/>
              </a:ext>
            </a:extLst>
          </p:cNvPr>
          <p:cNvPicPr>
            <a:picLocks noChangeAspect="1"/>
          </p:cNvPicPr>
          <p:nvPr userDrawn="1"/>
        </p:nvPicPr>
        <p:blipFill rotWithShape="1">
          <a:blip r:embed="rId2"/>
          <a:srcRect l="9767" t="41072" r="6866" b="12274"/>
          <a:stretch/>
        </p:blipFill>
        <p:spPr>
          <a:xfrm>
            <a:off x="156887" y="6374769"/>
            <a:ext cx="1515719" cy="422987"/>
          </a:xfrm>
          <a:prstGeom prst="rect">
            <a:avLst/>
          </a:prstGeom>
        </p:spPr>
      </p:pic>
      <p:sp>
        <p:nvSpPr>
          <p:cNvPr id="8" name="Text Box 10">
            <a:extLst>
              <a:ext uri="{FF2B5EF4-FFF2-40B4-BE49-F238E27FC236}">
                <a16:creationId xmlns:a16="http://schemas.microsoft.com/office/drawing/2014/main" id="{EC0D1C5A-AB04-8E05-6C54-23907E703974}"/>
              </a:ext>
            </a:extLst>
          </p:cNvPr>
          <p:cNvSpPr txBox="1">
            <a:spLocks noChangeArrowheads="1"/>
          </p:cNvSpPr>
          <p:nvPr userDrawn="1"/>
        </p:nvSpPr>
        <p:spPr bwMode="black">
          <a:xfrm>
            <a:off x="10156777" y="6529454"/>
            <a:ext cx="1200000" cy="126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tx1"/>
                </a:solidFill>
                <a:latin typeface="Tahoma" panose="020B0604030504040204" pitchFamily="34" charset="0"/>
              </a:rPr>
              <a:t>© AMUSA GmbH</a:t>
            </a:r>
          </a:p>
        </p:txBody>
      </p:sp>
    </p:spTree>
    <p:extLst>
      <p:ext uri="{BB962C8B-B14F-4D97-AF65-F5344CB8AC3E}">
        <p14:creationId xmlns:p14="http://schemas.microsoft.com/office/powerpoint/2010/main" val="1539811043"/>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FF44F6A-D835-4FF7-AA4F-028E8312C78B}"/>
              </a:ext>
            </a:extLst>
          </p:cNvPr>
          <p:cNvSpPr>
            <a:spLocks noGrp="1"/>
          </p:cNvSpPr>
          <p:nvPr>
            <p:ph type="pic" sz="quarter" idx="13"/>
          </p:nvPr>
        </p:nvSpPr>
        <p:spPr>
          <a:xfrm>
            <a:off x="677008" y="0"/>
            <a:ext cx="9867167" cy="3924300"/>
          </a:xfrm>
          <a:custGeom>
            <a:avLst/>
            <a:gdLst>
              <a:gd name="connsiteX0" fmla="*/ 0 w 10544175"/>
              <a:gd name="connsiteY0" fmla="*/ 0 h 3924300"/>
              <a:gd name="connsiteX1" fmla="*/ 1235095 w 10544175"/>
              <a:gd name="connsiteY1" fmla="*/ 0 h 3924300"/>
              <a:gd name="connsiteX2" fmla="*/ 3200400 w 10544175"/>
              <a:gd name="connsiteY2" fmla="*/ 0 h 3924300"/>
              <a:gd name="connsiteX3" fmla="*/ 10544175 w 10544175"/>
              <a:gd name="connsiteY3" fmla="*/ 0 h 3924300"/>
              <a:gd name="connsiteX4" fmla="*/ 10544175 w 10544175"/>
              <a:gd name="connsiteY4" fmla="*/ 2689205 h 3924300"/>
              <a:gd name="connsiteX5" fmla="*/ 9309080 w 10544175"/>
              <a:gd name="connsiteY5" fmla="*/ 3924300 h 3924300"/>
              <a:gd name="connsiteX6" fmla="*/ 0 w 10544175"/>
              <a:gd name="connsiteY6" fmla="*/ 3924300 h 3924300"/>
              <a:gd name="connsiteX7" fmla="*/ 0 w 10544175"/>
              <a:gd name="connsiteY7" fmla="*/ 2400300 h 3924300"/>
              <a:gd name="connsiteX8" fmla="*/ 0 w 10544175"/>
              <a:gd name="connsiteY8" fmla="*/ 1235095 h 392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44175" h="3924300">
                <a:moveTo>
                  <a:pt x="0" y="0"/>
                </a:moveTo>
                <a:lnTo>
                  <a:pt x="1235095" y="0"/>
                </a:lnTo>
                <a:lnTo>
                  <a:pt x="3200400" y="0"/>
                </a:lnTo>
                <a:lnTo>
                  <a:pt x="10544175" y="0"/>
                </a:lnTo>
                <a:lnTo>
                  <a:pt x="10544175" y="2689205"/>
                </a:lnTo>
                <a:cubicBezTo>
                  <a:pt x="10544175" y="3371329"/>
                  <a:pt x="9991204" y="3924300"/>
                  <a:pt x="9309080" y="3924300"/>
                </a:cubicBezTo>
                <a:lnTo>
                  <a:pt x="0" y="3924300"/>
                </a:lnTo>
                <a:lnTo>
                  <a:pt x="0" y="2400300"/>
                </a:lnTo>
                <a:lnTo>
                  <a:pt x="0" y="1235095"/>
                </a:lnTo>
                <a:close/>
              </a:path>
            </a:pathLst>
          </a:custGeom>
          <a:solidFill>
            <a:schemeClr val="accent1">
              <a:lumMod val="20000"/>
              <a:lumOff val="80000"/>
            </a:schemeClr>
          </a:solidFill>
          <a:effectLst/>
        </p:spPr>
        <p:txBody>
          <a:bodyPr wrap="square" anchor="ctr" anchorCtr="0">
            <a:noAutofit/>
          </a:bodyPr>
          <a:lstStyle>
            <a:lvl1pPr algn="ctr">
              <a:buNone/>
              <a:defRPr sz="1200"/>
            </a:lvl1pPr>
          </a:lstStyle>
          <a:p>
            <a:endParaRPr lang="en-US" dirty="0"/>
          </a:p>
        </p:txBody>
      </p:sp>
      <p:sp>
        <p:nvSpPr>
          <p:cNvPr id="2" name="Rechteck 1">
            <a:extLst>
              <a:ext uri="{FF2B5EF4-FFF2-40B4-BE49-F238E27FC236}">
                <a16:creationId xmlns:a16="http://schemas.microsoft.com/office/drawing/2014/main" id="{B1763F04-56D9-E70A-21B6-093D59EE9CE8}"/>
              </a:ext>
            </a:extLst>
          </p:cNvPr>
          <p:cNvSpPr/>
          <p:nvPr userDrawn="1"/>
        </p:nvSpPr>
        <p:spPr>
          <a:xfrm>
            <a:off x="0" y="0"/>
            <a:ext cx="677008" cy="6858000"/>
          </a:xfrm>
          <a:prstGeom prst="rect">
            <a:avLst/>
          </a:prstGeom>
          <a:solidFill>
            <a:srgbClr val="193560"/>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0"/>
              </a:spcBef>
            </a:pPr>
            <a:endParaRPr lang="de-DE" sz="1200" dirty="0" err="1">
              <a:solidFill>
                <a:schemeClr val="tx1"/>
              </a:solidFill>
              <a:latin typeface="Tahoma" pitchFamily="34" charset="0"/>
              <a:cs typeface="Tahoma" pitchFamily="34" charset="0"/>
            </a:endParaRPr>
          </a:p>
        </p:txBody>
      </p:sp>
      <p:sp>
        <p:nvSpPr>
          <p:cNvPr id="5" name="Rechteck 4">
            <a:extLst>
              <a:ext uri="{FF2B5EF4-FFF2-40B4-BE49-F238E27FC236}">
                <a16:creationId xmlns:a16="http://schemas.microsoft.com/office/drawing/2014/main" id="{B1D6E2A4-80C5-7516-817C-89B56251BB33}"/>
              </a:ext>
            </a:extLst>
          </p:cNvPr>
          <p:cNvSpPr/>
          <p:nvPr userDrawn="1"/>
        </p:nvSpPr>
        <p:spPr>
          <a:xfrm>
            <a:off x="677007" y="6326658"/>
            <a:ext cx="1460711" cy="531341"/>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spcBef>
                <a:spcPts val="0"/>
              </a:spcBef>
            </a:pPr>
            <a:endParaRPr lang="de-DE" sz="1200" dirty="0" err="1">
              <a:solidFill>
                <a:schemeClr val="tx1"/>
              </a:solidFill>
              <a:latin typeface="Tahoma" pitchFamily="34" charset="0"/>
              <a:cs typeface="Tahoma" pitchFamily="34" charset="0"/>
            </a:endParaRPr>
          </a:p>
        </p:txBody>
      </p:sp>
    </p:spTree>
    <p:extLst>
      <p:ext uri="{BB962C8B-B14F-4D97-AF65-F5344CB8AC3E}">
        <p14:creationId xmlns:p14="http://schemas.microsoft.com/office/powerpoint/2010/main" val="4225916755"/>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250" fill="hold"/>
                                        <p:tgtEl>
                                          <p:spTgt spid="11"/>
                                        </p:tgtEl>
                                        <p:attrNameLst>
                                          <p:attrName>ppt_x</p:attrName>
                                        </p:attrNameLst>
                                      </p:cBhvr>
                                      <p:tavLst>
                                        <p:tav tm="0">
                                          <p:val>
                                            <p:strVal val="0-#ppt_w/2"/>
                                          </p:val>
                                        </p:tav>
                                        <p:tav tm="100000">
                                          <p:val>
                                            <p:strVal val="#ppt_x"/>
                                          </p:val>
                                        </p:tav>
                                      </p:tavLst>
                                    </p:anim>
                                    <p:anim calcmode="lin" valueType="num">
                                      <p:cBhvr additive="base">
                                        <p:cTn id="8" dur="12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663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halt mit Bild">
    <p:spTree>
      <p:nvGrpSpPr>
        <p:cNvPr id="1" name=""/>
        <p:cNvGrpSpPr/>
        <p:nvPr/>
      </p:nvGrpSpPr>
      <p:grpSpPr>
        <a:xfrm>
          <a:off x="0" y="0"/>
          <a:ext cx="0" cy="0"/>
          <a:chOff x="0" y="0"/>
          <a:chExt cx="0" cy="0"/>
        </a:xfrm>
      </p:grpSpPr>
      <p:sp>
        <p:nvSpPr>
          <p:cNvPr id="8" name="Rechteck 7"/>
          <p:cNvSpPr/>
          <p:nvPr/>
        </p:nvSpPr>
        <p:spPr>
          <a:xfrm>
            <a:off x="454424" y="6277261"/>
            <a:ext cx="6147155" cy="48000"/>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9988" tIns="119988" rIns="119988" bIns="119988" numCol="1" spcCol="0" rtlCol="0" fromWordArt="0" anchor="ctr" anchorCtr="0" forceAA="0" compatLnSpc="1">
            <a:prstTxWarp prst="textNoShape">
              <a:avLst/>
            </a:prstTxWarp>
            <a:noAutofit/>
          </a:bodyPr>
          <a:lstStyle/>
          <a:p>
            <a:pPr algn="ctr">
              <a:lnSpc>
                <a:spcPts val="2265"/>
              </a:lnSpc>
              <a:spcBef>
                <a:spcPts val="1120"/>
              </a:spcBef>
            </a:pPr>
            <a:endParaRPr lang="de-DE" sz="1600" dirty="0" err="1">
              <a:solidFill>
                <a:schemeClr val="tx1"/>
              </a:solidFill>
              <a:latin typeface="Tahoma" pitchFamily="34" charset="0"/>
              <a:cs typeface="Tahoma" pitchFamily="34" charset="0"/>
            </a:endParaRPr>
          </a:p>
        </p:txBody>
      </p:sp>
      <p:sp>
        <p:nvSpPr>
          <p:cNvPr id="2" name="Titel 1"/>
          <p:cNvSpPr>
            <a:spLocks noGrp="1"/>
          </p:cNvSpPr>
          <p:nvPr>
            <p:ph type="title"/>
          </p:nvPr>
        </p:nvSpPr>
        <p:spPr>
          <a:xfrm>
            <a:off x="480483" y="191999"/>
            <a:ext cx="5496000" cy="1344527"/>
          </a:xfrm>
        </p:spPr>
        <p:txBody>
          <a:bodyPr/>
          <a:lstStyle/>
          <a:p>
            <a:r>
              <a:rPr lang="en-US"/>
              <a:t>Click to edit Master title style</a:t>
            </a:r>
            <a:endParaRPr lang="de-DE" dirty="0"/>
          </a:p>
        </p:txBody>
      </p:sp>
      <p:sp>
        <p:nvSpPr>
          <p:cNvPr id="3" name="Fußzeilenplatzhalter 2"/>
          <p:cNvSpPr>
            <a:spLocks noGrp="1"/>
          </p:cNvSpPr>
          <p:nvPr>
            <p:ph type="ftr" sz="quarter" idx="10"/>
          </p:nvPr>
        </p:nvSpPr>
        <p:spPr>
          <a:xfrm>
            <a:off x="1239188" y="6520869"/>
            <a:ext cx="4752000" cy="144000"/>
          </a:xfrm>
        </p:spPr>
        <p:txBody>
          <a:bodyPr/>
          <a:lstStyle/>
          <a:p>
            <a:pPr>
              <a:lnSpc>
                <a:spcPts val="1067"/>
              </a:lnSpc>
            </a:pPr>
            <a:endParaRPr lang="de-DE"/>
          </a:p>
        </p:txBody>
      </p:sp>
      <p:sp>
        <p:nvSpPr>
          <p:cNvPr id="6" name="Inhaltsplatzhalter 2"/>
          <p:cNvSpPr>
            <a:spLocks noGrp="1"/>
          </p:cNvSpPr>
          <p:nvPr>
            <p:ph idx="1"/>
          </p:nvPr>
        </p:nvSpPr>
        <p:spPr bwMode="gray">
          <a:xfrm>
            <a:off x="480002" y="1871999"/>
            <a:ext cx="5496983" cy="432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Bildplatzhalter 2"/>
          <p:cNvSpPr>
            <a:spLocks noGrp="1"/>
          </p:cNvSpPr>
          <p:nvPr>
            <p:ph type="pic" sz="quarter" idx="12"/>
          </p:nvPr>
        </p:nvSpPr>
        <p:spPr>
          <a:xfrm>
            <a:off x="6214795" y="0"/>
            <a:ext cx="5977205" cy="6858000"/>
          </a:xfrm>
          <a:solidFill>
            <a:schemeClr val="bg2"/>
          </a:solidFill>
        </p:spPr>
        <p:txBody>
          <a:bodyPr/>
          <a:lstStyle/>
          <a:p>
            <a:r>
              <a:rPr lang="en-US"/>
              <a:t>Click icon to add picture</a:t>
            </a:r>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a:p>
        </p:txBody>
      </p:sp>
      <p:cxnSp>
        <p:nvCxnSpPr>
          <p:cNvPr id="13" name="Gerade Verbindung 8"/>
          <p:cNvCxnSpPr/>
          <p:nvPr userDrawn="1"/>
        </p:nvCxnSpPr>
        <p:spPr>
          <a:xfrm>
            <a:off x="480005" y="6296401"/>
            <a:ext cx="5496983" cy="71"/>
          </a:xfrm>
          <a:prstGeom prst="line">
            <a:avLst/>
          </a:prstGeom>
          <a:ln w="19050"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
        <p:nvSpPr>
          <p:cNvPr id="14" name="Textfeld 9"/>
          <p:cNvSpPr txBox="1">
            <a:spLocks noChangeArrowheads="1"/>
          </p:cNvSpPr>
          <p:nvPr userDrawn="1"/>
        </p:nvSpPr>
        <p:spPr bwMode="auto">
          <a:xfrm>
            <a:off x="-2918497" y="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Bearbeitungshinweis:</a:t>
            </a:r>
          </a:p>
          <a:p>
            <a:pPr algn="l" eaLnBrk="1" hangingPunct="1">
              <a:spcBef>
                <a:spcPct val="0"/>
              </a:spcBef>
            </a:pPr>
            <a:r>
              <a:rPr lang="de-DE" sz="1067" dirty="0">
                <a:solidFill>
                  <a:schemeClr val="bg1"/>
                </a:solidFill>
                <a:cs typeface="Tahoma" charset="0"/>
              </a:rPr>
              <a:t>Klicken Sie auf das Symbol im Platzhalter und wählen Sie ein Bild aus.</a:t>
            </a:r>
          </a:p>
          <a:p>
            <a:pPr algn="l" eaLnBrk="1" hangingPunct="1">
              <a:spcBef>
                <a:spcPct val="0"/>
              </a:spcBef>
            </a:pPr>
            <a:r>
              <a:rPr lang="de-DE" sz="1067" dirty="0">
                <a:solidFill>
                  <a:schemeClr val="bg1"/>
                </a:solidFill>
                <a:cs typeface="Tahoma" charset="0"/>
              </a:rPr>
              <a:t>Sofern das Bild nicht der Größe des Bildplatzhalters entspricht und somit nicht richtig zugeschnitten ist, gehen Sie bitte wie folgt vor:</a:t>
            </a:r>
          </a:p>
          <a:p>
            <a:pPr algn="l" eaLnBrk="1" hangingPunct="1">
              <a:spcBef>
                <a:spcPct val="0"/>
              </a:spcBef>
              <a:buFont typeface="Tahoma" charset="0"/>
              <a:buNone/>
            </a:pPr>
            <a:r>
              <a:rPr lang="de-DE" sz="1067" dirty="0">
                <a:solidFill>
                  <a:schemeClr val="bg1"/>
                </a:solidFill>
                <a:cs typeface="Tahoma" charset="0"/>
              </a:rPr>
              <a:t>Gehen Sie mit der Maus auf das Bild - Klicken Sie auf die rechte Maustaste und wählen Sie „Grafik formatieren“ aus.</a:t>
            </a:r>
          </a:p>
          <a:p>
            <a:pPr algn="l" eaLnBrk="1" hangingPunct="1">
              <a:spcBef>
                <a:spcPct val="0"/>
              </a:spcBef>
              <a:buFont typeface="Tahoma" charset="0"/>
              <a:buNone/>
            </a:pPr>
            <a:r>
              <a:rPr lang="de-DE" sz="1067" dirty="0">
                <a:solidFill>
                  <a:schemeClr val="bg1"/>
                </a:solidFill>
                <a:cs typeface="Tahoma" charset="0"/>
              </a:rPr>
              <a:t>Wählen Sie dann „Zuschneiden“. Unter „Bildposition“ – X-Offset und Y-Offset können Sie nun den gewünschten Ausschnitt bestimmen.</a:t>
            </a:r>
          </a:p>
          <a:p>
            <a:pPr algn="l" eaLnBrk="1" hangingPunct="1">
              <a:spcBef>
                <a:spcPct val="0"/>
              </a:spcBef>
              <a:buFont typeface="Tahoma" charset="0"/>
              <a:buNone/>
            </a:pPr>
            <a:r>
              <a:rPr lang="de-DE" sz="1067" dirty="0">
                <a:solidFill>
                  <a:schemeClr val="bg1"/>
                </a:solidFill>
                <a:cs typeface="Tahoma" charset="0"/>
              </a:rPr>
              <a:t>Mit positiven Werten wird das Bild nach unten bzw. nach rechts verschoben. Mit negativen Werten hingegen nach oben bzw. links.</a:t>
            </a:r>
            <a:endParaRPr lang="en-US" sz="1200" dirty="0">
              <a:solidFill>
                <a:schemeClr val="bg1"/>
              </a:solidFill>
              <a:cs typeface="Tahoma" charset="0"/>
            </a:endParaRPr>
          </a:p>
        </p:txBody>
      </p:sp>
      <p:sp>
        <p:nvSpPr>
          <p:cNvPr id="15" name="Textfeld 11"/>
          <p:cNvSpPr txBox="1">
            <a:spLocks noChangeArrowheads="1"/>
          </p:cNvSpPr>
          <p:nvPr userDrawn="1"/>
        </p:nvSpPr>
        <p:spPr bwMode="auto">
          <a:xfrm>
            <a:off x="-2918497" y="320526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Handling </a:t>
            </a:r>
            <a:r>
              <a:rPr lang="de-DE" sz="1333" b="1" dirty="0" err="1">
                <a:solidFill>
                  <a:schemeClr val="bg1"/>
                </a:solidFill>
                <a:cs typeface="Tahoma" charset="0"/>
              </a:rPr>
              <a:t>instructions</a:t>
            </a:r>
            <a:r>
              <a:rPr lang="de-DE" sz="1333" b="1" dirty="0">
                <a:solidFill>
                  <a:schemeClr val="bg1"/>
                </a:solidFill>
                <a:cs typeface="Tahoma" charset="0"/>
              </a:rPr>
              <a:t>:</a:t>
            </a:r>
          </a:p>
          <a:p>
            <a:pPr algn="l" eaLnBrk="1" hangingPunct="1">
              <a:spcBef>
                <a:spcPct val="0"/>
              </a:spcBef>
            </a:pPr>
            <a:r>
              <a:rPr lang="en-US" sz="1067" dirty="0">
                <a:solidFill>
                  <a:schemeClr val="bg1"/>
                </a:solidFill>
                <a:cs typeface="Tahoma" charset="0"/>
              </a:rPr>
              <a:t>Click on the symbol in the place holder and select an image. If the image does not have the same size as the place holder, please follow this instruction:</a:t>
            </a:r>
          </a:p>
          <a:p>
            <a:pPr algn="l" eaLnBrk="1" hangingPunct="1">
              <a:spcBef>
                <a:spcPct val="0"/>
              </a:spcBef>
            </a:pPr>
            <a:r>
              <a:rPr lang="en-US" sz="1067" dirty="0">
                <a:solidFill>
                  <a:schemeClr val="bg1"/>
                </a:solidFill>
                <a:cs typeface="Tahoma" charset="0"/>
              </a:rPr>
              <a:t>Move the computer mouse on the picture – right-click and choose “Format Picture”. Then select “Crop”. Edit “Picture Position” – Offset X and Offset Y to determine the appropriate section. </a:t>
            </a:r>
          </a:p>
          <a:p>
            <a:pPr algn="l" eaLnBrk="1" hangingPunct="1">
              <a:spcBef>
                <a:spcPct val="0"/>
              </a:spcBef>
            </a:pPr>
            <a:r>
              <a:rPr lang="en-US" sz="1067" dirty="0">
                <a:solidFill>
                  <a:schemeClr val="bg1"/>
                </a:solidFill>
                <a:cs typeface="Tahoma" charset="0"/>
              </a:rPr>
              <a:t>With positive values you can move the picture down and to the right, with negative values up and to the left.</a:t>
            </a:r>
          </a:p>
        </p:txBody>
      </p:sp>
    </p:spTree>
    <p:extLst>
      <p:ext uri="{BB962C8B-B14F-4D97-AF65-F5344CB8AC3E}">
        <p14:creationId xmlns:p14="http://schemas.microsoft.com/office/powerpoint/2010/main" val="2411592755"/>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halt mit zwei Bildern">
    <p:spTree>
      <p:nvGrpSpPr>
        <p:cNvPr id="1" name=""/>
        <p:cNvGrpSpPr/>
        <p:nvPr/>
      </p:nvGrpSpPr>
      <p:grpSpPr>
        <a:xfrm>
          <a:off x="0" y="0"/>
          <a:ext cx="0" cy="0"/>
          <a:chOff x="0" y="0"/>
          <a:chExt cx="0" cy="0"/>
        </a:xfrm>
      </p:grpSpPr>
      <p:sp>
        <p:nvSpPr>
          <p:cNvPr id="9" name="Rechteck 8"/>
          <p:cNvSpPr/>
          <p:nvPr/>
        </p:nvSpPr>
        <p:spPr>
          <a:xfrm>
            <a:off x="454424" y="6277261"/>
            <a:ext cx="6147155" cy="48000"/>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9988" tIns="119988" rIns="119988" bIns="119988" numCol="1" spcCol="0" rtlCol="0" fromWordArt="0" anchor="ctr" anchorCtr="0" forceAA="0" compatLnSpc="1">
            <a:prstTxWarp prst="textNoShape">
              <a:avLst/>
            </a:prstTxWarp>
            <a:noAutofit/>
          </a:bodyPr>
          <a:lstStyle/>
          <a:p>
            <a:pPr algn="ctr">
              <a:lnSpc>
                <a:spcPts val="2265"/>
              </a:lnSpc>
              <a:spcBef>
                <a:spcPts val="1120"/>
              </a:spcBef>
            </a:pPr>
            <a:endParaRPr lang="de-DE" sz="1600" dirty="0" err="1">
              <a:solidFill>
                <a:schemeClr val="tx1"/>
              </a:solidFill>
              <a:latin typeface="Tahoma" pitchFamily="34" charset="0"/>
              <a:cs typeface="Tahoma" pitchFamily="34" charset="0"/>
            </a:endParaRPr>
          </a:p>
        </p:txBody>
      </p:sp>
      <p:sp>
        <p:nvSpPr>
          <p:cNvPr id="2" name="Titel 1"/>
          <p:cNvSpPr>
            <a:spLocks noGrp="1"/>
          </p:cNvSpPr>
          <p:nvPr>
            <p:ph type="title"/>
          </p:nvPr>
        </p:nvSpPr>
        <p:spPr>
          <a:xfrm>
            <a:off x="480483" y="191999"/>
            <a:ext cx="5496000" cy="1344527"/>
          </a:xfrm>
        </p:spPr>
        <p:txBody>
          <a:bodyPr/>
          <a:lstStyle/>
          <a:p>
            <a:r>
              <a:rPr lang="en-US"/>
              <a:t>Click to edit Master title style</a:t>
            </a:r>
            <a:endParaRPr lang="de-DE" dirty="0"/>
          </a:p>
        </p:txBody>
      </p:sp>
      <p:sp>
        <p:nvSpPr>
          <p:cNvPr id="3" name="Fußzeilenplatzhalter 2"/>
          <p:cNvSpPr>
            <a:spLocks noGrp="1"/>
          </p:cNvSpPr>
          <p:nvPr>
            <p:ph type="ftr" sz="quarter" idx="10"/>
          </p:nvPr>
        </p:nvSpPr>
        <p:spPr>
          <a:xfrm>
            <a:off x="1239188" y="6520869"/>
            <a:ext cx="4750979" cy="144000"/>
          </a:xfrm>
        </p:spPr>
        <p:txBody>
          <a:bodyPr/>
          <a:lstStyle/>
          <a:p>
            <a:pPr>
              <a:lnSpc>
                <a:spcPts val="1067"/>
              </a:lnSpc>
            </a:pPr>
            <a:endParaRPr lang="de-DE"/>
          </a:p>
        </p:txBody>
      </p:sp>
      <p:sp>
        <p:nvSpPr>
          <p:cNvPr id="5" name="Inhaltsplatzhalter 2"/>
          <p:cNvSpPr>
            <a:spLocks noGrp="1"/>
          </p:cNvSpPr>
          <p:nvPr>
            <p:ph idx="1"/>
          </p:nvPr>
        </p:nvSpPr>
        <p:spPr bwMode="gray">
          <a:xfrm>
            <a:off x="480002" y="1871999"/>
            <a:ext cx="5496983" cy="4320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Bildplatzhalter 1"/>
          <p:cNvSpPr>
            <a:spLocks noGrp="1"/>
          </p:cNvSpPr>
          <p:nvPr>
            <p:ph type="pic" sz="quarter" idx="12"/>
          </p:nvPr>
        </p:nvSpPr>
        <p:spPr>
          <a:xfrm>
            <a:off x="6214795" y="1"/>
            <a:ext cx="5977205" cy="3432000"/>
          </a:xfrm>
          <a:solidFill>
            <a:schemeClr val="bg2"/>
          </a:solidFill>
        </p:spPr>
        <p:txBody>
          <a:bodyPr/>
          <a:lstStyle/>
          <a:p>
            <a:r>
              <a:rPr lang="en-US"/>
              <a:t>Click icon to add picture</a:t>
            </a:r>
            <a:endParaRPr lang="de-DE"/>
          </a:p>
        </p:txBody>
      </p:sp>
      <p:sp>
        <p:nvSpPr>
          <p:cNvPr id="8" name="Bildplatzhalter 2"/>
          <p:cNvSpPr>
            <a:spLocks noGrp="1"/>
          </p:cNvSpPr>
          <p:nvPr>
            <p:ph type="pic" sz="quarter" idx="13"/>
          </p:nvPr>
        </p:nvSpPr>
        <p:spPr>
          <a:xfrm>
            <a:off x="6214795" y="3432001"/>
            <a:ext cx="5977205" cy="3432000"/>
          </a:xfrm>
          <a:solidFill>
            <a:schemeClr val="bg2"/>
          </a:solidFill>
        </p:spPr>
        <p:txBody>
          <a:bodyPr/>
          <a:lstStyle/>
          <a:p>
            <a:r>
              <a:rPr lang="en-US"/>
              <a:t>Click icon to add picture</a:t>
            </a:r>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1067"/>
              </a:lnSpc>
            </a:pPr>
            <a:fld id="{D985BC7C-F6A2-4FED-9217-735A5E10A319}" type="slidenum">
              <a:rPr lang="de-DE" smtClean="0"/>
              <a:pPr algn="r">
                <a:lnSpc>
                  <a:spcPts val="1067"/>
                </a:lnSpc>
              </a:pPr>
              <a:t>‹Nr.›</a:t>
            </a:fld>
            <a:endParaRPr lang="de-DE"/>
          </a:p>
        </p:txBody>
      </p:sp>
      <p:cxnSp>
        <p:nvCxnSpPr>
          <p:cNvPr id="10" name="Gerade Verbindung 9"/>
          <p:cNvCxnSpPr/>
          <p:nvPr/>
        </p:nvCxnSpPr>
        <p:spPr>
          <a:xfrm>
            <a:off x="480005" y="6296401"/>
            <a:ext cx="5496983" cy="71"/>
          </a:xfrm>
          <a:prstGeom prst="line">
            <a:avLst/>
          </a:prstGeom>
          <a:ln w="19050"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
        <p:nvSpPr>
          <p:cNvPr id="15" name="Textfeld 10"/>
          <p:cNvSpPr txBox="1">
            <a:spLocks noChangeArrowheads="1"/>
          </p:cNvSpPr>
          <p:nvPr userDrawn="1"/>
        </p:nvSpPr>
        <p:spPr bwMode="auto">
          <a:xfrm>
            <a:off x="-2918497" y="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Bearbeitungshinweis:</a:t>
            </a:r>
          </a:p>
          <a:p>
            <a:pPr algn="l" eaLnBrk="1" hangingPunct="1">
              <a:spcBef>
                <a:spcPct val="0"/>
              </a:spcBef>
            </a:pPr>
            <a:r>
              <a:rPr lang="de-DE" sz="1067" dirty="0">
                <a:solidFill>
                  <a:schemeClr val="bg1"/>
                </a:solidFill>
                <a:cs typeface="Tahoma" charset="0"/>
              </a:rPr>
              <a:t>Klicken Sie auf das Symbol im Platzhalter und wählen Sie ein Bild aus.</a:t>
            </a:r>
          </a:p>
          <a:p>
            <a:pPr algn="l" eaLnBrk="1" hangingPunct="1">
              <a:spcBef>
                <a:spcPct val="0"/>
              </a:spcBef>
            </a:pPr>
            <a:r>
              <a:rPr lang="de-DE" sz="1067" dirty="0">
                <a:solidFill>
                  <a:schemeClr val="bg1"/>
                </a:solidFill>
                <a:cs typeface="Tahoma" charset="0"/>
              </a:rPr>
              <a:t>Sofern das Bild nicht der Größe des Bildplatzhalters entspricht und somit nicht richtig zugeschnitten ist, gehen Sie bitte wie folgt vor:</a:t>
            </a:r>
          </a:p>
          <a:p>
            <a:pPr algn="l" eaLnBrk="1" hangingPunct="1">
              <a:spcBef>
                <a:spcPct val="0"/>
              </a:spcBef>
              <a:buFont typeface="Tahoma" charset="0"/>
              <a:buNone/>
            </a:pPr>
            <a:r>
              <a:rPr lang="de-DE" sz="1067" dirty="0">
                <a:solidFill>
                  <a:schemeClr val="bg1"/>
                </a:solidFill>
                <a:cs typeface="Tahoma" charset="0"/>
              </a:rPr>
              <a:t>Gehen Sie mit der Maus auf das Bild -</a:t>
            </a:r>
          </a:p>
          <a:p>
            <a:pPr algn="l" eaLnBrk="1" hangingPunct="1">
              <a:spcBef>
                <a:spcPct val="0"/>
              </a:spcBef>
              <a:buFont typeface="Tahoma" charset="0"/>
              <a:buNone/>
            </a:pPr>
            <a:r>
              <a:rPr lang="de-DE" sz="1067" dirty="0">
                <a:solidFill>
                  <a:schemeClr val="bg1"/>
                </a:solidFill>
                <a:cs typeface="Tahoma" charset="0"/>
              </a:rPr>
              <a:t>Klicken Sie auf die rechte Maustaste und wählen Sie „Grafik formatieren“ aus.</a:t>
            </a:r>
          </a:p>
          <a:p>
            <a:pPr algn="l" eaLnBrk="1" hangingPunct="1">
              <a:spcBef>
                <a:spcPct val="0"/>
              </a:spcBef>
              <a:buFont typeface="Tahoma" charset="0"/>
              <a:buNone/>
            </a:pPr>
            <a:r>
              <a:rPr lang="de-DE" sz="1067" dirty="0">
                <a:solidFill>
                  <a:schemeClr val="bg1"/>
                </a:solidFill>
                <a:cs typeface="Tahoma" charset="0"/>
              </a:rPr>
              <a:t>Wählen Sie dann „Zuschneiden“. Unter „Bildposition“ – X-Offset und Y-Offset können Sie nun den gewünschten Ausschnitt bestimmen.</a:t>
            </a:r>
          </a:p>
          <a:p>
            <a:pPr algn="l" eaLnBrk="1" hangingPunct="1">
              <a:spcBef>
                <a:spcPct val="0"/>
              </a:spcBef>
              <a:buFont typeface="Tahoma" charset="0"/>
              <a:buNone/>
            </a:pPr>
            <a:r>
              <a:rPr lang="de-DE" sz="1067" dirty="0">
                <a:solidFill>
                  <a:schemeClr val="bg1"/>
                </a:solidFill>
                <a:cs typeface="Tahoma" charset="0"/>
              </a:rPr>
              <a:t>Mit positiven Werten wird das Bild nach unten bzw. nach rechts verschoben. Mit negativen Werten hingegen nach oben bzw. links.</a:t>
            </a:r>
            <a:endParaRPr lang="en-US" sz="1200" dirty="0">
              <a:solidFill>
                <a:schemeClr val="bg1"/>
              </a:solidFill>
              <a:cs typeface="Tahoma" charset="0"/>
            </a:endParaRPr>
          </a:p>
        </p:txBody>
      </p:sp>
      <p:sp>
        <p:nvSpPr>
          <p:cNvPr id="16" name="Textfeld 11"/>
          <p:cNvSpPr txBox="1">
            <a:spLocks noChangeArrowheads="1"/>
          </p:cNvSpPr>
          <p:nvPr userDrawn="1"/>
        </p:nvSpPr>
        <p:spPr bwMode="auto">
          <a:xfrm>
            <a:off x="-2918497" y="320526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Handling </a:t>
            </a:r>
            <a:r>
              <a:rPr lang="de-DE" sz="1333" b="1" dirty="0" err="1">
                <a:solidFill>
                  <a:schemeClr val="bg1"/>
                </a:solidFill>
                <a:cs typeface="Tahoma" charset="0"/>
              </a:rPr>
              <a:t>instructions</a:t>
            </a:r>
            <a:r>
              <a:rPr lang="de-DE" sz="1333" b="1" dirty="0">
                <a:solidFill>
                  <a:schemeClr val="bg1"/>
                </a:solidFill>
                <a:cs typeface="Tahoma" charset="0"/>
              </a:rPr>
              <a:t>:</a:t>
            </a:r>
          </a:p>
          <a:p>
            <a:pPr algn="l" eaLnBrk="1" hangingPunct="1">
              <a:spcBef>
                <a:spcPct val="0"/>
              </a:spcBef>
            </a:pPr>
            <a:r>
              <a:rPr lang="en-US" sz="1067" dirty="0">
                <a:solidFill>
                  <a:schemeClr val="bg1"/>
                </a:solidFill>
                <a:cs typeface="Tahoma" charset="0"/>
              </a:rPr>
              <a:t>Click on the symbol in the place holder and select an image. If the image does not have the same size as the place holder, please follow this instruction:</a:t>
            </a:r>
          </a:p>
          <a:p>
            <a:pPr algn="l" eaLnBrk="1" hangingPunct="1">
              <a:spcBef>
                <a:spcPct val="0"/>
              </a:spcBef>
            </a:pPr>
            <a:r>
              <a:rPr lang="en-US" sz="1067" dirty="0">
                <a:solidFill>
                  <a:schemeClr val="bg1"/>
                </a:solidFill>
                <a:cs typeface="Tahoma" charset="0"/>
              </a:rPr>
              <a:t>Move the computer mouse on the picture – right-click and choose “Format Picture”. Then select “Crop”. Edit “Picture Position” – Offset X and Offset Y to determine the appropriate section. </a:t>
            </a:r>
          </a:p>
          <a:p>
            <a:pPr algn="l" eaLnBrk="1" hangingPunct="1">
              <a:spcBef>
                <a:spcPct val="0"/>
              </a:spcBef>
            </a:pPr>
            <a:r>
              <a:rPr lang="en-US" sz="1067" dirty="0">
                <a:solidFill>
                  <a:schemeClr val="bg1"/>
                </a:solidFill>
                <a:cs typeface="Tahoma" charset="0"/>
              </a:rPr>
              <a:t>With positive values you can move the picture down and to the right, with negative values up and to the left.</a:t>
            </a:r>
          </a:p>
        </p:txBody>
      </p:sp>
    </p:spTree>
    <p:extLst>
      <p:ext uri="{BB962C8B-B14F-4D97-AF65-F5344CB8AC3E}">
        <p14:creationId xmlns:p14="http://schemas.microsoft.com/office/powerpoint/2010/main" val="2688784077"/>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el und drei Blöcke mit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p>
            <a:pPr>
              <a:lnSpc>
                <a:spcPts val="1067"/>
              </a:lnSpc>
            </a:pPr>
            <a:endParaRPr lang="de-DE"/>
          </a:p>
        </p:txBody>
      </p:sp>
      <p:sp>
        <p:nvSpPr>
          <p:cNvPr id="4" name="Foliennummernplatzhalter 3"/>
          <p:cNvSpPr>
            <a:spLocks noGrp="1"/>
          </p:cNvSpPr>
          <p:nvPr>
            <p:ph type="sldNum" sz="quarter" idx="11"/>
          </p:nvPr>
        </p:nvSpPr>
        <p:spPr/>
        <p:txBody>
          <a:bodyPr/>
          <a:lstStyle/>
          <a:p>
            <a:pPr algn="r">
              <a:lnSpc>
                <a:spcPts val="1067"/>
              </a:lnSpc>
            </a:pPr>
            <a:fld id="{D985BC7C-F6A2-4FED-9217-735A5E10A319}" type="slidenum">
              <a:rPr lang="de-DE" smtClean="0"/>
              <a:pPr algn="r">
                <a:lnSpc>
                  <a:spcPts val="1067"/>
                </a:lnSpc>
              </a:pPr>
              <a:t>‹Nr.›</a:t>
            </a:fld>
            <a:endParaRPr lang="de-DE"/>
          </a:p>
        </p:txBody>
      </p:sp>
      <p:sp>
        <p:nvSpPr>
          <p:cNvPr id="5" name="Textplatzhalter 1"/>
          <p:cNvSpPr>
            <a:spLocks noGrp="1"/>
          </p:cNvSpPr>
          <p:nvPr>
            <p:ph type="body" sz="quarter" idx="12"/>
          </p:nvPr>
        </p:nvSpPr>
        <p:spPr>
          <a:xfrm>
            <a:off x="480001" y="1575679"/>
            <a:ext cx="3600000" cy="288000"/>
          </a:xfrm>
        </p:spPr>
        <p:txBody>
          <a:bodyPr anchor="b" anchorCtr="0"/>
          <a:lstStyle>
            <a:lvl1pPr marL="0" indent="0">
              <a:lnSpc>
                <a:spcPct val="100000"/>
              </a:lnSpc>
              <a:spcBef>
                <a:spcPts val="0"/>
              </a:spcBef>
              <a:buFontTx/>
              <a:buNone/>
              <a:defRPr sz="1867" b="1">
                <a:solidFill>
                  <a:schemeClr val="tx2"/>
                </a:solidFill>
              </a:defRPr>
            </a:lvl1pPr>
            <a:lvl2pPr marL="0" indent="0">
              <a:lnSpc>
                <a:spcPct val="100000"/>
              </a:lnSpc>
              <a:spcBef>
                <a:spcPts val="0"/>
              </a:spcBef>
              <a:buFontTx/>
              <a:buNone/>
              <a:defRPr sz="1867" b="1">
                <a:solidFill>
                  <a:schemeClr val="tx2"/>
                </a:solidFill>
              </a:defRPr>
            </a:lvl2pPr>
            <a:lvl3pPr marL="0" indent="0">
              <a:lnSpc>
                <a:spcPct val="100000"/>
              </a:lnSpc>
              <a:spcBef>
                <a:spcPts val="0"/>
              </a:spcBef>
              <a:buFontTx/>
              <a:buNone/>
              <a:defRPr sz="1867" b="1">
                <a:solidFill>
                  <a:schemeClr val="tx2"/>
                </a:solidFill>
              </a:defRPr>
            </a:lvl3pPr>
            <a:lvl4pPr marL="0" indent="0">
              <a:lnSpc>
                <a:spcPct val="100000"/>
              </a:lnSpc>
              <a:spcBef>
                <a:spcPts val="0"/>
              </a:spcBef>
              <a:buFontTx/>
              <a:buNone/>
              <a:defRPr sz="1867" b="1">
                <a:solidFill>
                  <a:schemeClr val="tx2"/>
                </a:solidFill>
              </a:defRPr>
            </a:lvl4pPr>
            <a:lvl5pPr marL="0" indent="0">
              <a:lnSpc>
                <a:spcPct val="100000"/>
              </a:lnSpc>
              <a:spcBef>
                <a:spcPts val="0"/>
              </a:spcBef>
              <a:buFontTx/>
              <a:buNone/>
              <a:defRPr sz="1867" b="1">
                <a:solidFill>
                  <a:schemeClr val="tx2"/>
                </a:solidFill>
              </a:defRPr>
            </a:lvl5pPr>
          </a:lstStyle>
          <a:p>
            <a:pPr lvl="0"/>
            <a:r>
              <a:rPr lang="en-US"/>
              <a:t>Edit Master text styles</a:t>
            </a:r>
          </a:p>
        </p:txBody>
      </p:sp>
      <p:sp>
        <p:nvSpPr>
          <p:cNvPr id="6" name="Textplatzhalter 2"/>
          <p:cNvSpPr>
            <a:spLocks noGrp="1"/>
          </p:cNvSpPr>
          <p:nvPr>
            <p:ph type="body" sz="quarter" idx="13"/>
          </p:nvPr>
        </p:nvSpPr>
        <p:spPr>
          <a:xfrm>
            <a:off x="4296003" y="1575679"/>
            <a:ext cx="3600000" cy="288000"/>
          </a:xfrm>
        </p:spPr>
        <p:txBody>
          <a:bodyPr anchor="b" anchorCtr="0"/>
          <a:lstStyle>
            <a:lvl1pPr marL="0" indent="0">
              <a:lnSpc>
                <a:spcPct val="100000"/>
              </a:lnSpc>
              <a:spcBef>
                <a:spcPts val="0"/>
              </a:spcBef>
              <a:buFontTx/>
              <a:buNone/>
              <a:defRPr sz="1867" b="1">
                <a:solidFill>
                  <a:schemeClr val="tx2"/>
                </a:solidFill>
              </a:defRPr>
            </a:lvl1pPr>
            <a:lvl2pPr marL="0" indent="0">
              <a:lnSpc>
                <a:spcPct val="100000"/>
              </a:lnSpc>
              <a:spcBef>
                <a:spcPts val="0"/>
              </a:spcBef>
              <a:buFontTx/>
              <a:buNone/>
              <a:defRPr sz="1867" b="1">
                <a:solidFill>
                  <a:schemeClr val="tx2"/>
                </a:solidFill>
              </a:defRPr>
            </a:lvl2pPr>
            <a:lvl3pPr marL="0" indent="0">
              <a:lnSpc>
                <a:spcPct val="100000"/>
              </a:lnSpc>
              <a:spcBef>
                <a:spcPts val="0"/>
              </a:spcBef>
              <a:buFontTx/>
              <a:buNone/>
              <a:defRPr sz="1867" b="1">
                <a:solidFill>
                  <a:schemeClr val="tx2"/>
                </a:solidFill>
              </a:defRPr>
            </a:lvl3pPr>
            <a:lvl4pPr marL="0" indent="0">
              <a:lnSpc>
                <a:spcPct val="100000"/>
              </a:lnSpc>
              <a:spcBef>
                <a:spcPts val="0"/>
              </a:spcBef>
              <a:buFontTx/>
              <a:buNone/>
              <a:defRPr sz="1867" b="1">
                <a:solidFill>
                  <a:schemeClr val="tx2"/>
                </a:solidFill>
              </a:defRPr>
            </a:lvl4pPr>
            <a:lvl5pPr marL="0" indent="0">
              <a:lnSpc>
                <a:spcPct val="100000"/>
              </a:lnSpc>
              <a:spcBef>
                <a:spcPts val="0"/>
              </a:spcBef>
              <a:buFontTx/>
              <a:buNone/>
              <a:defRPr sz="1867" b="1">
                <a:solidFill>
                  <a:schemeClr val="tx2"/>
                </a:solidFill>
              </a:defRPr>
            </a:lvl5pPr>
          </a:lstStyle>
          <a:p>
            <a:pPr lvl="0"/>
            <a:r>
              <a:rPr lang="en-US"/>
              <a:t>Edit Master text styles</a:t>
            </a:r>
          </a:p>
        </p:txBody>
      </p:sp>
      <p:sp>
        <p:nvSpPr>
          <p:cNvPr id="7" name="Textplatzhalter 3"/>
          <p:cNvSpPr>
            <a:spLocks noGrp="1"/>
          </p:cNvSpPr>
          <p:nvPr>
            <p:ph type="body" sz="quarter" idx="14"/>
          </p:nvPr>
        </p:nvSpPr>
        <p:spPr>
          <a:xfrm>
            <a:off x="8112003" y="1575679"/>
            <a:ext cx="3600000" cy="288000"/>
          </a:xfrm>
        </p:spPr>
        <p:txBody>
          <a:bodyPr anchor="b" anchorCtr="0"/>
          <a:lstStyle>
            <a:lvl1pPr marL="0" indent="0">
              <a:lnSpc>
                <a:spcPct val="100000"/>
              </a:lnSpc>
              <a:spcBef>
                <a:spcPts val="0"/>
              </a:spcBef>
              <a:buFontTx/>
              <a:buNone/>
              <a:defRPr sz="1867" b="1">
                <a:solidFill>
                  <a:schemeClr val="tx2"/>
                </a:solidFill>
              </a:defRPr>
            </a:lvl1pPr>
            <a:lvl2pPr marL="0" indent="0">
              <a:lnSpc>
                <a:spcPct val="100000"/>
              </a:lnSpc>
              <a:spcBef>
                <a:spcPts val="0"/>
              </a:spcBef>
              <a:buFontTx/>
              <a:buNone/>
              <a:defRPr sz="1867" b="1">
                <a:solidFill>
                  <a:schemeClr val="tx2"/>
                </a:solidFill>
              </a:defRPr>
            </a:lvl2pPr>
            <a:lvl3pPr marL="0" indent="0">
              <a:lnSpc>
                <a:spcPct val="100000"/>
              </a:lnSpc>
              <a:spcBef>
                <a:spcPts val="0"/>
              </a:spcBef>
              <a:buFontTx/>
              <a:buNone/>
              <a:defRPr sz="1867" b="1">
                <a:solidFill>
                  <a:schemeClr val="tx2"/>
                </a:solidFill>
              </a:defRPr>
            </a:lvl3pPr>
            <a:lvl4pPr marL="0" indent="0">
              <a:lnSpc>
                <a:spcPct val="100000"/>
              </a:lnSpc>
              <a:spcBef>
                <a:spcPts val="0"/>
              </a:spcBef>
              <a:buFontTx/>
              <a:buNone/>
              <a:defRPr sz="1867" b="1">
                <a:solidFill>
                  <a:schemeClr val="tx2"/>
                </a:solidFill>
              </a:defRPr>
            </a:lvl4pPr>
            <a:lvl5pPr marL="0" indent="0">
              <a:lnSpc>
                <a:spcPct val="100000"/>
              </a:lnSpc>
              <a:spcBef>
                <a:spcPts val="0"/>
              </a:spcBef>
              <a:buFontTx/>
              <a:buNone/>
              <a:defRPr sz="1867" b="1">
                <a:solidFill>
                  <a:schemeClr val="tx2"/>
                </a:solidFill>
              </a:defRPr>
            </a:lvl5pPr>
          </a:lstStyle>
          <a:p>
            <a:pPr lvl="0"/>
            <a:r>
              <a:rPr lang="en-US"/>
              <a:t>Edit Master text styles</a:t>
            </a:r>
          </a:p>
        </p:txBody>
      </p:sp>
      <p:sp>
        <p:nvSpPr>
          <p:cNvPr id="8" name="Bildplatzhalter 1"/>
          <p:cNvSpPr>
            <a:spLocks noGrp="1"/>
          </p:cNvSpPr>
          <p:nvPr>
            <p:ph type="pic" sz="quarter" idx="15"/>
          </p:nvPr>
        </p:nvSpPr>
        <p:spPr>
          <a:xfrm>
            <a:off x="480001" y="2059839"/>
            <a:ext cx="3600000" cy="2400000"/>
          </a:xfrm>
          <a:solidFill>
            <a:schemeClr val="bg2"/>
          </a:solidFill>
        </p:spPr>
        <p:txBody>
          <a:bodyPr/>
          <a:lstStyle/>
          <a:p>
            <a:r>
              <a:rPr lang="en-US"/>
              <a:t>Click icon to add picture</a:t>
            </a:r>
            <a:endParaRPr lang="de-DE"/>
          </a:p>
        </p:txBody>
      </p:sp>
      <p:sp>
        <p:nvSpPr>
          <p:cNvPr id="9" name="Bildplatzhalter 2"/>
          <p:cNvSpPr>
            <a:spLocks noGrp="1"/>
          </p:cNvSpPr>
          <p:nvPr>
            <p:ph type="pic" sz="quarter" idx="16"/>
          </p:nvPr>
        </p:nvSpPr>
        <p:spPr>
          <a:xfrm>
            <a:off x="4296003" y="2059839"/>
            <a:ext cx="3600000" cy="2400000"/>
          </a:xfrm>
          <a:solidFill>
            <a:schemeClr val="bg2"/>
          </a:solidFill>
        </p:spPr>
        <p:txBody>
          <a:bodyPr/>
          <a:lstStyle/>
          <a:p>
            <a:r>
              <a:rPr lang="en-US"/>
              <a:t>Click icon to add picture</a:t>
            </a:r>
            <a:endParaRPr lang="de-DE"/>
          </a:p>
        </p:txBody>
      </p:sp>
      <p:sp>
        <p:nvSpPr>
          <p:cNvPr id="10" name="Bildplatzhalter 3"/>
          <p:cNvSpPr>
            <a:spLocks noGrp="1"/>
          </p:cNvSpPr>
          <p:nvPr>
            <p:ph type="pic" sz="quarter" idx="17"/>
          </p:nvPr>
        </p:nvSpPr>
        <p:spPr>
          <a:xfrm>
            <a:off x="8112003" y="2059839"/>
            <a:ext cx="3600000" cy="2400000"/>
          </a:xfrm>
          <a:solidFill>
            <a:schemeClr val="bg2"/>
          </a:solidFill>
        </p:spPr>
        <p:txBody>
          <a:bodyPr/>
          <a:lstStyle/>
          <a:p>
            <a:r>
              <a:rPr lang="en-US"/>
              <a:t>Click icon to add picture</a:t>
            </a:r>
            <a:endParaRPr lang="de-DE"/>
          </a:p>
        </p:txBody>
      </p:sp>
      <p:sp>
        <p:nvSpPr>
          <p:cNvPr id="11" name="Inhaltsplatzhalter 1"/>
          <p:cNvSpPr>
            <a:spLocks noGrp="1"/>
          </p:cNvSpPr>
          <p:nvPr>
            <p:ph sz="quarter" idx="18"/>
          </p:nvPr>
        </p:nvSpPr>
        <p:spPr>
          <a:xfrm>
            <a:off x="480001" y="4656000"/>
            <a:ext cx="3600000" cy="153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Inhaltsplatzhalter 2"/>
          <p:cNvSpPr>
            <a:spLocks noGrp="1"/>
          </p:cNvSpPr>
          <p:nvPr>
            <p:ph sz="quarter" idx="19"/>
          </p:nvPr>
        </p:nvSpPr>
        <p:spPr>
          <a:xfrm>
            <a:off x="4296003" y="4656000"/>
            <a:ext cx="3600000" cy="153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3"/>
          <p:cNvSpPr>
            <a:spLocks noGrp="1"/>
          </p:cNvSpPr>
          <p:nvPr>
            <p:ph sz="quarter" idx="20"/>
          </p:nvPr>
        </p:nvSpPr>
        <p:spPr>
          <a:xfrm>
            <a:off x="8112003" y="4656000"/>
            <a:ext cx="3600000" cy="153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6" name="Textfeld 13"/>
          <p:cNvSpPr txBox="1">
            <a:spLocks noChangeArrowheads="1"/>
          </p:cNvSpPr>
          <p:nvPr userDrawn="1"/>
        </p:nvSpPr>
        <p:spPr bwMode="auto">
          <a:xfrm>
            <a:off x="-2918497" y="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Bearbeitungshinweis:</a:t>
            </a:r>
          </a:p>
          <a:p>
            <a:pPr algn="l" eaLnBrk="1" hangingPunct="1">
              <a:spcBef>
                <a:spcPct val="0"/>
              </a:spcBef>
            </a:pPr>
            <a:r>
              <a:rPr lang="de-DE" sz="1067" dirty="0">
                <a:solidFill>
                  <a:schemeClr val="bg1"/>
                </a:solidFill>
                <a:cs typeface="Tahoma" charset="0"/>
              </a:rPr>
              <a:t>Klicken Sie auf das Symbol im Platzhalter und wählen Sie ein Bild aus.</a:t>
            </a:r>
          </a:p>
          <a:p>
            <a:pPr algn="l" eaLnBrk="1" hangingPunct="1">
              <a:spcBef>
                <a:spcPct val="0"/>
              </a:spcBef>
            </a:pPr>
            <a:r>
              <a:rPr lang="de-DE" sz="1067" dirty="0">
                <a:solidFill>
                  <a:schemeClr val="bg1"/>
                </a:solidFill>
                <a:cs typeface="Tahoma" charset="0"/>
              </a:rPr>
              <a:t>Sofern das Bild nicht der Größe des Bildplatzhalters entspricht und somit nicht richtig zugeschnitten ist, gehen Sie bitte wie folgt vor:</a:t>
            </a:r>
          </a:p>
          <a:p>
            <a:pPr algn="l" eaLnBrk="1" hangingPunct="1">
              <a:spcBef>
                <a:spcPct val="0"/>
              </a:spcBef>
              <a:buFont typeface="Tahoma" charset="0"/>
              <a:buNone/>
            </a:pPr>
            <a:r>
              <a:rPr lang="de-DE" sz="1067" dirty="0">
                <a:solidFill>
                  <a:schemeClr val="bg1"/>
                </a:solidFill>
                <a:cs typeface="Tahoma" charset="0"/>
              </a:rPr>
              <a:t>Gehen Sie mit der Maus auf das Bild -</a:t>
            </a:r>
          </a:p>
          <a:p>
            <a:pPr algn="l" eaLnBrk="1" hangingPunct="1">
              <a:spcBef>
                <a:spcPct val="0"/>
              </a:spcBef>
              <a:buFont typeface="Tahoma" charset="0"/>
              <a:buNone/>
            </a:pPr>
            <a:r>
              <a:rPr lang="de-DE" sz="1067" dirty="0">
                <a:solidFill>
                  <a:schemeClr val="bg1"/>
                </a:solidFill>
                <a:cs typeface="Tahoma" charset="0"/>
              </a:rPr>
              <a:t>Klicken Sie auf die rechte Maustaste und wählen Sie „Grafik formatieren“ aus.</a:t>
            </a:r>
          </a:p>
          <a:p>
            <a:pPr algn="l" eaLnBrk="1" hangingPunct="1">
              <a:spcBef>
                <a:spcPct val="0"/>
              </a:spcBef>
              <a:buFont typeface="Tahoma" charset="0"/>
              <a:buNone/>
            </a:pPr>
            <a:r>
              <a:rPr lang="de-DE" sz="1067" dirty="0">
                <a:solidFill>
                  <a:schemeClr val="bg1"/>
                </a:solidFill>
                <a:cs typeface="Tahoma" charset="0"/>
              </a:rPr>
              <a:t>Wählen Sie dann „Zuschneiden“. Unter „Bildposition“ – X-Offset und Y-Offset können Sie nun den gewünschten Ausschnitt bestimmen.</a:t>
            </a:r>
          </a:p>
          <a:p>
            <a:pPr algn="l" eaLnBrk="1" hangingPunct="1">
              <a:spcBef>
                <a:spcPct val="0"/>
              </a:spcBef>
              <a:buFont typeface="Tahoma" charset="0"/>
              <a:buNone/>
            </a:pPr>
            <a:r>
              <a:rPr lang="de-DE" sz="1067" dirty="0">
                <a:solidFill>
                  <a:schemeClr val="bg1"/>
                </a:solidFill>
                <a:cs typeface="Tahoma" charset="0"/>
              </a:rPr>
              <a:t>Mit positiven Werten wird das Bild nach unten bzw. nach rechts verschoben. Mit negativen Werten hingegen nach oben bzw. links.</a:t>
            </a:r>
            <a:endParaRPr lang="en-US" sz="1200" dirty="0">
              <a:solidFill>
                <a:schemeClr val="bg1"/>
              </a:solidFill>
              <a:cs typeface="Tahoma" charset="0"/>
            </a:endParaRPr>
          </a:p>
        </p:txBody>
      </p:sp>
      <p:sp>
        <p:nvSpPr>
          <p:cNvPr id="17" name="Textfeld 14"/>
          <p:cNvSpPr txBox="1">
            <a:spLocks noChangeArrowheads="1"/>
          </p:cNvSpPr>
          <p:nvPr userDrawn="1"/>
        </p:nvSpPr>
        <p:spPr bwMode="auto">
          <a:xfrm>
            <a:off x="-2918497" y="3205260"/>
            <a:ext cx="2804200" cy="3120000"/>
          </a:xfrm>
          <a:prstGeom prst="rect">
            <a:avLst/>
          </a:prstGeom>
          <a:solidFill>
            <a:srgbClr val="DD0C29"/>
          </a:solidFill>
          <a:ln>
            <a:noFill/>
          </a:ln>
        </p:spPr>
        <p:txBody>
          <a:bodyPr wrap="square" lIns="47995" tIns="47995" rIns="47995" bIns="47995">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algn="l" eaLnBrk="1" hangingPunct="1">
              <a:spcBef>
                <a:spcPct val="0"/>
              </a:spcBef>
            </a:pPr>
            <a:r>
              <a:rPr lang="de-DE" sz="1333" b="1" dirty="0">
                <a:solidFill>
                  <a:schemeClr val="bg1"/>
                </a:solidFill>
                <a:cs typeface="Tahoma" charset="0"/>
              </a:rPr>
              <a:t>Handling </a:t>
            </a:r>
            <a:r>
              <a:rPr lang="de-DE" sz="1333" b="1" dirty="0" err="1">
                <a:solidFill>
                  <a:schemeClr val="bg1"/>
                </a:solidFill>
                <a:cs typeface="Tahoma" charset="0"/>
              </a:rPr>
              <a:t>instructions</a:t>
            </a:r>
            <a:r>
              <a:rPr lang="de-DE" sz="1333" b="1" dirty="0">
                <a:solidFill>
                  <a:schemeClr val="bg1"/>
                </a:solidFill>
                <a:cs typeface="Tahoma" charset="0"/>
              </a:rPr>
              <a:t>:</a:t>
            </a:r>
          </a:p>
          <a:p>
            <a:pPr algn="l" eaLnBrk="1" hangingPunct="1">
              <a:spcBef>
                <a:spcPct val="0"/>
              </a:spcBef>
            </a:pPr>
            <a:r>
              <a:rPr lang="en-US" sz="1067" dirty="0">
                <a:solidFill>
                  <a:schemeClr val="bg1"/>
                </a:solidFill>
                <a:cs typeface="Tahoma" charset="0"/>
              </a:rPr>
              <a:t>Click on the symbol in the place holder and select an image. If the image does not have the same size as the place holder, please follow this instruction:</a:t>
            </a:r>
          </a:p>
          <a:p>
            <a:pPr algn="l" eaLnBrk="1" hangingPunct="1">
              <a:spcBef>
                <a:spcPct val="0"/>
              </a:spcBef>
            </a:pPr>
            <a:r>
              <a:rPr lang="en-US" sz="1067" dirty="0">
                <a:solidFill>
                  <a:schemeClr val="bg1"/>
                </a:solidFill>
                <a:cs typeface="Tahoma" charset="0"/>
              </a:rPr>
              <a:t>Move the computer mouse on the picture – right-click and choose “Format Picture”. Then select “Crop”. Edit “Picture Position” – Offset X and Offset Y to determine the appropriate section. </a:t>
            </a:r>
          </a:p>
          <a:p>
            <a:pPr algn="l" eaLnBrk="1" hangingPunct="1">
              <a:spcBef>
                <a:spcPct val="0"/>
              </a:spcBef>
            </a:pPr>
            <a:r>
              <a:rPr lang="en-US" sz="1067" dirty="0">
                <a:solidFill>
                  <a:schemeClr val="bg1"/>
                </a:solidFill>
                <a:cs typeface="Tahoma" charset="0"/>
              </a:rPr>
              <a:t>With positive values you can move the picture down and to the right, with negative values up and to the left.</a:t>
            </a:r>
          </a:p>
        </p:txBody>
      </p:sp>
    </p:spTree>
    <p:extLst>
      <p:ext uri="{BB962C8B-B14F-4D97-AF65-F5344CB8AC3E}">
        <p14:creationId xmlns:p14="http://schemas.microsoft.com/office/powerpoint/2010/main" val="3511326960"/>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platzhalter 3"/>
          <p:cNvSpPr>
            <a:spLocks noGrp="1"/>
          </p:cNvSpPr>
          <p:nvPr>
            <p:ph type="body" idx="1"/>
          </p:nvPr>
        </p:nvSpPr>
        <p:spPr bwMode="gray">
          <a:xfrm>
            <a:off x="480003" y="1152001"/>
            <a:ext cx="11232000" cy="5040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10" name="Text Box 10"/>
          <p:cNvSpPr txBox="1">
            <a:spLocks noChangeArrowheads="1"/>
          </p:cNvSpPr>
          <p:nvPr/>
        </p:nvSpPr>
        <p:spPr bwMode="black">
          <a:xfrm>
            <a:off x="10156777" y="6529454"/>
            <a:ext cx="1200000" cy="126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a:lnSpc>
                <a:spcPts val="1067"/>
              </a:lnSpc>
            </a:pPr>
            <a:r>
              <a:rPr lang="de-DE" sz="800" dirty="0">
                <a:solidFill>
                  <a:schemeClr val="tx1"/>
                </a:solidFill>
                <a:latin typeface="Tahoma" panose="020B0604030504040204" pitchFamily="34" charset="0"/>
              </a:rPr>
              <a:t>© AMUSA GmbH</a:t>
            </a:r>
          </a:p>
        </p:txBody>
      </p:sp>
      <p:sp>
        <p:nvSpPr>
          <p:cNvPr id="9" name="Titelplatzhalter 2"/>
          <p:cNvSpPr>
            <a:spLocks noGrp="1"/>
          </p:cNvSpPr>
          <p:nvPr>
            <p:ph type="title"/>
          </p:nvPr>
        </p:nvSpPr>
        <p:spPr bwMode="gray">
          <a:xfrm>
            <a:off x="480484" y="192001"/>
            <a:ext cx="11232000" cy="792000"/>
          </a:xfrm>
          <a:prstGeom prst="rect">
            <a:avLst/>
          </a:prstGeom>
        </p:spPr>
        <p:txBody>
          <a:bodyPr vert="horz" lIns="0" tIns="0" rIns="0" bIns="0" rtlCol="0" anchor="t" anchorCtr="0">
            <a:noAutofit/>
          </a:bodyPr>
          <a:lstStyle/>
          <a:p>
            <a:r>
              <a:rPr lang="de-DE" dirty="0"/>
              <a:t>Titelmasterformat durch Klicken bearbeiten</a:t>
            </a:r>
          </a:p>
        </p:txBody>
      </p:sp>
      <p:cxnSp>
        <p:nvCxnSpPr>
          <p:cNvPr id="15" name="Gerade Verbindung 14"/>
          <p:cNvCxnSpPr/>
          <p:nvPr/>
        </p:nvCxnSpPr>
        <p:spPr>
          <a:xfrm>
            <a:off x="480003" y="6296401"/>
            <a:ext cx="11232000" cy="71"/>
          </a:xfrm>
          <a:prstGeom prst="line">
            <a:avLst/>
          </a:prstGeom>
          <a:ln w="19050"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3"/>
          </p:nvPr>
        </p:nvSpPr>
        <p:spPr>
          <a:xfrm>
            <a:off x="1239188" y="6520869"/>
            <a:ext cx="6960000" cy="144000"/>
          </a:xfrm>
          <a:prstGeom prst="rect">
            <a:avLst/>
          </a:prstGeom>
        </p:spPr>
        <p:txBody>
          <a:bodyPr vert="horz" lIns="0" tIns="0" rIns="0" bIns="0" rtlCol="0" anchor="ctr" anchorCtr="0"/>
          <a:lstStyle>
            <a:lvl1pPr>
              <a:defRPr lang="de-DE" sz="800" baseline="0" dirty="0">
                <a:latin typeface="Tahoma" panose="020B0604030504040204" pitchFamily="34" charset="0"/>
              </a:defRPr>
            </a:lvl1pPr>
          </a:lstStyle>
          <a:p>
            <a:pPr>
              <a:lnSpc>
                <a:spcPts val="1067"/>
              </a:lnSpc>
            </a:pPr>
            <a:endParaRPr lang="de-DE" dirty="0"/>
          </a:p>
        </p:txBody>
      </p:sp>
      <p:sp>
        <p:nvSpPr>
          <p:cNvPr id="3" name="Foliennummernplatzhalter 2"/>
          <p:cNvSpPr>
            <a:spLocks noGrp="1"/>
          </p:cNvSpPr>
          <p:nvPr>
            <p:ph type="sldNum" sz="quarter" idx="4"/>
          </p:nvPr>
        </p:nvSpPr>
        <p:spPr>
          <a:xfrm>
            <a:off x="11472001" y="6520869"/>
            <a:ext cx="240000" cy="144000"/>
          </a:xfrm>
          <a:prstGeom prst="rect">
            <a:avLst/>
          </a:prstGeom>
        </p:spPr>
        <p:txBody>
          <a:bodyPr lIns="0" tIns="0" rIns="0" bIns="0" anchor="ctr" anchorCtr="0"/>
          <a:lstStyle>
            <a:lvl1pPr>
              <a:defRPr lang="de-DE" sz="800" b="1" smtClean="0">
                <a:solidFill>
                  <a:schemeClr val="accent5"/>
                </a:solidFill>
                <a:latin typeface="Tahoma" panose="020B0604030504040204" pitchFamily="34" charset="0"/>
              </a:defRPr>
            </a:lvl1pPr>
          </a:lstStyle>
          <a:p>
            <a:pPr algn="r">
              <a:lnSpc>
                <a:spcPts val="1067"/>
              </a:lnSpc>
            </a:pPr>
            <a:fld id="{D985BC7C-F6A2-4FED-9217-735A5E10A319}" type="slidenum">
              <a:rPr lang="de-DE" smtClean="0"/>
              <a:pPr algn="r">
                <a:lnSpc>
                  <a:spcPts val="1067"/>
                </a:lnSpc>
              </a:pPr>
              <a:t>‹Nr.›</a:t>
            </a:fld>
            <a:endParaRPr lang="de-DE"/>
          </a:p>
        </p:txBody>
      </p:sp>
      <p:pic>
        <p:nvPicPr>
          <p:cNvPr id="5" name="Grafik 4">
            <a:extLst>
              <a:ext uri="{FF2B5EF4-FFF2-40B4-BE49-F238E27FC236}">
                <a16:creationId xmlns:a16="http://schemas.microsoft.com/office/drawing/2014/main" id="{66AE7EDF-7475-F4F9-0817-6D9DC1F76E45}"/>
              </a:ext>
            </a:extLst>
          </p:cNvPr>
          <p:cNvPicPr>
            <a:picLocks noChangeAspect="1"/>
          </p:cNvPicPr>
          <p:nvPr userDrawn="1"/>
        </p:nvPicPr>
        <p:blipFill rotWithShape="1">
          <a:blip r:embed="rId70"/>
          <a:srcRect l="9767" t="41072" r="6866" b="12274"/>
          <a:stretch/>
        </p:blipFill>
        <p:spPr>
          <a:xfrm>
            <a:off x="156887" y="6374769"/>
            <a:ext cx="1515719" cy="422987"/>
          </a:xfrm>
          <a:prstGeom prst="rect">
            <a:avLst/>
          </a:prstGeom>
        </p:spPr>
      </p:pic>
    </p:spTree>
    <p:extLst>
      <p:ext uri="{BB962C8B-B14F-4D97-AF65-F5344CB8AC3E}">
        <p14:creationId xmlns:p14="http://schemas.microsoft.com/office/powerpoint/2010/main" val="167751894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9" r:id="rId16"/>
    <p:sldLayoutId id="2147483680" r:id="rId17"/>
    <p:sldLayoutId id="2147483685" r:id="rId18"/>
    <p:sldLayoutId id="2147483686" r:id="rId19"/>
    <p:sldLayoutId id="2147483687" r:id="rId20"/>
    <p:sldLayoutId id="2147483688"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6" r:id="rId37"/>
    <p:sldLayoutId id="2147483707" r:id="rId38"/>
    <p:sldLayoutId id="2147483708" r:id="rId39"/>
    <p:sldLayoutId id="2147483709" r:id="rId40"/>
    <p:sldLayoutId id="2147483710" r:id="rId41"/>
    <p:sldLayoutId id="2147483711" r:id="rId42"/>
    <p:sldLayoutId id="2147483712" r:id="rId43"/>
    <p:sldLayoutId id="2147483713" r:id="rId44"/>
    <p:sldLayoutId id="2147483714" r:id="rId45"/>
    <p:sldLayoutId id="2147483716" r:id="rId46"/>
    <p:sldLayoutId id="2147483717" r:id="rId47"/>
    <p:sldLayoutId id="2147483718" r:id="rId48"/>
    <p:sldLayoutId id="2147483719" r:id="rId49"/>
    <p:sldLayoutId id="2147483720" r:id="rId50"/>
    <p:sldLayoutId id="2147483721" r:id="rId51"/>
    <p:sldLayoutId id="2147483722" r:id="rId52"/>
    <p:sldLayoutId id="2147483723" r:id="rId53"/>
    <p:sldLayoutId id="2147483724" r:id="rId54"/>
    <p:sldLayoutId id="2147483725" r:id="rId55"/>
    <p:sldLayoutId id="2147483726" r:id="rId56"/>
    <p:sldLayoutId id="2147483727" r:id="rId57"/>
    <p:sldLayoutId id="2147483728" r:id="rId58"/>
    <p:sldLayoutId id="2147483729" r:id="rId59"/>
    <p:sldLayoutId id="2147483730" r:id="rId60"/>
    <p:sldLayoutId id="2147483731" r:id="rId61"/>
    <p:sldLayoutId id="2147483732" r:id="rId62"/>
    <p:sldLayoutId id="2147483733" r:id="rId63"/>
    <p:sldLayoutId id="2147483734" r:id="rId64"/>
    <p:sldLayoutId id="2147483735" r:id="rId65"/>
    <p:sldLayoutId id="2147483736" r:id="rId66"/>
    <p:sldLayoutId id="2147483737" r:id="rId67"/>
    <p:sldLayoutId id="2147483739" r:id="rId68"/>
  </p:sldLayoutIdLst>
  <p:transition spd="med"/>
  <p:hf hdr="0" dt="0"/>
  <p:txStyles>
    <p:title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p:titleStyle>
    <p:bodyStyle>
      <a:lvl1pPr algn="l" rtl="0" eaLnBrk="1" fontAlgn="base" hangingPunct="1">
        <a:lnSpc>
          <a:spcPct val="100000"/>
        </a:lnSpc>
        <a:spcBef>
          <a:spcPts val="0"/>
        </a:spcBef>
        <a:spcAft>
          <a:spcPts val="400"/>
        </a:spcAft>
        <a:buClr>
          <a:srgbClr val="4367C5"/>
        </a:buClr>
        <a:buFont typeface="Wingdings" pitchFamily="2" charset="2"/>
        <a:defRPr sz="1600">
          <a:solidFill>
            <a:schemeClr val="tx1"/>
          </a:solidFill>
          <a:latin typeface="Tahoma" panose="020B0604030504040204" pitchFamily="34" charset="0"/>
          <a:ea typeface="+mn-ea"/>
          <a:cs typeface="Tahoma" panose="020B0604030504040204" pitchFamily="34" charset="0"/>
        </a:defRPr>
      </a:lvl1pPr>
      <a:lvl2pPr marL="287931" indent="-287931" algn="l" rtl="0" eaLnBrk="1" fontAlgn="base" hangingPunct="1">
        <a:lnSpc>
          <a:spcPct val="100000"/>
        </a:lnSpc>
        <a:spcBef>
          <a:spcPts val="0"/>
        </a:spcBef>
        <a:spcAft>
          <a:spcPts val="400"/>
        </a:spcAft>
        <a:buClr>
          <a:schemeClr val="tx2"/>
        </a:buClr>
        <a:buSzPct val="100000"/>
        <a:buFont typeface="Tahoma" panose="020B0604030504040204" pitchFamily="34" charset="0"/>
        <a:buChar char="•"/>
        <a:defRPr sz="1600">
          <a:solidFill>
            <a:schemeClr val="tx1"/>
          </a:solidFill>
          <a:latin typeface="Tahoma" panose="020B0604030504040204" pitchFamily="34" charset="0"/>
          <a:cs typeface="Tahoma" panose="020B0604030504040204" pitchFamily="34" charset="0"/>
        </a:defRPr>
      </a:lvl2pPr>
      <a:lvl3pPr marL="575862" indent="-287931" algn="l" rtl="0" eaLnBrk="1" fontAlgn="base" hangingPunct="1">
        <a:lnSpc>
          <a:spcPct val="100000"/>
        </a:lnSpc>
        <a:spcBef>
          <a:spcPts val="0"/>
        </a:spcBef>
        <a:spcAft>
          <a:spcPts val="400"/>
        </a:spcAft>
        <a:buClr>
          <a:schemeClr val="tx2"/>
        </a:buClr>
        <a:buSzPct val="100000"/>
        <a:buFont typeface="Tahoma" panose="020B0604030504040204" pitchFamily="34" charset="0"/>
        <a:buChar char="•"/>
        <a:defRPr sz="1600">
          <a:solidFill>
            <a:schemeClr val="tx1"/>
          </a:solidFill>
          <a:latin typeface="Tahoma" panose="020B0604030504040204" pitchFamily="34" charset="0"/>
          <a:cs typeface="Tahoma" panose="020B0604030504040204" pitchFamily="34" charset="0"/>
        </a:defRPr>
      </a:lvl3pPr>
      <a:lvl4pPr marL="863893" indent="-287963" algn="l" rtl="0" eaLnBrk="1" fontAlgn="base" hangingPunct="1">
        <a:lnSpc>
          <a:spcPct val="100000"/>
        </a:lnSpc>
        <a:spcBef>
          <a:spcPts val="0"/>
        </a:spcBef>
        <a:spcAft>
          <a:spcPts val="400"/>
        </a:spcAft>
        <a:buClr>
          <a:schemeClr val="tx2"/>
        </a:buClr>
        <a:buSzPct val="100000"/>
        <a:buFont typeface="Tahoma" panose="020B0604030504040204" pitchFamily="34" charset="0"/>
        <a:buChar char="•"/>
        <a:defRPr sz="1600">
          <a:solidFill>
            <a:schemeClr val="tx1"/>
          </a:solidFill>
          <a:latin typeface="Tahoma" panose="020B0604030504040204" pitchFamily="34" charset="0"/>
          <a:cs typeface="Tahoma" panose="020B0604030504040204" pitchFamily="34" charset="0"/>
        </a:defRPr>
      </a:lvl4pPr>
      <a:lvl5pPr marL="1151971" indent="-287993" algn="l" rtl="0" eaLnBrk="1" fontAlgn="base" hangingPunct="1">
        <a:lnSpc>
          <a:spcPct val="100000"/>
        </a:lnSpc>
        <a:spcBef>
          <a:spcPts val="0"/>
        </a:spcBef>
        <a:spcAft>
          <a:spcPts val="400"/>
        </a:spcAft>
        <a:buClr>
          <a:schemeClr val="tx2"/>
        </a:buClr>
        <a:buSzPct val="100000"/>
        <a:buFont typeface="Tahoma" panose="020B0604030504040204" pitchFamily="34" charset="0"/>
        <a:buChar char="•"/>
        <a:defRPr sz="1600" b="0">
          <a:solidFill>
            <a:schemeClr val="tx1"/>
          </a:solidFill>
          <a:latin typeface="Tahoma" panose="020B0604030504040204" pitchFamily="34" charset="0"/>
          <a:cs typeface="Tahoma" panose="020B0604030504040204" pitchFamily="34" charset="0"/>
        </a:defRPr>
      </a:lvl5pPr>
      <a:lvl6pPr marL="0" indent="0" algn="l" rtl="0" eaLnBrk="1" fontAlgn="base" hangingPunct="1">
        <a:lnSpc>
          <a:spcPct val="100000"/>
        </a:lnSpc>
        <a:spcBef>
          <a:spcPts val="0"/>
        </a:spcBef>
        <a:spcAft>
          <a:spcPts val="800"/>
        </a:spcAft>
        <a:buClr>
          <a:srgbClr val="4367C5"/>
        </a:buClr>
        <a:buFontTx/>
        <a:buNone/>
        <a:defRPr sz="2133" b="1">
          <a:solidFill>
            <a:srgbClr val="000000"/>
          </a:solidFill>
          <a:latin typeface="+mn-lt"/>
        </a:defRPr>
      </a:lvl6pPr>
      <a:lvl7pPr marL="0" indent="0" algn="l" rtl="0" eaLnBrk="1" fontAlgn="base" hangingPunct="1">
        <a:lnSpc>
          <a:spcPct val="100000"/>
        </a:lnSpc>
        <a:spcBef>
          <a:spcPts val="0"/>
        </a:spcBef>
        <a:spcAft>
          <a:spcPts val="800"/>
        </a:spcAft>
        <a:buClr>
          <a:srgbClr val="4367C5"/>
        </a:buClr>
        <a:buFontTx/>
        <a:buNone/>
        <a:defRPr sz="2133" b="1">
          <a:solidFill>
            <a:srgbClr val="000000"/>
          </a:solidFill>
          <a:latin typeface="+mn-lt"/>
        </a:defRPr>
      </a:lvl7pPr>
      <a:lvl8pPr marL="0" indent="0" algn="l" rtl="0" eaLnBrk="1" fontAlgn="base" hangingPunct="1">
        <a:lnSpc>
          <a:spcPct val="100000"/>
        </a:lnSpc>
        <a:spcBef>
          <a:spcPts val="0"/>
        </a:spcBef>
        <a:spcAft>
          <a:spcPts val="800"/>
        </a:spcAft>
        <a:buClr>
          <a:srgbClr val="4367C5"/>
        </a:buClr>
        <a:buFontTx/>
        <a:buNone/>
        <a:defRPr sz="2133" b="1">
          <a:solidFill>
            <a:srgbClr val="000000"/>
          </a:solidFill>
          <a:latin typeface="+mn-lt"/>
        </a:defRPr>
      </a:lvl8pPr>
      <a:lvl9pPr marL="0" indent="0" algn="l" rtl="0" eaLnBrk="1" fontAlgn="base" hangingPunct="1">
        <a:lnSpc>
          <a:spcPct val="100000"/>
        </a:lnSpc>
        <a:spcBef>
          <a:spcPts val="0"/>
        </a:spcBef>
        <a:spcAft>
          <a:spcPts val="800"/>
        </a:spcAft>
        <a:buClr>
          <a:srgbClr val="4367C5"/>
        </a:buClr>
        <a:buFontTx/>
        <a:buNone/>
        <a:defRPr sz="2133" b="1">
          <a:solidFill>
            <a:srgbClr val="000000"/>
          </a:solidFill>
          <a:latin typeface="+mn-lt"/>
        </a:defRPr>
      </a:lvl9pPr>
    </p:bodyStyle>
    <p:otherStyle>
      <a:defPPr>
        <a:defRPr lang="de-DE"/>
      </a:defPPr>
      <a:lvl1pPr marL="0" algn="l" defTabSz="1218910" rtl="0" eaLnBrk="1" latinLnBrk="0" hangingPunct="1">
        <a:defRPr sz="2400" kern="1200">
          <a:solidFill>
            <a:schemeClr val="tx1"/>
          </a:solidFill>
          <a:latin typeface="+mn-lt"/>
          <a:ea typeface="+mn-ea"/>
          <a:cs typeface="+mn-cs"/>
        </a:defRPr>
      </a:lvl1pPr>
      <a:lvl2pPr marL="609454" algn="l" defTabSz="1218910" rtl="0" eaLnBrk="1" latinLnBrk="0" hangingPunct="1">
        <a:defRPr sz="2400" kern="1200">
          <a:solidFill>
            <a:schemeClr val="tx1"/>
          </a:solidFill>
          <a:latin typeface="+mn-lt"/>
          <a:ea typeface="+mn-ea"/>
          <a:cs typeface="+mn-cs"/>
        </a:defRPr>
      </a:lvl2pPr>
      <a:lvl3pPr marL="1218910" algn="l" defTabSz="1218910" rtl="0" eaLnBrk="1" latinLnBrk="0" hangingPunct="1">
        <a:defRPr sz="2400" kern="1200">
          <a:solidFill>
            <a:schemeClr val="tx1"/>
          </a:solidFill>
          <a:latin typeface="+mn-lt"/>
          <a:ea typeface="+mn-ea"/>
          <a:cs typeface="+mn-cs"/>
        </a:defRPr>
      </a:lvl3pPr>
      <a:lvl4pPr marL="1828362" algn="l" defTabSz="1218910" rtl="0" eaLnBrk="1" latinLnBrk="0" hangingPunct="1">
        <a:defRPr sz="2400" kern="1200">
          <a:solidFill>
            <a:schemeClr val="tx1"/>
          </a:solidFill>
          <a:latin typeface="+mn-lt"/>
          <a:ea typeface="+mn-ea"/>
          <a:cs typeface="+mn-cs"/>
        </a:defRPr>
      </a:lvl4pPr>
      <a:lvl5pPr marL="2437818" algn="l" defTabSz="1218910" rtl="0" eaLnBrk="1" latinLnBrk="0" hangingPunct="1">
        <a:defRPr sz="2400" kern="1200">
          <a:solidFill>
            <a:schemeClr val="tx1"/>
          </a:solidFill>
          <a:latin typeface="+mn-lt"/>
          <a:ea typeface="+mn-ea"/>
          <a:cs typeface="+mn-cs"/>
        </a:defRPr>
      </a:lvl5pPr>
      <a:lvl6pPr marL="3047272" algn="l" defTabSz="1218910" rtl="0" eaLnBrk="1" latinLnBrk="0" hangingPunct="1">
        <a:defRPr sz="2400" kern="1200">
          <a:solidFill>
            <a:schemeClr val="tx1"/>
          </a:solidFill>
          <a:latin typeface="+mn-lt"/>
          <a:ea typeface="+mn-ea"/>
          <a:cs typeface="+mn-cs"/>
        </a:defRPr>
      </a:lvl6pPr>
      <a:lvl7pPr marL="3656727" algn="l" defTabSz="1218910" rtl="0" eaLnBrk="1" latinLnBrk="0" hangingPunct="1">
        <a:defRPr sz="2400" kern="1200">
          <a:solidFill>
            <a:schemeClr val="tx1"/>
          </a:solidFill>
          <a:latin typeface="+mn-lt"/>
          <a:ea typeface="+mn-ea"/>
          <a:cs typeface="+mn-cs"/>
        </a:defRPr>
      </a:lvl7pPr>
      <a:lvl8pPr marL="4266181" algn="l" defTabSz="1218910" rtl="0" eaLnBrk="1" latinLnBrk="0" hangingPunct="1">
        <a:defRPr sz="2400" kern="1200">
          <a:solidFill>
            <a:schemeClr val="tx1"/>
          </a:solidFill>
          <a:latin typeface="+mn-lt"/>
          <a:ea typeface="+mn-ea"/>
          <a:cs typeface="+mn-cs"/>
        </a:defRPr>
      </a:lvl8pPr>
      <a:lvl9pPr marL="4875635" algn="l" defTabSz="121891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67.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65.xml"/><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a:extLst>
              <a:ext uri="{FF2B5EF4-FFF2-40B4-BE49-F238E27FC236}">
                <a16:creationId xmlns:a16="http://schemas.microsoft.com/office/drawing/2014/main" id="{EA1BF6F5-7EF6-2ACB-97F9-740E1931CD75}"/>
              </a:ext>
            </a:extLst>
          </p:cNvPr>
          <p:cNvPicPr>
            <a:picLocks noGrp="1" noChangeAspect="1"/>
          </p:cNvPicPr>
          <p:nvPr>
            <p:ph type="pic" sz="quarter" idx="13"/>
          </p:nvPr>
        </p:nvPicPr>
        <p:blipFill rotWithShape="1">
          <a:blip r:embed="rId3"/>
          <a:srcRect l="-592" t="31471" r="592" b="7591"/>
          <a:stretch/>
        </p:blipFill>
        <p:spPr>
          <a:xfrm>
            <a:off x="677009" y="0"/>
            <a:ext cx="9659688" cy="3924300"/>
          </a:xfrm>
        </p:spPr>
      </p:pic>
      <p:sp>
        <p:nvSpPr>
          <p:cNvPr id="17" name="Rectangle: Rounded Corners 16">
            <a:extLst>
              <a:ext uri="{FF2B5EF4-FFF2-40B4-BE49-F238E27FC236}">
                <a16:creationId xmlns:a16="http://schemas.microsoft.com/office/drawing/2014/main" id="{4F408EA7-4402-4FBE-B6D0-4A1AF413FCC1}"/>
              </a:ext>
            </a:extLst>
          </p:cNvPr>
          <p:cNvSpPr/>
          <p:nvPr/>
        </p:nvSpPr>
        <p:spPr>
          <a:xfrm>
            <a:off x="1113454" y="3526367"/>
            <a:ext cx="3470950" cy="2282540"/>
          </a:xfrm>
          <a:prstGeom prst="roundRect">
            <a:avLst>
              <a:gd name="adj" fmla="val 9140"/>
            </a:avLst>
          </a:prstGeom>
          <a:solidFill>
            <a:srgbClr val="1935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bIns="274320" rtlCol="0" anchor="b" anchorCtr="0"/>
          <a:lstStyle/>
          <a:p>
            <a:pPr>
              <a:lnSpc>
                <a:spcPct val="120000"/>
              </a:lnSpc>
              <a:spcBef>
                <a:spcPts val="1000"/>
              </a:spcBef>
            </a:pPr>
            <a:r>
              <a:rPr lang="en-US" sz="2400" b="1" dirty="0" err="1">
                <a:solidFill>
                  <a:srgbClr val="FFFFFF"/>
                </a:solidFill>
                <a:latin typeface="Calibri" panose="020F0502020204030204" pitchFamily="34" charset="0"/>
                <a:cs typeface="Calibri" panose="020F0502020204030204" pitchFamily="34" charset="0"/>
              </a:rPr>
              <a:t>Sicherheits</a:t>
            </a:r>
            <a:r>
              <a:rPr lang="en-US" sz="2400" b="1" dirty="0">
                <a:solidFill>
                  <a:srgbClr val="FFFFFF"/>
                </a:solidFill>
                <a:latin typeface="Calibri" panose="020F0502020204030204" pitchFamily="34" charset="0"/>
                <a:cs typeface="Calibri" panose="020F0502020204030204" pitchFamily="34" charset="0"/>
              </a:rPr>
              <a:t>-Moment</a:t>
            </a:r>
          </a:p>
          <a:p>
            <a:pPr>
              <a:lnSpc>
                <a:spcPct val="120000"/>
              </a:lnSpc>
              <a:spcBef>
                <a:spcPts val="1000"/>
              </a:spcBef>
            </a:pPr>
            <a:r>
              <a:rPr lang="en-US" sz="2000" dirty="0">
                <a:solidFill>
                  <a:srgbClr val="FFFFFF">
                    <a:alpha val="70000"/>
                  </a:srgbClr>
                </a:solidFill>
                <a:latin typeface="Calibri" panose="020F0502020204030204" pitchFamily="34" charset="0"/>
                <a:cs typeface="Calibri" panose="020F0502020204030204" pitchFamily="34" charset="0"/>
              </a:rPr>
              <a:t>In 5 </a:t>
            </a:r>
            <a:r>
              <a:rPr lang="en-US" sz="2000" dirty="0" err="1">
                <a:solidFill>
                  <a:srgbClr val="FFFFFF">
                    <a:alpha val="70000"/>
                  </a:srgbClr>
                </a:solidFill>
                <a:latin typeface="Calibri" panose="020F0502020204030204" pitchFamily="34" charset="0"/>
                <a:cs typeface="Calibri" panose="020F0502020204030204" pitchFamily="34" charset="0"/>
              </a:rPr>
              <a:t>Minuten</a:t>
            </a:r>
            <a:r>
              <a:rPr lang="en-US" sz="2000" dirty="0">
                <a:solidFill>
                  <a:srgbClr val="FFFFFF">
                    <a:alpha val="70000"/>
                  </a:srgbClr>
                </a:solidFill>
                <a:latin typeface="Calibri" panose="020F0502020204030204" pitchFamily="34" charset="0"/>
                <a:cs typeface="Calibri" panose="020F0502020204030204" pitchFamily="34" charset="0"/>
              </a:rPr>
              <a:t> </a:t>
            </a:r>
            <a:r>
              <a:rPr lang="en-US" sz="2000" dirty="0" err="1">
                <a:solidFill>
                  <a:srgbClr val="FFFFFF">
                    <a:alpha val="70000"/>
                  </a:srgbClr>
                </a:solidFill>
                <a:latin typeface="Calibri" panose="020F0502020204030204" pitchFamily="34" charset="0"/>
                <a:cs typeface="Calibri" panose="020F0502020204030204" pitchFamily="34" charset="0"/>
              </a:rPr>
              <a:t>zu</a:t>
            </a:r>
            <a:r>
              <a:rPr lang="en-US" sz="2000" dirty="0">
                <a:solidFill>
                  <a:srgbClr val="FFFFFF">
                    <a:alpha val="70000"/>
                  </a:srgbClr>
                </a:solidFill>
                <a:latin typeface="Calibri" panose="020F0502020204030204" pitchFamily="34" charset="0"/>
                <a:cs typeface="Calibri" panose="020F0502020204030204" pitchFamily="34" charset="0"/>
              </a:rPr>
              <a:t> </a:t>
            </a:r>
            <a:r>
              <a:rPr lang="en-US" sz="2000" dirty="0" err="1">
                <a:solidFill>
                  <a:srgbClr val="FFFFFF">
                    <a:alpha val="70000"/>
                  </a:srgbClr>
                </a:solidFill>
                <a:latin typeface="Calibri" panose="020F0502020204030204" pitchFamily="34" charset="0"/>
                <a:cs typeface="Calibri" panose="020F0502020204030204" pitchFamily="34" charset="0"/>
              </a:rPr>
              <a:t>mehr</a:t>
            </a:r>
            <a:r>
              <a:rPr lang="en-US" sz="2000" dirty="0">
                <a:solidFill>
                  <a:srgbClr val="FFFFFF">
                    <a:alpha val="70000"/>
                  </a:srgbClr>
                </a:solidFill>
                <a:latin typeface="Calibri" panose="020F0502020204030204" pitchFamily="34" charset="0"/>
                <a:cs typeface="Calibri" panose="020F0502020204030204" pitchFamily="34" charset="0"/>
              </a:rPr>
              <a:t> </a:t>
            </a:r>
            <a:r>
              <a:rPr lang="en-US" sz="2000" dirty="0" err="1">
                <a:solidFill>
                  <a:srgbClr val="FFFFFF">
                    <a:alpha val="70000"/>
                  </a:srgbClr>
                </a:solidFill>
                <a:latin typeface="Calibri" panose="020F0502020204030204" pitchFamily="34" charset="0"/>
                <a:cs typeface="Calibri" panose="020F0502020204030204" pitchFamily="34" charset="0"/>
              </a:rPr>
              <a:t>Arbeitsschutz</a:t>
            </a:r>
            <a:r>
              <a:rPr lang="en-US" sz="2000" dirty="0">
                <a:solidFill>
                  <a:srgbClr val="FFFFFF">
                    <a:alpha val="70000"/>
                  </a:srgbClr>
                </a:solidFill>
                <a:latin typeface="Calibri" panose="020F0502020204030204" pitchFamily="34" charset="0"/>
                <a:cs typeface="Calibri" panose="020F0502020204030204" pitchFamily="34" charset="0"/>
              </a:rPr>
              <a:t>.</a:t>
            </a:r>
          </a:p>
          <a:p>
            <a:pPr>
              <a:lnSpc>
                <a:spcPct val="120000"/>
              </a:lnSpc>
              <a:spcBef>
                <a:spcPts val="1000"/>
              </a:spcBef>
            </a:pPr>
            <a:r>
              <a:rPr lang="en-US" sz="2000" dirty="0">
                <a:solidFill>
                  <a:srgbClr val="FFFFFF">
                    <a:alpha val="70000"/>
                  </a:srgbClr>
                </a:solidFill>
                <a:latin typeface="Calibri" panose="020F0502020204030204" pitchFamily="34" charset="0"/>
                <a:cs typeface="Calibri" panose="020F0502020204030204" pitchFamily="34" charset="0"/>
              </a:rPr>
              <a:t> </a:t>
            </a:r>
          </a:p>
        </p:txBody>
      </p:sp>
      <p:grpSp>
        <p:nvGrpSpPr>
          <p:cNvPr id="25" name="Group 24">
            <a:extLst>
              <a:ext uri="{FF2B5EF4-FFF2-40B4-BE49-F238E27FC236}">
                <a16:creationId xmlns:a16="http://schemas.microsoft.com/office/drawing/2014/main" id="{9CAB1154-B571-4830-93F9-F2EB9C36067E}"/>
              </a:ext>
            </a:extLst>
          </p:cNvPr>
          <p:cNvGrpSpPr/>
          <p:nvPr/>
        </p:nvGrpSpPr>
        <p:grpSpPr>
          <a:xfrm>
            <a:off x="3312640" y="4825071"/>
            <a:ext cx="797066" cy="795388"/>
            <a:chOff x="8262938" y="5132388"/>
            <a:chExt cx="754063" cy="752476"/>
          </a:xfrm>
        </p:grpSpPr>
        <p:sp>
          <p:nvSpPr>
            <p:cNvPr id="26" name="Freeform 109">
              <a:extLst>
                <a:ext uri="{FF2B5EF4-FFF2-40B4-BE49-F238E27FC236}">
                  <a16:creationId xmlns:a16="http://schemas.microsoft.com/office/drawing/2014/main" id="{6F63F12B-CD16-41D7-AE59-D22FFB2858D2}"/>
                </a:ext>
              </a:extLst>
            </p:cNvPr>
            <p:cNvSpPr>
              <a:spLocks/>
            </p:cNvSpPr>
            <p:nvPr/>
          </p:nvSpPr>
          <p:spPr bwMode="auto">
            <a:xfrm>
              <a:off x="8712201" y="5581651"/>
              <a:ext cx="304800" cy="303213"/>
            </a:xfrm>
            <a:custGeom>
              <a:avLst/>
              <a:gdLst>
                <a:gd name="T0" fmla="*/ 807 w 831"/>
                <a:gd name="T1" fmla="*/ 553 h 825"/>
                <a:gd name="T2" fmla="*/ 396 w 831"/>
                <a:gd name="T3" fmla="*/ 141 h 825"/>
                <a:gd name="T4" fmla="*/ 311 w 831"/>
                <a:gd name="T5" fmla="*/ 141 h 825"/>
                <a:gd name="T6" fmla="*/ 269 w 831"/>
                <a:gd name="T7" fmla="*/ 184 h 825"/>
                <a:gd name="T8" fmla="*/ 109 w 831"/>
                <a:gd name="T9" fmla="*/ 24 h 825"/>
                <a:gd name="T10" fmla="*/ 24 w 831"/>
                <a:gd name="T11" fmla="*/ 24 h 825"/>
                <a:gd name="T12" fmla="*/ 24 w 831"/>
                <a:gd name="T13" fmla="*/ 109 h 825"/>
                <a:gd name="T14" fmla="*/ 184 w 831"/>
                <a:gd name="T15" fmla="*/ 269 h 825"/>
                <a:gd name="T16" fmla="*/ 141 w 831"/>
                <a:gd name="T17" fmla="*/ 311 h 825"/>
                <a:gd name="T18" fmla="*/ 141 w 831"/>
                <a:gd name="T19" fmla="*/ 396 h 825"/>
                <a:gd name="T20" fmla="*/ 553 w 831"/>
                <a:gd name="T21" fmla="*/ 807 h 825"/>
                <a:gd name="T22" fmla="*/ 595 w 831"/>
                <a:gd name="T23" fmla="*/ 825 h 825"/>
                <a:gd name="T24" fmla="*/ 638 w 831"/>
                <a:gd name="T25" fmla="*/ 807 h 825"/>
                <a:gd name="T26" fmla="*/ 807 w 831"/>
                <a:gd name="T27" fmla="*/ 638 h 825"/>
                <a:gd name="T28" fmla="*/ 807 w 831"/>
                <a:gd name="T29" fmla="*/ 553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1" h="825">
                  <a:moveTo>
                    <a:pt x="807" y="553"/>
                  </a:moveTo>
                  <a:cubicBezTo>
                    <a:pt x="396" y="141"/>
                    <a:pt x="396" y="141"/>
                    <a:pt x="396" y="141"/>
                  </a:cubicBezTo>
                  <a:cubicBezTo>
                    <a:pt x="373" y="118"/>
                    <a:pt x="335" y="118"/>
                    <a:pt x="311" y="141"/>
                  </a:cubicBezTo>
                  <a:cubicBezTo>
                    <a:pt x="269" y="184"/>
                    <a:pt x="269" y="184"/>
                    <a:pt x="269" y="184"/>
                  </a:cubicBezTo>
                  <a:cubicBezTo>
                    <a:pt x="109" y="24"/>
                    <a:pt x="109" y="24"/>
                    <a:pt x="109" y="24"/>
                  </a:cubicBezTo>
                  <a:cubicBezTo>
                    <a:pt x="85" y="0"/>
                    <a:pt x="47" y="0"/>
                    <a:pt x="24" y="24"/>
                  </a:cubicBezTo>
                  <a:cubicBezTo>
                    <a:pt x="0" y="47"/>
                    <a:pt x="0" y="85"/>
                    <a:pt x="24" y="109"/>
                  </a:cubicBezTo>
                  <a:cubicBezTo>
                    <a:pt x="184" y="269"/>
                    <a:pt x="184" y="269"/>
                    <a:pt x="184" y="269"/>
                  </a:cubicBezTo>
                  <a:cubicBezTo>
                    <a:pt x="141" y="311"/>
                    <a:pt x="141" y="311"/>
                    <a:pt x="141" y="311"/>
                  </a:cubicBezTo>
                  <a:cubicBezTo>
                    <a:pt x="118" y="335"/>
                    <a:pt x="118" y="373"/>
                    <a:pt x="141" y="396"/>
                  </a:cubicBezTo>
                  <a:cubicBezTo>
                    <a:pt x="553" y="807"/>
                    <a:pt x="553" y="807"/>
                    <a:pt x="553" y="807"/>
                  </a:cubicBezTo>
                  <a:cubicBezTo>
                    <a:pt x="565" y="819"/>
                    <a:pt x="580" y="825"/>
                    <a:pt x="595" y="825"/>
                  </a:cubicBezTo>
                  <a:cubicBezTo>
                    <a:pt x="611" y="825"/>
                    <a:pt x="626" y="819"/>
                    <a:pt x="638" y="807"/>
                  </a:cubicBezTo>
                  <a:cubicBezTo>
                    <a:pt x="807" y="638"/>
                    <a:pt x="807" y="638"/>
                    <a:pt x="807" y="638"/>
                  </a:cubicBezTo>
                  <a:cubicBezTo>
                    <a:pt x="831" y="614"/>
                    <a:pt x="831" y="576"/>
                    <a:pt x="807" y="553"/>
                  </a:cubicBezTo>
                  <a:close/>
                </a:path>
              </a:pathLst>
            </a:custGeom>
            <a:gradFill>
              <a:gsLst>
                <a:gs pos="0">
                  <a:schemeClr val="accent1">
                    <a:lumMod val="20000"/>
                    <a:lumOff val="80000"/>
                  </a:schemeClr>
                </a:gs>
                <a:gs pos="93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110">
              <a:extLst>
                <a:ext uri="{FF2B5EF4-FFF2-40B4-BE49-F238E27FC236}">
                  <a16:creationId xmlns:a16="http://schemas.microsoft.com/office/drawing/2014/main" id="{2302509B-C39E-4654-9A10-E30BCCF01CAC}"/>
                </a:ext>
              </a:extLst>
            </p:cNvPr>
            <p:cNvSpPr>
              <a:spLocks/>
            </p:cNvSpPr>
            <p:nvPr/>
          </p:nvSpPr>
          <p:spPr bwMode="auto">
            <a:xfrm>
              <a:off x="8262938" y="5132388"/>
              <a:ext cx="573088" cy="573088"/>
            </a:xfrm>
            <a:custGeom>
              <a:avLst/>
              <a:gdLst>
                <a:gd name="T0" fmla="*/ 780 w 1560"/>
                <a:gd name="T1" fmla="*/ 0 h 1560"/>
                <a:gd name="T2" fmla="*/ 0 w 1560"/>
                <a:gd name="T3" fmla="*/ 780 h 1560"/>
                <a:gd name="T4" fmla="*/ 24 w 1560"/>
                <a:gd name="T5" fmla="*/ 971 h 1560"/>
                <a:gd name="T6" fmla="*/ 164 w 1560"/>
                <a:gd name="T7" fmla="*/ 967 h 1560"/>
                <a:gd name="T8" fmla="*/ 68 w 1560"/>
                <a:gd name="T9" fmla="*/ 1097 h 1560"/>
                <a:gd name="T10" fmla="*/ 780 w 1560"/>
                <a:gd name="T11" fmla="*/ 1560 h 1560"/>
                <a:gd name="T12" fmla="*/ 1560 w 1560"/>
                <a:gd name="T13" fmla="*/ 780 h 1560"/>
                <a:gd name="T14" fmla="*/ 780 w 1560"/>
                <a:gd name="T15" fmla="*/ 0 h 15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0" h="1560">
                  <a:moveTo>
                    <a:pt x="780" y="0"/>
                  </a:moveTo>
                  <a:cubicBezTo>
                    <a:pt x="350" y="0"/>
                    <a:pt x="0" y="350"/>
                    <a:pt x="0" y="780"/>
                  </a:cubicBezTo>
                  <a:cubicBezTo>
                    <a:pt x="0" y="846"/>
                    <a:pt x="8" y="910"/>
                    <a:pt x="24" y="971"/>
                  </a:cubicBezTo>
                  <a:cubicBezTo>
                    <a:pt x="29" y="992"/>
                    <a:pt x="164" y="967"/>
                    <a:pt x="164" y="967"/>
                  </a:cubicBezTo>
                  <a:cubicBezTo>
                    <a:pt x="164" y="967"/>
                    <a:pt x="59" y="1076"/>
                    <a:pt x="68" y="1097"/>
                  </a:cubicBezTo>
                  <a:cubicBezTo>
                    <a:pt x="190" y="1369"/>
                    <a:pt x="463" y="1560"/>
                    <a:pt x="780" y="1560"/>
                  </a:cubicBezTo>
                  <a:cubicBezTo>
                    <a:pt x="1210" y="1560"/>
                    <a:pt x="1560" y="1210"/>
                    <a:pt x="1560" y="780"/>
                  </a:cubicBezTo>
                  <a:cubicBezTo>
                    <a:pt x="1560" y="350"/>
                    <a:pt x="1210" y="0"/>
                    <a:pt x="780" y="0"/>
                  </a:cubicBezTo>
                  <a:close/>
                </a:path>
              </a:pathLst>
            </a:custGeom>
            <a:gradFill>
              <a:gsLst>
                <a:gs pos="0">
                  <a:srgbClr val="FFFFFF"/>
                </a:gs>
                <a:gs pos="93000">
                  <a:schemeClr val="accent1">
                    <a:lumMod val="20000"/>
                    <a:lumOff val="8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111">
              <a:extLst>
                <a:ext uri="{FF2B5EF4-FFF2-40B4-BE49-F238E27FC236}">
                  <a16:creationId xmlns:a16="http://schemas.microsoft.com/office/drawing/2014/main" id="{28B217D0-7597-4D55-88B7-BA066D733C6A}"/>
                </a:ext>
              </a:extLst>
            </p:cNvPr>
            <p:cNvSpPr>
              <a:spLocks/>
            </p:cNvSpPr>
            <p:nvPr/>
          </p:nvSpPr>
          <p:spPr bwMode="auto">
            <a:xfrm>
              <a:off x="8272463" y="5132388"/>
              <a:ext cx="739775" cy="441325"/>
            </a:xfrm>
            <a:custGeom>
              <a:avLst/>
              <a:gdLst>
                <a:gd name="T0" fmla="*/ 1836 w 2016"/>
                <a:gd name="T1" fmla="*/ 0 h 1200"/>
                <a:gd name="T2" fmla="*/ 1656 w 2016"/>
                <a:gd name="T3" fmla="*/ 180 h 1200"/>
                <a:gd name="T4" fmla="*/ 1674 w 2016"/>
                <a:gd name="T5" fmla="*/ 258 h 1200"/>
                <a:gd name="T6" fmla="*/ 1074 w 2016"/>
                <a:gd name="T7" fmla="*/ 858 h 1200"/>
                <a:gd name="T8" fmla="*/ 996 w 2016"/>
                <a:gd name="T9" fmla="*/ 840 h 1200"/>
                <a:gd name="T10" fmla="*/ 918 w 2016"/>
                <a:gd name="T11" fmla="*/ 858 h 1200"/>
                <a:gd name="T12" fmla="*/ 678 w 2016"/>
                <a:gd name="T13" fmla="*/ 618 h 1200"/>
                <a:gd name="T14" fmla="*/ 696 w 2016"/>
                <a:gd name="T15" fmla="*/ 540 h 1200"/>
                <a:gd name="T16" fmla="*/ 516 w 2016"/>
                <a:gd name="T17" fmla="*/ 360 h 1200"/>
                <a:gd name="T18" fmla="*/ 336 w 2016"/>
                <a:gd name="T19" fmla="*/ 540 h 1200"/>
                <a:gd name="T20" fmla="*/ 353 w 2016"/>
                <a:gd name="T21" fmla="*/ 617 h 1200"/>
                <a:gd name="T22" fmla="*/ 0 w 2016"/>
                <a:gd name="T23" fmla="*/ 971 h 1200"/>
                <a:gd name="T24" fmla="*/ 44 w 2016"/>
                <a:gd name="T25" fmla="*/ 1097 h 1200"/>
                <a:gd name="T26" fmla="*/ 439 w 2016"/>
                <a:gd name="T27" fmla="*/ 703 h 1200"/>
                <a:gd name="T28" fmla="*/ 516 w 2016"/>
                <a:gd name="T29" fmla="*/ 720 h 1200"/>
                <a:gd name="T30" fmla="*/ 594 w 2016"/>
                <a:gd name="T31" fmla="*/ 702 h 1200"/>
                <a:gd name="T32" fmla="*/ 834 w 2016"/>
                <a:gd name="T33" fmla="*/ 942 h 1200"/>
                <a:gd name="T34" fmla="*/ 816 w 2016"/>
                <a:gd name="T35" fmla="*/ 1020 h 1200"/>
                <a:gd name="T36" fmla="*/ 996 w 2016"/>
                <a:gd name="T37" fmla="*/ 1200 h 1200"/>
                <a:gd name="T38" fmla="*/ 1176 w 2016"/>
                <a:gd name="T39" fmla="*/ 1020 h 1200"/>
                <a:gd name="T40" fmla="*/ 1158 w 2016"/>
                <a:gd name="T41" fmla="*/ 942 h 1200"/>
                <a:gd name="T42" fmla="*/ 1758 w 2016"/>
                <a:gd name="T43" fmla="*/ 342 h 1200"/>
                <a:gd name="T44" fmla="*/ 1836 w 2016"/>
                <a:gd name="T45" fmla="*/ 360 h 1200"/>
                <a:gd name="T46" fmla="*/ 2016 w 2016"/>
                <a:gd name="T47" fmla="*/ 180 h 1200"/>
                <a:gd name="T48" fmla="*/ 1836 w 2016"/>
                <a:gd name="T49" fmla="*/ 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16" h="1200">
                  <a:moveTo>
                    <a:pt x="1836" y="0"/>
                  </a:moveTo>
                  <a:cubicBezTo>
                    <a:pt x="1737" y="0"/>
                    <a:pt x="1656" y="81"/>
                    <a:pt x="1656" y="180"/>
                  </a:cubicBezTo>
                  <a:cubicBezTo>
                    <a:pt x="1656" y="208"/>
                    <a:pt x="1662" y="234"/>
                    <a:pt x="1674" y="258"/>
                  </a:cubicBezTo>
                  <a:cubicBezTo>
                    <a:pt x="1074" y="858"/>
                    <a:pt x="1074" y="858"/>
                    <a:pt x="1074" y="858"/>
                  </a:cubicBezTo>
                  <a:cubicBezTo>
                    <a:pt x="1050" y="846"/>
                    <a:pt x="1024" y="840"/>
                    <a:pt x="996" y="840"/>
                  </a:cubicBezTo>
                  <a:cubicBezTo>
                    <a:pt x="968" y="840"/>
                    <a:pt x="942" y="846"/>
                    <a:pt x="918" y="858"/>
                  </a:cubicBezTo>
                  <a:cubicBezTo>
                    <a:pt x="678" y="618"/>
                    <a:pt x="678" y="618"/>
                    <a:pt x="678" y="618"/>
                  </a:cubicBezTo>
                  <a:cubicBezTo>
                    <a:pt x="690" y="594"/>
                    <a:pt x="696" y="568"/>
                    <a:pt x="696" y="540"/>
                  </a:cubicBezTo>
                  <a:cubicBezTo>
                    <a:pt x="696" y="441"/>
                    <a:pt x="615" y="360"/>
                    <a:pt x="516" y="360"/>
                  </a:cubicBezTo>
                  <a:cubicBezTo>
                    <a:pt x="417" y="360"/>
                    <a:pt x="336" y="441"/>
                    <a:pt x="336" y="540"/>
                  </a:cubicBezTo>
                  <a:cubicBezTo>
                    <a:pt x="336" y="568"/>
                    <a:pt x="342" y="594"/>
                    <a:pt x="353" y="617"/>
                  </a:cubicBezTo>
                  <a:cubicBezTo>
                    <a:pt x="0" y="971"/>
                    <a:pt x="0" y="971"/>
                    <a:pt x="0" y="971"/>
                  </a:cubicBezTo>
                  <a:cubicBezTo>
                    <a:pt x="11" y="1014"/>
                    <a:pt x="25" y="1056"/>
                    <a:pt x="44" y="1097"/>
                  </a:cubicBezTo>
                  <a:cubicBezTo>
                    <a:pt x="439" y="703"/>
                    <a:pt x="439" y="703"/>
                    <a:pt x="439" y="703"/>
                  </a:cubicBezTo>
                  <a:cubicBezTo>
                    <a:pt x="462" y="714"/>
                    <a:pt x="488" y="720"/>
                    <a:pt x="516" y="720"/>
                  </a:cubicBezTo>
                  <a:cubicBezTo>
                    <a:pt x="544" y="720"/>
                    <a:pt x="570" y="714"/>
                    <a:pt x="594" y="702"/>
                  </a:cubicBezTo>
                  <a:cubicBezTo>
                    <a:pt x="834" y="942"/>
                    <a:pt x="834" y="942"/>
                    <a:pt x="834" y="942"/>
                  </a:cubicBezTo>
                  <a:cubicBezTo>
                    <a:pt x="822" y="966"/>
                    <a:pt x="816" y="992"/>
                    <a:pt x="816" y="1020"/>
                  </a:cubicBezTo>
                  <a:cubicBezTo>
                    <a:pt x="816" y="1119"/>
                    <a:pt x="897" y="1200"/>
                    <a:pt x="996" y="1200"/>
                  </a:cubicBezTo>
                  <a:cubicBezTo>
                    <a:pt x="1095" y="1200"/>
                    <a:pt x="1176" y="1119"/>
                    <a:pt x="1176" y="1020"/>
                  </a:cubicBezTo>
                  <a:cubicBezTo>
                    <a:pt x="1176" y="992"/>
                    <a:pt x="1170" y="966"/>
                    <a:pt x="1158" y="942"/>
                  </a:cubicBezTo>
                  <a:cubicBezTo>
                    <a:pt x="1758" y="342"/>
                    <a:pt x="1758" y="342"/>
                    <a:pt x="1758" y="342"/>
                  </a:cubicBezTo>
                  <a:cubicBezTo>
                    <a:pt x="1782" y="354"/>
                    <a:pt x="1808" y="360"/>
                    <a:pt x="1836" y="360"/>
                  </a:cubicBezTo>
                  <a:cubicBezTo>
                    <a:pt x="1935" y="360"/>
                    <a:pt x="2016" y="279"/>
                    <a:pt x="2016" y="180"/>
                  </a:cubicBezTo>
                  <a:cubicBezTo>
                    <a:pt x="2016" y="81"/>
                    <a:pt x="1935" y="0"/>
                    <a:pt x="1836" y="0"/>
                  </a:cubicBezTo>
                  <a:close/>
                </a:path>
              </a:pathLst>
            </a:custGeom>
            <a:gradFill>
              <a:gsLst>
                <a:gs pos="0">
                  <a:schemeClr val="accent1">
                    <a:lumMod val="20000"/>
                    <a:lumOff val="80000"/>
                  </a:schemeClr>
                </a:gs>
                <a:gs pos="93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5" name="Grafik 4">
            <a:extLst>
              <a:ext uri="{FF2B5EF4-FFF2-40B4-BE49-F238E27FC236}">
                <a16:creationId xmlns:a16="http://schemas.microsoft.com/office/drawing/2014/main" id="{9A1BD94A-BF00-6E9C-FCC6-F155E1B5FE97}"/>
              </a:ext>
            </a:extLst>
          </p:cNvPr>
          <p:cNvPicPr>
            <a:picLocks noChangeAspect="1"/>
          </p:cNvPicPr>
          <p:nvPr/>
        </p:nvPicPr>
        <p:blipFill rotWithShape="1">
          <a:blip r:embed="rId4"/>
          <a:srcRect l="9767" t="41072" r="6866" b="12274"/>
          <a:stretch/>
        </p:blipFill>
        <p:spPr>
          <a:xfrm>
            <a:off x="885936" y="6339904"/>
            <a:ext cx="1515719" cy="422987"/>
          </a:xfrm>
          <a:prstGeom prst="rect">
            <a:avLst/>
          </a:prstGeom>
        </p:spPr>
      </p:pic>
      <p:sp>
        <p:nvSpPr>
          <p:cNvPr id="6" name="TextBox 14">
            <a:extLst>
              <a:ext uri="{FF2B5EF4-FFF2-40B4-BE49-F238E27FC236}">
                <a16:creationId xmlns:a16="http://schemas.microsoft.com/office/drawing/2014/main" id="{E9AFFB0A-9BA5-E2E1-FC9C-E60EB26C6C68}"/>
              </a:ext>
            </a:extLst>
          </p:cNvPr>
          <p:cNvSpPr txBox="1"/>
          <p:nvPr/>
        </p:nvSpPr>
        <p:spPr>
          <a:xfrm>
            <a:off x="4884959" y="3950321"/>
            <a:ext cx="6723945" cy="1477328"/>
          </a:xfrm>
          <a:prstGeom prst="rect">
            <a:avLst/>
          </a:prstGeom>
          <a:noFill/>
        </p:spPr>
        <p:txBody>
          <a:bodyPr wrap="square" lIns="0" tIns="0" rIns="0" bIns="0" rtlCol="0">
            <a:spAutoFit/>
          </a:bodyPr>
          <a:lstStyle/>
          <a:p>
            <a:pPr algn="ctr" defTabSz="914377">
              <a:defRPr/>
            </a:pPr>
            <a:r>
              <a:rPr lang="de-DE" sz="4800" b="1" dirty="0">
                <a:solidFill>
                  <a:srgbClr val="004D7A"/>
                </a:solidFill>
              </a:rPr>
              <a:t>Treppen &amp; Rampen – sicher benutzen</a:t>
            </a:r>
            <a:endParaRPr lang="en-US" sz="2000" b="1" dirty="0">
              <a:solidFill>
                <a:srgbClr val="004D7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38690645"/>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8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repeatCount="indefinite" accel="50000" decel="50000" autoRev="1" fill="hold" grpId="1" nodeType="withEffect">
                                  <p:stCondLst>
                                    <p:cond delay="800"/>
                                  </p:stCondLst>
                                  <p:childTnLst>
                                    <p:animMotion origin="layout" path="M 2.08333E-7 4.81481E-6 L 2.08333E-7 -0.03704 " pathEditMode="relative" rAng="0" ptsTypes="AA">
                                      <p:cBhvr>
                                        <p:cTn id="9" dur="3500" fill="hold"/>
                                        <p:tgtEl>
                                          <p:spTgt spid="17"/>
                                        </p:tgtEl>
                                        <p:attrNameLst>
                                          <p:attrName>ppt_x</p:attrName>
                                          <p:attrName>ppt_y</p:attrName>
                                        </p:attrNameLst>
                                      </p:cBhvr>
                                      <p:rCtr x="0" y="-1852"/>
                                    </p:animMotion>
                                  </p:childTnLst>
                                </p:cTn>
                              </p:par>
                              <p:par>
                                <p:cTn id="10" presetID="10" presetClass="entr" presetSubtype="0" fill="hold" nodeType="withEffect">
                                  <p:stCondLst>
                                    <p:cond delay="80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42" presetClass="path" presetSubtype="0" repeatCount="indefinite" accel="50000" decel="50000" autoRev="1" fill="hold" nodeType="withEffect">
                                  <p:stCondLst>
                                    <p:cond delay="800"/>
                                  </p:stCondLst>
                                  <p:childTnLst>
                                    <p:animMotion origin="layout" path="M 2.08333E-7 4.81481E-6 L 2.08333E-7 -0.03704 " pathEditMode="relative" rAng="0" ptsTypes="AA">
                                      <p:cBhvr>
                                        <p:cTn id="14" dur="3500" fill="hold"/>
                                        <p:tgtEl>
                                          <p:spTgt spid="25"/>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a:lnSpc>
                <a:spcPct val="120000"/>
              </a:lnSpc>
              <a:spcBef>
                <a:spcPts val="1000"/>
              </a:spcBef>
            </a:pPr>
            <a:r>
              <a:rPr lang="de-DE" sz="3200" b="1" i="0" u="none" strike="noStrike" dirty="0">
                <a:solidFill>
                  <a:srgbClr val="000000"/>
                </a:solidFill>
                <a:effectLst/>
                <a:latin typeface="Calibri" panose="020F0502020204030204" pitchFamily="34" charset="0"/>
              </a:rPr>
              <a:t>Welche Handlung ist richtig beim Benutzen einer Rampe? </a:t>
            </a: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00668"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10</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908215"/>
          </a:xfrm>
          <a:prstGeom prst="rect">
            <a:avLst/>
          </a:prstGeom>
          <a:noFill/>
        </p:spPr>
        <p:txBody>
          <a:bodyPr wrap="square">
            <a:spAutoFit/>
          </a:bodyPr>
          <a:lstStyle/>
          <a:p>
            <a:pPr marL="457200" indent="-457200" algn="ctr">
              <a:buAutoNum type="alphaUcParenR"/>
            </a:pPr>
            <a:r>
              <a:rPr lang="de-DE" dirty="0"/>
              <a:t>Langsames Schieben schwerer Lasten ohne Handlauf ist ausreichend</a:t>
            </a:r>
          </a:p>
          <a:p>
            <a:pPr algn="ctr"/>
            <a:br>
              <a:rPr lang="de-DE" sz="2000" dirty="0"/>
            </a:br>
            <a:r>
              <a:rPr lang="de-DE" sz="2000" b="0" i="0" u="none" strike="noStrike" dirty="0">
                <a:solidFill>
                  <a:srgbClr val="000000"/>
                </a:solidFill>
                <a:effectLst/>
                <a:latin typeface="-webkit-standard"/>
              </a:rPr>
              <a:t>B) </a:t>
            </a:r>
            <a:r>
              <a:rPr lang="de-DE" dirty="0"/>
              <a:t>Vorsichtig gehen und Handlauf nutzen</a:t>
            </a:r>
            <a:endParaRPr lang="de-DE" sz="2000" dirty="0">
              <a:solidFill>
                <a:srgbClr val="000000"/>
              </a:solidFill>
              <a:latin typeface="-webkit-standard"/>
            </a:endParaRPr>
          </a:p>
          <a:p>
            <a:pPr algn="ctr"/>
            <a:endParaRPr lang="de-DE" sz="2000" dirty="0">
              <a:solidFill>
                <a:srgbClr val="000000"/>
              </a:solidFill>
              <a:latin typeface="-webkit-standard"/>
            </a:endParaRPr>
          </a:p>
          <a:p>
            <a:pPr algn="ctr"/>
            <a:r>
              <a:rPr lang="de-DE" sz="2000" dirty="0">
                <a:solidFill>
                  <a:srgbClr val="000000"/>
                </a:solidFill>
                <a:latin typeface="-webkit-standard"/>
              </a:rPr>
              <a:t>C</a:t>
            </a:r>
            <a:r>
              <a:rPr lang="de-DE" sz="2000" b="0" i="0" u="none" strike="noStrike" dirty="0">
                <a:solidFill>
                  <a:srgbClr val="000000"/>
                </a:solidFill>
                <a:effectLst/>
                <a:latin typeface="-webkit-standard"/>
              </a:rPr>
              <a:t>) </a:t>
            </a:r>
            <a:r>
              <a:rPr lang="de-DE" dirty="0"/>
              <a:t>Rampe nur betreten, wenn keine andere Person in der Nähe ist</a:t>
            </a:r>
            <a:endParaRPr lang="de-DE" sz="2000" dirty="0">
              <a:solidFill>
                <a:srgbClr val="000000"/>
              </a:solidFill>
              <a:latin typeface="-webkit-standard"/>
            </a:endParaRPr>
          </a:p>
          <a:p>
            <a:pPr algn="ct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01450482"/>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1" nodeType="afterEffect">
                                  <p:stCondLst>
                                    <p:cond delay="500"/>
                                  </p:stCondLst>
                                  <p:iterate type="lt">
                                    <p:tmPct val="0"/>
                                  </p:iterate>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1000"/>
                            </p:stCondLst>
                            <p:childTnLst>
                              <p:par>
                                <p:cTn id="9" presetID="9" presetClass="entr" presetSubtype="0" fill="hold" grpId="1" nodeType="afterEffect">
                                  <p:stCondLst>
                                    <p:cond delay="500"/>
                                  </p:stCondLst>
                                  <p:iterate type="lt">
                                    <p:tmPct val="0"/>
                                  </p:iterate>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par>
                                <p:cTn id="12" presetID="9" presetClass="entr" presetSubtype="0" fill="hold" grpId="1" nodeType="withEffect">
                                  <p:stCondLst>
                                    <p:cond delay="500"/>
                                  </p:stCondLst>
                                  <p:iterate type="lt">
                                    <p:tmPct val="0"/>
                                  </p:iterate>
                                  <p:childTnLst>
                                    <p:set>
                                      <p:cBhvr>
                                        <p:cTn id="13" dur="1" fill="hold">
                                          <p:stCondLst>
                                            <p:cond delay="0"/>
                                          </p:stCondLst>
                                        </p:cTn>
                                        <p:tgtEl>
                                          <p:spTgt spid="31">
                                            <p:txEl>
                                              <p:pRg st="3" end="3"/>
                                            </p:txEl>
                                          </p:spTgt>
                                        </p:tgtEl>
                                        <p:attrNameLst>
                                          <p:attrName>style.visibility</p:attrName>
                                        </p:attrNameLst>
                                      </p:cBhvr>
                                      <p:to>
                                        <p:strVal val="visible"/>
                                      </p:to>
                                    </p:set>
                                    <p:animEffect transition="in" filter="dissolve">
                                      <p:cBhvr>
                                        <p:cTn id="14" dur="500"/>
                                        <p:tgtEl>
                                          <p:spTgt spid="31">
                                            <p:txEl>
                                              <p:pRg st="3" end="3"/>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5" presetClass="emph" presetSubtype="0" nodeType="clickEffect">
                                  <p:stCondLst>
                                    <p:cond delay="0"/>
                                  </p:stCondLst>
                                  <p:iterate type="lt">
                                    <p:tmAbs val="25"/>
                                  </p:iterate>
                                  <p:childTnLst>
                                    <p:set>
                                      <p:cBhvr override="childStyle">
                                        <p:cTn id="18" dur="indefinite"/>
                                        <p:tgtEl>
                                          <p:spTgt spid="31">
                                            <p:txEl>
                                              <p:pRg st="1" end="1"/>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1" uiExpand="1" build="allAtOnce"/>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rtl="0" fontAlgn="base"/>
            <a:r>
              <a:rPr lang="de-DE" sz="3200" b="1" i="0" u="none" strike="noStrike" dirty="0">
                <a:solidFill>
                  <a:srgbClr val="000000"/>
                </a:solidFill>
                <a:effectLst/>
                <a:latin typeface="Calibri" panose="020F0502020204030204" pitchFamily="34" charset="0"/>
              </a:rPr>
              <a:t>Wer ist verantwortlich für die Sicherheit von Treppen und Rampen im Betrieb? </a:t>
            </a: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00668"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11</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631216"/>
          </a:xfrm>
          <a:prstGeom prst="rect">
            <a:avLst/>
          </a:prstGeom>
          <a:noFill/>
        </p:spPr>
        <p:txBody>
          <a:bodyPr wrap="square">
            <a:spAutoFit/>
          </a:bodyPr>
          <a:lstStyle/>
          <a:p>
            <a:pPr marL="457200" indent="-457200" algn="ctr">
              <a:buAutoNum type="alphaUcParenR"/>
            </a:pPr>
            <a:r>
              <a:rPr lang="de-DE" dirty="0"/>
              <a:t>Reinigungspersonal muss alle Gefahren erkennen und beseitigen</a:t>
            </a:r>
            <a:r>
              <a:rPr lang="de-DE" sz="2000" dirty="0">
                <a:solidFill>
                  <a:srgbClr val="000000"/>
                </a:solidFill>
                <a:latin typeface="-webkit-standard"/>
              </a:rPr>
              <a:t> </a:t>
            </a:r>
          </a:p>
          <a:p>
            <a:pPr algn="ctr"/>
            <a:br>
              <a:rPr lang="de-DE" sz="2000" dirty="0"/>
            </a:br>
            <a:r>
              <a:rPr lang="de-DE" sz="2000" b="0" i="0" u="none" strike="noStrike" dirty="0">
                <a:solidFill>
                  <a:srgbClr val="000000"/>
                </a:solidFill>
                <a:effectLst/>
                <a:latin typeface="-webkit-standard"/>
              </a:rPr>
              <a:t>B) </a:t>
            </a:r>
            <a:r>
              <a:rPr lang="de-DE" dirty="0"/>
              <a:t>Mitarbeitende, die die Treppe nutzen</a:t>
            </a:r>
            <a:endParaRPr lang="de-DE" sz="2000" b="0" i="0" u="none" strike="noStrike" dirty="0">
              <a:solidFill>
                <a:srgbClr val="000000"/>
              </a:solidFill>
              <a:effectLst/>
              <a:latin typeface="-webkit-standard"/>
            </a:endParaRPr>
          </a:p>
          <a:p>
            <a:pPr algn="ctr"/>
            <a:br>
              <a:rPr lang="de-DE" sz="2000" dirty="0"/>
            </a:br>
            <a:r>
              <a:rPr lang="de-DE" sz="2000" b="0" i="0" u="none" strike="noStrike" dirty="0">
                <a:solidFill>
                  <a:srgbClr val="000000"/>
                </a:solidFill>
                <a:effectLst/>
                <a:latin typeface="-webkit-standard"/>
              </a:rPr>
              <a:t>C) </a:t>
            </a:r>
            <a:r>
              <a:rPr lang="de-DE" dirty="0"/>
              <a:t>Arbeitgeber</a:t>
            </a: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60084989"/>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childTnLst>
                          </p:cTn>
                        </p:par>
                        <p:par>
                          <p:cTn id="12" fill="hold">
                            <p:stCondLst>
                              <p:cond delay="1000"/>
                            </p:stCondLst>
                            <p:childTnLst>
                              <p:par>
                                <p:cTn id="13" presetID="9" presetClass="entr" presetSubtype="0" fill="hold" nodeType="afterEffect">
                                  <p:stCondLst>
                                    <p:cond delay="0"/>
                                  </p:stCondLst>
                                  <p:iterate type="lt">
                                    <p:tmPct val="0"/>
                                  </p:iterate>
                                  <p:childTnLst>
                                    <p:set>
                                      <p:cBhvr>
                                        <p:cTn id="14" dur="1" fill="hold">
                                          <p:stCondLst>
                                            <p:cond delay="0"/>
                                          </p:stCondLst>
                                        </p:cTn>
                                        <p:tgtEl>
                                          <p:spTgt spid="31">
                                            <p:txEl>
                                              <p:pRg st="2" end="2"/>
                                            </p:txEl>
                                          </p:spTgt>
                                        </p:tgtEl>
                                        <p:attrNameLst>
                                          <p:attrName>style.visibility</p:attrName>
                                        </p:attrNameLst>
                                      </p:cBhvr>
                                      <p:to>
                                        <p:strVal val="visible"/>
                                      </p:to>
                                    </p:set>
                                    <p:animEffect transition="in" filter="dissolve">
                                      <p:cBhvr>
                                        <p:cTn id="15" dur="500"/>
                                        <p:tgtEl>
                                          <p:spTgt spid="3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5" presetClass="emph" presetSubtype="0" nodeType="clickEffect">
                                  <p:stCondLst>
                                    <p:cond delay="0"/>
                                  </p:stCondLst>
                                  <p:iterate type="lt">
                                    <p:tmAbs val="25"/>
                                  </p:iterate>
                                  <p:childTnLst>
                                    <p:set>
                                      <p:cBhvr override="childStyle">
                                        <p:cTn id="19" dur="indefinite"/>
                                        <p:tgtEl>
                                          <p:spTgt spid="31">
                                            <p:txEl>
                                              <p:pRg st="2" end="2"/>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rtl="0" fontAlgn="base"/>
            <a:r>
              <a:rPr lang="de-DE" sz="3200" b="1" i="0" u="none" strike="noStrike" dirty="0">
                <a:solidFill>
                  <a:srgbClr val="000000"/>
                </a:solidFill>
                <a:effectLst/>
                <a:latin typeface="Calibri" panose="020F0502020204030204" pitchFamily="34" charset="0"/>
              </a:rPr>
              <a:t>Welche Maßnahme reduziert Sturzrisiken zusätzlich? </a:t>
            </a: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00668"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12</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908215"/>
          </a:xfrm>
          <a:prstGeom prst="rect">
            <a:avLst/>
          </a:prstGeom>
          <a:noFill/>
        </p:spPr>
        <p:txBody>
          <a:bodyPr wrap="square">
            <a:spAutoFit/>
          </a:bodyPr>
          <a:lstStyle/>
          <a:p>
            <a:pPr marL="457200" indent="-457200" algn="ctr">
              <a:buAutoNum type="alphaUcParenR"/>
            </a:pPr>
            <a:r>
              <a:rPr lang="de-DE" dirty="0"/>
              <a:t>Warnhinweise bei Nässe oder Reinigung </a:t>
            </a:r>
            <a:endParaRPr lang="de-DE" sz="2000" dirty="0">
              <a:solidFill>
                <a:srgbClr val="000000"/>
              </a:solidFill>
              <a:latin typeface="Calibri" panose="020F0502020204030204" pitchFamily="34" charset="0"/>
            </a:endParaRPr>
          </a:p>
          <a:p>
            <a:pPr algn="ctr"/>
            <a:br>
              <a:rPr lang="de-DE" sz="2000" dirty="0"/>
            </a:br>
            <a:r>
              <a:rPr lang="de-DE" sz="2000" b="0" i="0" u="none" strike="noStrike" dirty="0">
                <a:solidFill>
                  <a:srgbClr val="000000"/>
                </a:solidFill>
                <a:effectLst/>
                <a:latin typeface="-webkit-standard"/>
              </a:rPr>
              <a:t>B) </a:t>
            </a:r>
            <a:r>
              <a:rPr lang="de-DE" dirty="0"/>
              <a:t>Nur auf sichtbar stark frequentierten Treppen aufstellen</a:t>
            </a:r>
            <a:r>
              <a:rPr lang="de-DE" sz="2000" dirty="0">
                <a:solidFill>
                  <a:srgbClr val="000000"/>
                </a:solidFill>
                <a:latin typeface="Calibri" panose="020F0502020204030204" pitchFamily="34" charset="0"/>
              </a:rPr>
              <a:t> </a:t>
            </a:r>
          </a:p>
          <a:p>
            <a:pPr algn="ctr"/>
            <a:r>
              <a:rPr lang="de-DE" sz="2000" dirty="0">
                <a:solidFill>
                  <a:srgbClr val="000000"/>
                </a:solidFill>
                <a:latin typeface="-webkit-standard"/>
              </a:rPr>
              <a:t> </a:t>
            </a:r>
            <a:br>
              <a:rPr lang="de-DE" sz="2000" dirty="0"/>
            </a:br>
            <a:r>
              <a:rPr lang="de-DE" sz="2000" b="0" i="0" u="none" strike="noStrike" dirty="0">
                <a:solidFill>
                  <a:srgbClr val="000000"/>
                </a:solidFill>
                <a:effectLst/>
                <a:latin typeface="-webkit-standard"/>
              </a:rPr>
              <a:t>C) </a:t>
            </a:r>
            <a:r>
              <a:rPr lang="de-DE" dirty="0"/>
              <a:t>Treppen bei Arbeiten außerhalb der Hauptzeiten meiden</a:t>
            </a:r>
            <a:endParaRPr lang="de-DE" sz="2000" dirty="0">
              <a:solidFill>
                <a:srgbClr val="000000"/>
              </a:solidFill>
              <a:latin typeface="-webkit-standard"/>
            </a:endParaRPr>
          </a:p>
          <a:p>
            <a:pPr algn="ct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92147401"/>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500"/>
                                  </p:stCondLst>
                                  <p:iterate type="lt">
                                    <p:tmPct val="0"/>
                                  </p:iterate>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1000"/>
                            </p:stCondLst>
                            <p:childTnLst>
                              <p:par>
                                <p:cTn id="9" presetID="9" presetClass="entr" presetSubtype="0" fill="hold" nodeType="afterEffect">
                                  <p:stCondLst>
                                    <p:cond delay="500"/>
                                  </p:stCondLst>
                                  <p:iterate type="lt">
                                    <p:tmPct val="0"/>
                                  </p:iterate>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childTnLst>
                          </p:cTn>
                        </p:par>
                        <p:par>
                          <p:cTn id="12" fill="hold">
                            <p:stCondLst>
                              <p:cond delay="2000"/>
                            </p:stCondLst>
                            <p:childTnLst>
                              <p:par>
                                <p:cTn id="13" presetID="9" presetClass="entr" presetSubtype="0" fill="hold" nodeType="afterEffect">
                                  <p:stCondLst>
                                    <p:cond delay="500"/>
                                  </p:stCondLst>
                                  <p:iterate type="lt">
                                    <p:tmPct val="0"/>
                                  </p:iterate>
                                  <p:childTnLst>
                                    <p:set>
                                      <p:cBhvr>
                                        <p:cTn id="14" dur="1" fill="hold">
                                          <p:stCondLst>
                                            <p:cond delay="0"/>
                                          </p:stCondLst>
                                        </p:cTn>
                                        <p:tgtEl>
                                          <p:spTgt spid="31">
                                            <p:txEl>
                                              <p:pRg st="2" end="2"/>
                                            </p:txEl>
                                          </p:spTgt>
                                        </p:tgtEl>
                                        <p:attrNameLst>
                                          <p:attrName>style.visibility</p:attrName>
                                        </p:attrNameLst>
                                      </p:cBhvr>
                                      <p:to>
                                        <p:strVal val="visible"/>
                                      </p:to>
                                    </p:set>
                                    <p:animEffect transition="in" filter="dissolve">
                                      <p:cBhvr>
                                        <p:cTn id="15" dur="500"/>
                                        <p:tgtEl>
                                          <p:spTgt spid="3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5" presetClass="emph" presetSubtype="0" nodeType="clickEffect">
                                  <p:stCondLst>
                                    <p:cond delay="0"/>
                                  </p:stCondLst>
                                  <p:iterate type="lt">
                                    <p:tmAbs val="25"/>
                                  </p:iterate>
                                  <p:childTnLst>
                                    <p:set>
                                      <p:cBhvr override="childStyle">
                                        <p:cTn id="19" dur="indefinite"/>
                                        <p:tgtEl>
                                          <p:spTgt spid="31">
                                            <p:txEl>
                                              <p:pRg st="0" end="0"/>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621D57-AEC9-41F2-846B-84B6E1A2076E}"/>
              </a:ext>
            </a:extLst>
          </p:cNvPr>
          <p:cNvSpPr>
            <a:spLocks noGrp="1"/>
          </p:cNvSpPr>
          <p:nvPr>
            <p:ph type="ctrTitle" idx="4294967295"/>
          </p:nvPr>
        </p:nvSpPr>
        <p:spPr>
          <a:xfrm>
            <a:off x="1600200" y="643651"/>
            <a:ext cx="4867275" cy="396020"/>
          </a:xfrm>
        </p:spPr>
        <p:txBody>
          <a:bodyPr/>
          <a:lstStyle/>
          <a:p>
            <a:r>
              <a:rPr lang="en-US" dirty="0" err="1">
                <a:solidFill>
                  <a:srgbClr val="004D7A"/>
                </a:solidFill>
              </a:rPr>
              <a:t>Teilnehmerliste</a:t>
            </a:r>
            <a:endParaRPr lang="en-US" dirty="0">
              <a:solidFill>
                <a:srgbClr val="004D7A"/>
              </a:solidFill>
            </a:endParaRPr>
          </a:p>
        </p:txBody>
      </p:sp>
      <p:pic>
        <p:nvPicPr>
          <p:cNvPr id="4" name="Grafik 3">
            <a:extLst>
              <a:ext uri="{FF2B5EF4-FFF2-40B4-BE49-F238E27FC236}">
                <a16:creationId xmlns:a16="http://schemas.microsoft.com/office/drawing/2014/main" id="{F7F88150-FF77-4457-7FC6-3A1C78D07BC0}"/>
              </a:ext>
            </a:extLst>
          </p:cNvPr>
          <p:cNvPicPr>
            <a:picLocks noChangeAspect="1"/>
          </p:cNvPicPr>
          <p:nvPr/>
        </p:nvPicPr>
        <p:blipFill rotWithShape="1">
          <a:blip r:embed="rId2"/>
          <a:srcRect l="9767" t="41072" r="6866" b="12274"/>
          <a:stretch/>
        </p:blipFill>
        <p:spPr>
          <a:xfrm>
            <a:off x="156887" y="6374769"/>
            <a:ext cx="1515719" cy="422987"/>
          </a:xfrm>
          <a:prstGeom prst="rect">
            <a:avLst/>
          </a:prstGeom>
        </p:spPr>
      </p:pic>
      <p:sp>
        <p:nvSpPr>
          <p:cNvPr id="12" name="Rectangle 11">
            <a:extLst>
              <a:ext uri="{FF2B5EF4-FFF2-40B4-BE49-F238E27FC236}">
                <a16:creationId xmlns:a16="http://schemas.microsoft.com/office/drawing/2014/main" id="{36710CC6-5BEA-E82E-AA93-AB8C71DA2408}"/>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13" name="TextBox 13">
            <a:extLst>
              <a:ext uri="{FF2B5EF4-FFF2-40B4-BE49-F238E27FC236}">
                <a16:creationId xmlns:a16="http://schemas.microsoft.com/office/drawing/2014/main" id="{C26E0D0B-D3F2-ED36-49F5-D63E401D184B}"/>
              </a:ext>
            </a:extLst>
          </p:cNvPr>
          <p:cNvSpPr txBox="1"/>
          <p:nvPr/>
        </p:nvSpPr>
        <p:spPr>
          <a:xfrm>
            <a:off x="11538475"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13</a:t>
            </a:r>
          </a:p>
        </p:txBody>
      </p:sp>
      <p:sp>
        <p:nvSpPr>
          <p:cNvPr id="6" name="Title 2">
            <a:extLst>
              <a:ext uri="{FF2B5EF4-FFF2-40B4-BE49-F238E27FC236}">
                <a16:creationId xmlns:a16="http://schemas.microsoft.com/office/drawing/2014/main" id="{ADF13B82-A6F6-6070-3275-4568ACEE52FD}"/>
              </a:ext>
            </a:extLst>
          </p:cNvPr>
          <p:cNvSpPr txBox="1">
            <a:spLocks/>
          </p:cNvSpPr>
          <p:nvPr/>
        </p:nvSpPr>
        <p:spPr bwMode="gray">
          <a:xfrm>
            <a:off x="1600200" y="1043760"/>
            <a:ext cx="9670774" cy="396020"/>
          </a:xfrm>
          <a:prstGeom prst="rect">
            <a:avLst/>
          </a:prstGeom>
        </p:spPr>
        <p:txBody>
          <a:bodyPr vert="horz" lIns="0" tIns="0" rIns="0" bIns="0" rtlCol="0" anchor="t" anchorCtr="0">
            <a:noAutofit/>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2000" kern="0" dirty="0" err="1">
                <a:solidFill>
                  <a:srgbClr val="004D7A"/>
                </a:solidFill>
              </a:rPr>
              <a:t>Unterweisung</a:t>
            </a:r>
            <a:r>
              <a:rPr lang="en-US" sz="2000" kern="0" dirty="0">
                <a:solidFill>
                  <a:srgbClr val="004D7A"/>
                </a:solidFill>
              </a:rPr>
              <a:t> </a:t>
            </a:r>
            <a:r>
              <a:rPr lang="en-US" sz="2000" kern="0" dirty="0" err="1">
                <a:solidFill>
                  <a:srgbClr val="004D7A"/>
                </a:solidFill>
              </a:rPr>
              <a:t>zum</a:t>
            </a:r>
            <a:r>
              <a:rPr lang="en-US" sz="2000" kern="0" dirty="0">
                <a:solidFill>
                  <a:srgbClr val="004D7A"/>
                </a:solidFill>
              </a:rPr>
              <a:t> Thema _______________________ am ____________</a:t>
            </a:r>
          </a:p>
        </p:txBody>
      </p:sp>
      <p:graphicFrame>
        <p:nvGraphicFramePr>
          <p:cNvPr id="7" name="Tabelle 6">
            <a:extLst>
              <a:ext uri="{FF2B5EF4-FFF2-40B4-BE49-F238E27FC236}">
                <a16:creationId xmlns:a16="http://schemas.microsoft.com/office/drawing/2014/main" id="{6E9B489D-03E0-A947-E262-5777989DBAB1}"/>
              </a:ext>
            </a:extLst>
          </p:cNvPr>
          <p:cNvGraphicFramePr>
            <a:graphicFrameLocks noGrp="1"/>
          </p:cNvGraphicFramePr>
          <p:nvPr>
            <p:extLst>
              <p:ext uri="{D42A27DB-BD31-4B8C-83A1-F6EECF244321}">
                <p14:modId xmlns:p14="http://schemas.microsoft.com/office/powerpoint/2010/main" val="1964465227"/>
              </p:ext>
            </p:extLst>
          </p:nvPr>
        </p:nvGraphicFramePr>
        <p:xfrm>
          <a:off x="1600200" y="1789719"/>
          <a:ext cx="4867275" cy="3925592"/>
        </p:xfrm>
        <a:graphic>
          <a:graphicData uri="http://schemas.openxmlformats.org/drawingml/2006/table">
            <a:tbl>
              <a:tblPr firstRow="1" bandRow="1">
                <a:tableStyleId>{5C22544A-7EE6-4342-B048-85BDC9FD1C3A}</a:tableStyleId>
              </a:tblPr>
              <a:tblGrid>
                <a:gridCol w="2792896">
                  <a:extLst>
                    <a:ext uri="{9D8B030D-6E8A-4147-A177-3AD203B41FA5}">
                      <a16:colId xmlns:a16="http://schemas.microsoft.com/office/drawing/2014/main" val="1304164444"/>
                    </a:ext>
                  </a:extLst>
                </a:gridCol>
                <a:gridCol w="2074379">
                  <a:extLst>
                    <a:ext uri="{9D8B030D-6E8A-4147-A177-3AD203B41FA5}">
                      <a16:colId xmlns:a16="http://schemas.microsoft.com/office/drawing/2014/main" val="4093561421"/>
                    </a:ext>
                  </a:extLst>
                </a:gridCol>
              </a:tblGrid>
              <a:tr h="490699">
                <a:tc>
                  <a:txBody>
                    <a:bodyPr/>
                    <a:lstStyle/>
                    <a:p>
                      <a:r>
                        <a:rPr lang="de-DE" dirty="0"/>
                        <a:t>Teilnehmer</a:t>
                      </a:r>
                    </a:p>
                  </a:txBody>
                  <a:tcPr/>
                </a:tc>
                <a:tc>
                  <a:txBody>
                    <a:bodyPr/>
                    <a:lstStyle/>
                    <a:p>
                      <a:r>
                        <a:rPr lang="de-DE" dirty="0"/>
                        <a:t>Unterschrift</a:t>
                      </a:r>
                    </a:p>
                  </a:txBody>
                  <a:tcPr/>
                </a:tc>
                <a:extLst>
                  <a:ext uri="{0D108BD9-81ED-4DB2-BD59-A6C34878D82A}">
                    <a16:rowId xmlns:a16="http://schemas.microsoft.com/office/drawing/2014/main" val="4145035355"/>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1944058903"/>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3754842943"/>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3952004367"/>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1952470761"/>
                  </a:ext>
                </a:extLst>
              </a:tr>
              <a:tr h="490699">
                <a:tc>
                  <a:txBody>
                    <a:bodyPr/>
                    <a:lstStyle/>
                    <a:p>
                      <a:endParaRPr lang="de-DE"/>
                    </a:p>
                  </a:txBody>
                  <a:tcPr/>
                </a:tc>
                <a:tc>
                  <a:txBody>
                    <a:bodyPr/>
                    <a:lstStyle/>
                    <a:p>
                      <a:endParaRPr lang="de-DE" dirty="0"/>
                    </a:p>
                  </a:txBody>
                  <a:tcPr/>
                </a:tc>
                <a:extLst>
                  <a:ext uri="{0D108BD9-81ED-4DB2-BD59-A6C34878D82A}">
                    <a16:rowId xmlns:a16="http://schemas.microsoft.com/office/drawing/2014/main" val="2035710329"/>
                  </a:ext>
                </a:extLst>
              </a:tr>
              <a:tr h="490699">
                <a:tc>
                  <a:txBody>
                    <a:bodyPr/>
                    <a:lstStyle/>
                    <a:p>
                      <a:endParaRPr lang="de-DE" dirty="0"/>
                    </a:p>
                  </a:txBody>
                  <a:tcPr/>
                </a:tc>
                <a:tc>
                  <a:txBody>
                    <a:bodyPr/>
                    <a:lstStyle/>
                    <a:p>
                      <a:endParaRPr lang="de-DE" dirty="0"/>
                    </a:p>
                  </a:txBody>
                  <a:tcPr/>
                </a:tc>
                <a:extLst>
                  <a:ext uri="{0D108BD9-81ED-4DB2-BD59-A6C34878D82A}">
                    <a16:rowId xmlns:a16="http://schemas.microsoft.com/office/drawing/2014/main" val="58728872"/>
                  </a:ext>
                </a:extLst>
              </a:tr>
              <a:tr h="490699">
                <a:tc>
                  <a:txBody>
                    <a:bodyPr/>
                    <a:lstStyle/>
                    <a:p>
                      <a:endParaRPr lang="de-DE" dirty="0"/>
                    </a:p>
                  </a:txBody>
                  <a:tcPr/>
                </a:tc>
                <a:tc>
                  <a:txBody>
                    <a:bodyPr/>
                    <a:lstStyle/>
                    <a:p>
                      <a:endParaRPr lang="de-DE" dirty="0"/>
                    </a:p>
                  </a:txBody>
                  <a:tcPr/>
                </a:tc>
                <a:extLst>
                  <a:ext uri="{0D108BD9-81ED-4DB2-BD59-A6C34878D82A}">
                    <a16:rowId xmlns:a16="http://schemas.microsoft.com/office/drawing/2014/main" val="3457012064"/>
                  </a:ext>
                </a:extLst>
              </a:tr>
            </a:tbl>
          </a:graphicData>
        </a:graphic>
      </p:graphicFrame>
      <p:graphicFrame>
        <p:nvGraphicFramePr>
          <p:cNvPr id="8" name="Tabelle 7">
            <a:extLst>
              <a:ext uri="{FF2B5EF4-FFF2-40B4-BE49-F238E27FC236}">
                <a16:creationId xmlns:a16="http://schemas.microsoft.com/office/drawing/2014/main" id="{0662134C-13D9-7343-15B0-E31FA07C2D35}"/>
              </a:ext>
            </a:extLst>
          </p:cNvPr>
          <p:cNvGraphicFramePr>
            <a:graphicFrameLocks noGrp="1"/>
          </p:cNvGraphicFramePr>
          <p:nvPr>
            <p:extLst>
              <p:ext uri="{D42A27DB-BD31-4B8C-83A1-F6EECF244321}">
                <p14:modId xmlns:p14="http://schemas.microsoft.com/office/powerpoint/2010/main" val="2757817742"/>
              </p:ext>
            </p:extLst>
          </p:nvPr>
        </p:nvGraphicFramePr>
        <p:xfrm>
          <a:off x="6600825" y="1789719"/>
          <a:ext cx="4867275" cy="3925592"/>
        </p:xfrm>
        <a:graphic>
          <a:graphicData uri="http://schemas.openxmlformats.org/drawingml/2006/table">
            <a:tbl>
              <a:tblPr firstRow="1" bandRow="1">
                <a:tableStyleId>{5C22544A-7EE6-4342-B048-85BDC9FD1C3A}</a:tableStyleId>
              </a:tblPr>
              <a:tblGrid>
                <a:gridCol w="2662445">
                  <a:extLst>
                    <a:ext uri="{9D8B030D-6E8A-4147-A177-3AD203B41FA5}">
                      <a16:colId xmlns:a16="http://schemas.microsoft.com/office/drawing/2014/main" val="1304164444"/>
                    </a:ext>
                  </a:extLst>
                </a:gridCol>
                <a:gridCol w="2204830">
                  <a:extLst>
                    <a:ext uri="{9D8B030D-6E8A-4147-A177-3AD203B41FA5}">
                      <a16:colId xmlns:a16="http://schemas.microsoft.com/office/drawing/2014/main" val="4093561421"/>
                    </a:ext>
                  </a:extLst>
                </a:gridCol>
              </a:tblGrid>
              <a:tr h="490699">
                <a:tc>
                  <a:txBody>
                    <a:bodyPr/>
                    <a:lstStyle/>
                    <a:p>
                      <a:r>
                        <a:rPr lang="de-DE" dirty="0"/>
                        <a:t>Teilnehmer</a:t>
                      </a:r>
                    </a:p>
                  </a:txBody>
                  <a:tcPr/>
                </a:tc>
                <a:tc>
                  <a:txBody>
                    <a:bodyPr/>
                    <a:lstStyle/>
                    <a:p>
                      <a:r>
                        <a:rPr lang="de-DE" dirty="0"/>
                        <a:t>Unterschrift</a:t>
                      </a:r>
                    </a:p>
                  </a:txBody>
                  <a:tcPr/>
                </a:tc>
                <a:extLst>
                  <a:ext uri="{0D108BD9-81ED-4DB2-BD59-A6C34878D82A}">
                    <a16:rowId xmlns:a16="http://schemas.microsoft.com/office/drawing/2014/main" val="4145035355"/>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1944058903"/>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3754842943"/>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3952004367"/>
                  </a:ext>
                </a:extLst>
              </a:tr>
              <a:tr h="490699">
                <a:tc>
                  <a:txBody>
                    <a:bodyPr/>
                    <a:lstStyle/>
                    <a:p>
                      <a:endParaRPr lang="de-DE"/>
                    </a:p>
                  </a:txBody>
                  <a:tcPr/>
                </a:tc>
                <a:tc>
                  <a:txBody>
                    <a:bodyPr/>
                    <a:lstStyle/>
                    <a:p>
                      <a:endParaRPr lang="de-DE"/>
                    </a:p>
                  </a:txBody>
                  <a:tcPr/>
                </a:tc>
                <a:extLst>
                  <a:ext uri="{0D108BD9-81ED-4DB2-BD59-A6C34878D82A}">
                    <a16:rowId xmlns:a16="http://schemas.microsoft.com/office/drawing/2014/main" val="1952470761"/>
                  </a:ext>
                </a:extLst>
              </a:tr>
              <a:tr h="490699">
                <a:tc>
                  <a:txBody>
                    <a:bodyPr/>
                    <a:lstStyle/>
                    <a:p>
                      <a:endParaRPr lang="de-DE"/>
                    </a:p>
                  </a:txBody>
                  <a:tcPr/>
                </a:tc>
                <a:tc>
                  <a:txBody>
                    <a:bodyPr/>
                    <a:lstStyle/>
                    <a:p>
                      <a:endParaRPr lang="de-DE" dirty="0"/>
                    </a:p>
                  </a:txBody>
                  <a:tcPr/>
                </a:tc>
                <a:extLst>
                  <a:ext uri="{0D108BD9-81ED-4DB2-BD59-A6C34878D82A}">
                    <a16:rowId xmlns:a16="http://schemas.microsoft.com/office/drawing/2014/main" val="2035710329"/>
                  </a:ext>
                </a:extLst>
              </a:tr>
              <a:tr h="490699">
                <a:tc>
                  <a:txBody>
                    <a:bodyPr/>
                    <a:lstStyle/>
                    <a:p>
                      <a:endParaRPr lang="de-DE" dirty="0"/>
                    </a:p>
                  </a:txBody>
                  <a:tcPr/>
                </a:tc>
                <a:tc>
                  <a:txBody>
                    <a:bodyPr/>
                    <a:lstStyle/>
                    <a:p>
                      <a:endParaRPr lang="de-DE" dirty="0"/>
                    </a:p>
                  </a:txBody>
                  <a:tcPr/>
                </a:tc>
                <a:extLst>
                  <a:ext uri="{0D108BD9-81ED-4DB2-BD59-A6C34878D82A}">
                    <a16:rowId xmlns:a16="http://schemas.microsoft.com/office/drawing/2014/main" val="58728872"/>
                  </a:ext>
                </a:extLst>
              </a:tr>
              <a:tr h="490699">
                <a:tc>
                  <a:txBody>
                    <a:bodyPr/>
                    <a:lstStyle/>
                    <a:p>
                      <a:endParaRPr lang="de-DE" dirty="0"/>
                    </a:p>
                  </a:txBody>
                  <a:tcPr/>
                </a:tc>
                <a:tc>
                  <a:txBody>
                    <a:bodyPr/>
                    <a:lstStyle/>
                    <a:p>
                      <a:endParaRPr lang="de-DE" dirty="0"/>
                    </a:p>
                  </a:txBody>
                  <a:tcPr/>
                </a:tc>
                <a:extLst>
                  <a:ext uri="{0D108BD9-81ED-4DB2-BD59-A6C34878D82A}">
                    <a16:rowId xmlns:a16="http://schemas.microsoft.com/office/drawing/2014/main" val="494913406"/>
                  </a:ext>
                </a:extLst>
              </a:tr>
            </a:tbl>
          </a:graphicData>
        </a:graphic>
      </p:graphicFrame>
    </p:spTree>
    <p:extLst>
      <p:ext uri="{BB962C8B-B14F-4D97-AF65-F5344CB8AC3E}">
        <p14:creationId xmlns:p14="http://schemas.microsoft.com/office/powerpoint/2010/main" val="277225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D2EA0853-8378-4A8A-85BC-EDB3E8BD0A09}"/>
              </a:ext>
            </a:extLst>
          </p:cNvPr>
          <p:cNvSpPr/>
          <p:nvPr/>
        </p:nvSpPr>
        <p:spPr>
          <a:xfrm>
            <a:off x="852317" y="1414375"/>
            <a:ext cx="1576061" cy="1558193"/>
          </a:xfrm>
          <a:prstGeom prst="ellipse">
            <a:avLst/>
          </a:prstGeom>
          <a:noFill/>
          <a:ln w="88900">
            <a:solidFill>
              <a:srgbClr val="7FA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sz="3200" b="1" dirty="0">
                <a:solidFill>
                  <a:srgbClr val="7FA5BC"/>
                </a:solidFill>
                <a:latin typeface="Calibri" panose="020F0502020204030204" pitchFamily="34" charset="0"/>
                <a:cs typeface="Calibri" panose="020F0502020204030204" pitchFamily="34" charset="0"/>
              </a:rPr>
              <a:t>1/4</a:t>
            </a:r>
          </a:p>
        </p:txBody>
      </p:sp>
      <p:sp>
        <p:nvSpPr>
          <p:cNvPr id="10" name="Arc 9">
            <a:extLst>
              <a:ext uri="{FF2B5EF4-FFF2-40B4-BE49-F238E27FC236}">
                <a16:creationId xmlns:a16="http://schemas.microsoft.com/office/drawing/2014/main" id="{B7D2E091-4AA5-4199-9DEC-2CA0CEA3722B}"/>
              </a:ext>
            </a:extLst>
          </p:cNvPr>
          <p:cNvSpPr/>
          <p:nvPr/>
        </p:nvSpPr>
        <p:spPr>
          <a:xfrm>
            <a:off x="852317" y="1410010"/>
            <a:ext cx="1576061" cy="1558193"/>
          </a:xfrm>
          <a:prstGeom prst="arc">
            <a:avLst>
              <a:gd name="adj1" fmla="val 16200000"/>
              <a:gd name="adj2" fmla="val 273824"/>
            </a:avLst>
          </a:prstGeom>
          <a:ln w="88900" cap="rnd">
            <a:solidFill>
              <a:srgbClr val="1935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Box 15">
            <a:extLst>
              <a:ext uri="{FF2B5EF4-FFF2-40B4-BE49-F238E27FC236}">
                <a16:creationId xmlns:a16="http://schemas.microsoft.com/office/drawing/2014/main" id="{B513B73E-0D6E-449E-AA01-791499968F4B}"/>
              </a:ext>
            </a:extLst>
          </p:cNvPr>
          <p:cNvSpPr txBox="1"/>
          <p:nvPr/>
        </p:nvSpPr>
        <p:spPr>
          <a:xfrm>
            <a:off x="2688601" y="1404446"/>
            <a:ext cx="5524945" cy="1231106"/>
          </a:xfrm>
          <a:prstGeom prst="rect">
            <a:avLst/>
          </a:prstGeom>
          <a:noFill/>
        </p:spPr>
        <p:txBody>
          <a:bodyPr wrap="square" lIns="0" tIns="0" rIns="0" bIns="0" rtlCol="0">
            <a:spAutoFit/>
          </a:bodyPr>
          <a:lstStyle/>
          <a:p>
            <a:pPr fontAlgn="base"/>
            <a:r>
              <a:rPr lang="de-DE" sz="2000" dirty="0">
                <a:solidFill>
                  <a:srgbClr val="000000"/>
                </a:solidFill>
                <a:latin typeface="Calibri" panose="020F0502020204030204" pitchFamily="34" charset="0"/>
              </a:rPr>
              <a:t>25 % aller innerbetrieblichen Sturzunfälle passieren auf Treppen. Rutschige Oberflächen oder fehlende Handläufe erhöhen das Risiko erheblich. </a:t>
            </a:r>
          </a:p>
          <a:p>
            <a:pPr fontAlgn="base"/>
            <a:endParaRPr lang="de-DE" sz="2000" dirty="0">
              <a:solidFill>
                <a:srgbClr val="000000"/>
              </a:solidFill>
              <a:latin typeface="Calibri" panose="020F0502020204030204" pitchFamily="34" charset="0"/>
            </a:endParaRPr>
          </a:p>
        </p:txBody>
      </p:sp>
      <p:sp>
        <p:nvSpPr>
          <p:cNvPr id="17" name="TextBox 16">
            <a:extLst>
              <a:ext uri="{FF2B5EF4-FFF2-40B4-BE49-F238E27FC236}">
                <a16:creationId xmlns:a16="http://schemas.microsoft.com/office/drawing/2014/main" id="{2D03A7BC-42AD-478A-AAAB-7213346EABF0}"/>
              </a:ext>
            </a:extLst>
          </p:cNvPr>
          <p:cNvSpPr txBox="1"/>
          <p:nvPr/>
        </p:nvSpPr>
        <p:spPr>
          <a:xfrm>
            <a:off x="2688601" y="3828902"/>
            <a:ext cx="5524945" cy="615553"/>
          </a:xfrm>
          <a:prstGeom prst="rect">
            <a:avLst/>
          </a:prstGeom>
          <a:noFill/>
        </p:spPr>
        <p:txBody>
          <a:bodyPr wrap="square" lIns="0" tIns="0" rIns="0" bIns="0" rtlCol="0">
            <a:spAutoFit/>
          </a:bodyPr>
          <a:lstStyle/>
          <a:p>
            <a:pPr fontAlgn="base"/>
            <a:r>
              <a:rPr lang="de-DE" sz="2000" dirty="0">
                <a:solidFill>
                  <a:srgbClr val="000000"/>
                </a:solidFill>
                <a:latin typeface="Calibri" panose="020F0502020204030204" pitchFamily="34" charset="0"/>
              </a:rPr>
              <a:t>Im Durchschnitt führen Sturzunfälle zu 7–10 Tagen Arbeitsausfall. </a:t>
            </a:r>
          </a:p>
        </p:txBody>
      </p:sp>
      <p:sp>
        <p:nvSpPr>
          <p:cNvPr id="4" name="Title 2">
            <a:extLst>
              <a:ext uri="{FF2B5EF4-FFF2-40B4-BE49-F238E27FC236}">
                <a16:creationId xmlns:a16="http://schemas.microsoft.com/office/drawing/2014/main" id="{4BF23644-6EFC-0078-F626-4DB3CFEB5BC2}"/>
              </a:ext>
            </a:extLst>
          </p:cNvPr>
          <p:cNvSpPr txBox="1">
            <a:spLocks/>
          </p:cNvSpPr>
          <p:nvPr/>
        </p:nvSpPr>
        <p:spPr bwMode="gray">
          <a:xfrm>
            <a:off x="1600200" y="651796"/>
            <a:ext cx="5821017" cy="1009651"/>
          </a:xfrm>
          <a:prstGeom prst="rect">
            <a:avLst/>
          </a:prstGeom>
        </p:spPr>
        <p:txBody>
          <a:bodyPr vert="horz" lIns="0" tIns="0" rIns="0" bIns="0" rtlCol="0" anchor="t" anchorCtr="0">
            <a:noAutofit/>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a:solidFill>
                  <a:srgbClr val="004D7A"/>
                </a:solidFill>
              </a:rPr>
              <a:t>Wussten Sie schon?</a:t>
            </a:r>
            <a:endParaRPr lang="en-US" sz="4400" kern="0" dirty="0">
              <a:solidFill>
                <a:srgbClr val="004D7A"/>
              </a:solidFill>
            </a:endParaRPr>
          </a:p>
        </p:txBody>
      </p:sp>
      <p:pic>
        <p:nvPicPr>
          <p:cNvPr id="5" name="Bildplatzhalter 7">
            <a:extLst>
              <a:ext uri="{FF2B5EF4-FFF2-40B4-BE49-F238E27FC236}">
                <a16:creationId xmlns:a16="http://schemas.microsoft.com/office/drawing/2014/main" id="{57842403-3ACC-87F4-3926-4D4BAE34939A}"/>
              </a:ext>
            </a:extLst>
          </p:cNvPr>
          <p:cNvPicPr>
            <a:picLocks noChangeAspect="1"/>
          </p:cNvPicPr>
          <p:nvPr/>
        </p:nvPicPr>
        <p:blipFill>
          <a:blip r:embed="rId3"/>
          <a:srcRect l="9635" r="9635"/>
          <a:stretch/>
        </p:blipFill>
        <p:spPr>
          <a:xfrm>
            <a:off x="8510092" y="-26506"/>
            <a:ext cx="3705225" cy="6884506"/>
          </a:xfrm>
          <a:prstGeom prst="rect">
            <a:avLst/>
          </a:prstGeom>
        </p:spPr>
      </p:pic>
      <p:sp>
        <p:nvSpPr>
          <p:cNvPr id="21" name="Rectangle 11">
            <a:extLst>
              <a:ext uri="{FF2B5EF4-FFF2-40B4-BE49-F238E27FC236}">
                <a16:creationId xmlns:a16="http://schemas.microsoft.com/office/drawing/2014/main" id="{685856AE-AC61-CE16-97FB-BC495506C29C}"/>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2" name="TextBox 13">
            <a:extLst>
              <a:ext uri="{FF2B5EF4-FFF2-40B4-BE49-F238E27FC236}">
                <a16:creationId xmlns:a16="http://schemas.microsoft.com/office/drawing/2014/main" id="{480D3ADC-87E0-8D2D-4458-E0BF1B34BCE1}"/>
              </a:ext>
            </a:extLst>
          </p:cNvPr>
          <p:cNvSpPr txBox="1"/>
          <p:nvPr/>
        </p:nvSpPr>
        <p:spPr>
          <a:xfrm>
            <a:off x="11518597"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2</a:t>
            </a:r>
          </a:p>
        </p:txBody>
      </p:sp>
      <p:sp>
        <p:nvSpPr>
          <p:cNvPr id="23" name="Oval 22">
            <a:extLst>
              <a:ext uri="{FF2B5EF4-FFF2-40B4-BE49-F238E27FC236}">
                <a16:creationId xmlns:a16="http://schemas.microsoft.com/office/drawing/2014/main" id="{389BFC34-D894-FC89-F712-7BAA4137092B}"/>
              </a:ext>
            </a:extLst>
          </p:cNvPr>
          <p:cNvSpPr/>
          <p:nvPr/>
        </p:nvSpPr>
        <p:spPr>
          <a:xfrm>
            <a:off x="852317" y="3828902"/>
            <a:ext cx="1576061" cy="1558193"/>
          </a:xfrm>
          <a:prstGeom prst="ellipse">
            <a:avLst/>
          </a:prstGeom>
          <a:noFill/>
          <a:ln w="88900">
            <a:solidFill>
              <a:srgbClr val="7FA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sz="3200" b="1" dirty="0">
                <a:solidFill>
                  <a:srgbClr val="7FA5BC"/>
                </a:solidFill>
                <a:latin typeface="Calibri" panose="020F0502020204030204" pitchFamily="34" charset="0"/>
                <a:cs typeface="Calibri" panose="020F0502020204030204" pitchFamily="34" charset="0"/>
              </a:rPr>
              <a:t>7-10</a:t>
            </a:r>
          </a:p>
        </p:txBody>
      </p:sp>
      <p:sp>
        <p:nvSpPr>
          <p:cNvPr id="24" name="Arc 9">
            <a:extLst>
              <a:ext uri="{FF2B5EF4-FFF2-40B4-BE49-F238E27FC236}">
                <a16:creationId xmlns:a16="http://schemas.microsoft.com/office/drawing/2014/main" id="{D59C3AF0-C5AA-94C4-C90F-49CE767D5982}"/>
              </a:ext>
            </a:extLst>
          </p:cNvPr>
          <p:cNvSpPr/>
          <p:nvPr/>
        </p:nvSpPr>
        <p:spPr>
          <a:xfrm>
            <a:off x="852317" y="3828902"/>
            <a:ext cx="1576061" cy="1558193"/>
          </a:xfrm>
          <a:prstGeom prst="arc">
            <a:avLst>
              <a:gd name="adj1" fmla="val 16200000"/>
              <a:gd name="adj2" fmla="val 15569781"/>
            </a:avLst>
          </a:prstGeom>
          <a:ln w="88900" cap="rnd">
            <a:solidFill>
              <a:srgbClr val="1935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101102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14:presetBounceEnd="55000">
                                      <p:stCondLst>
                                        <p:cond delay="300"/>
                                      </p:stCondLst>
                                      <p:childTnLst>
                                        <p:set>
                                          <p:cBhvr>
                                            <p:cTn id="6" dur="1" fill="hold">
                                              <p:stCondLst>
                                                <p:cond delay="0"/>
                                              </p:stCondLst>
                                            </p:cTn>
                                            <p:tgtEl>
                                              <p:spTgt spid="6"/>
                                            </p:tgtEl>
                                            <p:attrNameLst>
                                              <p:attrName>style.visibility</p:attrName>
                                            </p:attrNameLst>
                                          </p:cBhvr>
                                          <p:to>
                                            <p:strVal val="visible"/>
                                          </p:to>
                                        </p:set>
                                        <p:anim calcmode="lin" valueType="num" p14:bounceEnd="55000">
                                          <p:cBhvr additive="base">
                                            <p:cTn id="7" dur="1500" fill="hold"/>
                                            <p:tgtEl>
                                              <p:spTgt spid="6"/>
                                            </p:tgtEl>
                                            <p:attrNameLst>
                                              <p:attrName>ppt_x</p:attrName>
                                            </p:attrNameLst>
                                          </p:cBhvr>
                                          <p:tavLst>
                                            <p:tav tm="0">
                                              <p:val>
                                                <p:strVal val="#ppt_x"/>
                                              </p:val>
                                            </p:tav>
                                            <p:tav tm="100000">
                                              <p:val>
                                                <p:strVal val="#ppt_x"/>
                                              </p:val>
                                            </p:tav>
                                          </p:tavLst>
                                        </p:anim>
                                        <p:anim calcmode="lin" valueType="num" p14:bounceEnd="55000">
                                          <p:cBhvr additive="base">
                                            <p:cTn id="8" dur="1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55000">
                                      <p:stCondLst>
                                        <p:cond delay="300"/>
                                      </p:stCondLst>
                                      <p:childTnLst>
                                        <p:set>
                                          <p:cBhvr>
                                            <p:cTn id="10" dur="1" fill="hold">
                                              <p:stCondLst>
                                                <p:cond delay="0"/>
                                              </p:stCondLst>
                                            </p:cTn>
                                            <p:tgtEl>
                                              <p:spTgt spid="10"/>
                                            </p:tgtEl>
                                            <p:attrNameLst>
                                              <p:attrName>style.visibility</p:attrName>
                                            </p:attrNameLst>
                                          </p:cBhvr>
                                          <p:to>
                                            <p:strVal val="visible"/>
                                          </p:to>
                                        </p:set>
                                        <p:anim calcmode="lin" valueType="num" p14:bounceEnd="55000">
                                          <p:cBhvr additive="base">
                                            <p:cTn id="11" dur="1500" fill="hold"/>
                                            <p:tgtEl>
                                              <p:spTgt spid="10"/>
                                            </p:tgtEl>
                                            <p:attrNameLst>
                                              <p:attrName>ppt_x</p:attrName>
                                            </p:attrNameLst>
                                          </p:cBhvr>
                                          <p:tavLst>
                                            <p:tav tm="0">
                                              <p:val>
                                                <p:strVal val="#ppt_x"/>
                                              </p:val>
                                            </p:tav>
                                            <p:tav tm="100000">
                                              <p:val>
                                                <p:strVal val="#ppt_x"/>
                                              </p:val>
                                            </p:tav>
                                          </p:tavLst>
                                        </p:anim>
                                        <p:anim calcmode="lin" valueType="num" p14:bounceEnd="55000">
                                          <p:cBhvr additive="base">
                                            <p:cTn id="12" dur="1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5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8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ppt_x"/>
                                              </p:val>
                                            </p:tav>
                                            <p:tav tm="100000">
                                              <p:val>
                                                <p:strVal val="#ppt_x"/>
                                              </p:val>
                                            </p:tav>
                                          </p:tavLst>
                                        </p:anim>
                                        <p:anim calcmode="lin" valueType="num">
                                          <p:cBhvr additive="base">
                                            <p:cTn id="20" dur="75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14:presetBounceEnd="55000">
                                      <p:stCondLst>
                                        <p:cond delay="300"/>
                                      </p:stCondLst>
                                      <p:childTnLst>
                                        <p:set>
                                          <p:cBhvr>
                                            <p:cTn id="22" dur="1" fill="hold">
                                              <p:stCondLst>
                                                <p:cond delay="0"/>
                                              </p:stCondLst>
                                            </p:cTn>
                                            <p:tgtEl>
                                              <p:spTgt spid="23"/>
                                            </p:tgtEl>
                                            <p:attrNameLst>
                                              <p:attrName>style.visibility</p:attrName>
                                            </p:attrNameLst>
                                          </p:cBhvr>
                                          <p:to>
                                            <p:strVal val="visible"/>
                                          </p:to>
                                        </p:set>
                                        <p:anim calcmode="lin" valueType="num" p14:bounceEnd="55000">
                                          <p:cBhvr additive="base">
                                            <p:cTn id="23" dur="1500" fill="hold"/>
                                            <p:tgtEl>
                                              <p:spTgt spid="23"/>
                                            </p:tgtEl>
                                            <p:attrNameLst>
                                              <p:attrName>ppt_x</p:attrName>
                                            </p:attrNameLst>
                                          </p:cBhvr>
                                          <p:tavLst>
                                            <p:tav tm="0">
                                              <p:val>
                                                <p:strVal val="#ppt_x"/>
                                              </p:val>
                                            </p:tav>
                                            <p:tav tm="100000">
                                              <p:val>
                                                <p:strVal val="#ppt_x"/>
                                              </p:val>
                                            </p:tav>
                                          </p:tavLst>
                                        </p:anim>
                                        <p:anim calcmode="lin" valueType="num" p14:bounceEnd="55000">
                                          <p:cBhvr additive="base">
                                            <p:cTn id="24" dur="1500" fill="hold"/>
                                            <p:tgtEl>
                                              <p:spTgt spid="2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14:presetBounceEnd="55000">
                                      <p:stCondLst>
                                        <p:cond delay="300"/>
                                      </p:stCondLst>
                                      <p:childTnLst>
                                        <p:set>
                                          <p:cBhvr>
                                            <p:cTn id="26" dur="1" fill="hold">
                                              <p:stCondLst>
                                                <p:cond delay="0"/>
                                              </p:stCondLst>
                                            </p:cTn>
                                            <p:tgtEl>
                                              <p:spTgt spid="24"/>
                                            </p:tgtEl>
                                            <p:attrNameLst>
                                              <p:attrName>style.visibility</p:attrName>
                                            </p:attrNameLst>
                                          </p:cBhvr>
                                          <p:to>
                                            <p:strVal val="visible"/>
                                          </p:to>
                                        </p:set>
                                        <p:anim calcmode="lin" valueType="num" p14:bounceEnd="55000">
                                          <p:cBhvr additive="base">
                                            <p:cTn id="27" dur="1500" fill="hold"/>
                                            <p:tgtEl>
                                              <p:spTgt spid="24"/>
                                            </p:tgtEl>
                                            <p:attrNameLst>
                                              <p:attrName>ppt_x</p:attrName>
                                            </p:attrNameLst>
                                          </p:cBhvr>
                                          <p:tavLst>
                                            <p:tav tm="0">
                                              <p:val>
                                                <p:strVal val="#ppt_x"/>
                                              </p:val>
                                            </p:tav>
                                            <p:tav tm="100000">
                                              <p:val>
                                                <p:strVal val="#ppt_x"/>
                                              </p:val>
                                            </p:tav>
                                          </p:tavLst>
                                        </p:anim>
                                        <p:anim calcmode="lin" valueType="num" p14:bounceEnd="55000">
                                          <p:cBhvr additive="base">
                                            <p:cTn id="28" dur="1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6" grpId="0"/>
          <p:bldP spid="17" grpId="0"/>
          <p:bldP spid="23" grpId="0" animBg="1"/>
          <p:bldP spid="24"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3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3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500" fill="hold"/>
                                            <p:tgtEl>
                                              <p:spTgt spid="10"/>
                                            </p:tgtEl>
                                            <p:attrNameLst>
                                              <p:attrName>ppt_x</p:attrName>
                                            </p:attrNameLst>
                                          </p:cBhvr>
                                          <p:tavLst>
                                            <p:tav tm="0">
                                              <p:val>
                                                <p:strVal val="#ppt_x"/>
                                              </p:val>
                                            </p:tav>
                                            <p:tav tm="100000">
                                              <p:val>
                                                <p:strVal val="#ppt_x"/>
                                              </p:val>
                                            </p:tav>
                                          </p:tavLst>
                                        </p:anim>
                                        <p:anim calcmode="lin" valueType="num">
                                          <p:cBhvr additive="base">
                                            <p:cTn id="12" dur="1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5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8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ppt_x"/>
                                              </p:val>
                                            </p:tav>
                                            <p:tav tm="100000">
                                              <p:val>
                                                <p:strVal val="#ppt_x"/>
                                              </p:val>
                                            </p:tav>
                                          </p:tavLst>
                                        </p:anim>
                                        <p:anim calcmode="lin" valueType="num">
                                          <p:cBhvr additive="base">
                                            <p:cTn id="20" dur="75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30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1500" fill="hold"/>
                                            <p:tgtEl>
                                              <p:spTgt spid="23"/>
                                            </p:tgtEl>
                                            <p:attrNameLst>
                                              <p:attrName>ppt_x</p:attrName>
                                            </p:attrNameLst>
                                          </p:cBhvr>
                                          <p:tavLst>
                                            <p:tav tm="0">
                                              <p:val>
                                                <p:strVal val="#ppt_x"/>
                                              </p:val>
                                            </p:tav>
                                            <p:tav tm="100000">
                                              <p:val>
                                                <p:strVal val="#ppt_x"/>
                                              </p:val>
                                            </p:tav>
                                          </p:tavLst>
                                        </p:anim>
                                        <p:anim calcmode="lin" valueType="num">
                                          <p:cBhvr additive="base">
                                            <p:cTn id="24" dur="1500" fill="hold"/>
                                            <p:tgtEl>
                                              <p:spTgt spid="2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30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1500" fill="hold"/>
                                            <p:tgtEl>
                                              <p:spTgt spid="24"/>
                                            </p:tgtEl>
                                            <p:attrNameLst>
                                              <p:attrName>ppt_x</p:attrName>
                                            </p:attrNameLst>
                                          </p:cBhvr>
                                          <p:tavLst>
                                            <p:tav tm="0">
                                              <p:val>
                                                <p:strVal val="#ppt_x"/>
                                              </p:val>
                                            </p:tav>
                                            <p:tav tm="100000">
                                              <p:val>
                                                <p:strVal val="#ppt_x"/>
                                              </p:val>
                                            </p:tav>
                                          </p:tavLst>
                                        </p:anim>
                                        <p:anim calcmode="lin" valueType="num">
                                          <p:cBhvr additive="base">
                                            <p:cTn id="28" dur="1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6" grpId="0"/>
          <p:bldP spid="17" grpId="0"/>
          <p:bldP spid="23" grpId="0" animBg="1"/>
          <p:bldP spid="24" grpId="0" animBg="1"/>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2FE9A36E-0CEF-4D36-90D0-7EBD902F82CB}"/>
              </a:ext>
            </a:extLst>
          </p:cNvPr>
          <p:cNvSpPr/>
          <p:nvPr/>
        </p:nvSpPr>
        <p:spPr>
          <a:xfrm>
            <a:off x="1719665" y="2479149"/>
            <a:ext cx="2057963" cy="2057963"/>
          </a:xfrm>
          <a:prstGeom prst="ellipse">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9" name="Oval 8">
            <a:extLst>
              <a:ext uri="{FF2B5EF4-FFF2-40B4-BE49-F238E27FC236}">
                <a16:creationId xmlns:a16="http://schemas.microsoft.com/office/drawing/2014/main" id="{B5E59658-098F-446F-BC22-89350C921D83}"/>
              </a:ext>
            </a:extLst>
          </p:cNvPr>
          <p:cNvSpPr/>
          <p:nvPr/>
        </p:nvSpPr>
        <p:spPr>
          <a:xfrm>
            <a:off x="3504811" y="2479149"/>
            <a:ext cx="2057963" cy="2057963"/>
          </a:xfrm>
          <a:prstGeom prst="ellipse">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14" name="TextBox 13">
            <a:extLst>
              <a:ext uri="{FF2B5EF4-FFF2-40B4-BE49-F238E27FC236}">
                <a16:creationId xmlns:a16="http://schemas.microsoft.com/office/drawing/2014/main" id="{6378E04D-0B63-412D-9E6A-72AF9B1B23B2}"/>
              </a:ext>
            </a:extLst>
          </p:cNvPr>
          <p:cNvSpPr txBox="1"/>
          <p:nvPr/>
        </p:nvSpPr>
        <p:spPr>
          <a:xfrm>
            <a:off x="5435223" y="4830525"/>
            <a:ext cx="1930412" cy="923330"/>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Ungleichmäßige oder defekte Stufen </a:t>
            </a:r>
          </a:p>
        </p:txBody>
      </p:sp>
      <p:sp>
        <p:nvSpPr>
          <p:cNvPr id="15" name="Oval 14">
            <a:extLst>
              <a:ext uri="{FF2B5EF4-FFF2-40B4-BE49-F238E27FC236}">
                <a16:creationId xmlns:a16="http://schemas.microsoft.com/office/drawing/2014/main" id="{797859C6-3885-4513-B684-B597C08E2E5A}"/>
              </a:ext>
            </a:extLst>
          </p:cNvPr>
          <p:cNvSpPr/>
          <p:nvPr/>
        </p:nvSpPr>
        <p:spPr>
          <a:xfrm>
            <a:off x="7075104" y="2479149"/>
            <a:ext cx="2057963" cy="2057963"/>
          </a:xfrm>
          <a:prstGeom prst="ellipse">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16" name="Oval 15">
            <a:extLst>
              <a:ext uri="{FF2B5EF4-FFF2-40B4-BE49-F238E27FC236}">
                <a16:creationId xmlns:a16="http://schemas.microsoft.com/office/drawing/2014/main" id="{FB76AA24-1F7D-4FB3-A983-D8B5DEF245CF}"/>
              </a:ext>
            </a:extLst>
          </p:cNvPr>
          <p:cNvSpPr/>
          <p:nvPr/>
        </p:nvSpPr>
        <p:spPr>
          <a:xfrm>
            <a:off x="8860251" y="2479149"/>
            <a:ext cx="2057963" cy="2057963"/>
          </a:xfrm>
          <a:prstGeom prst="ellipse">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17" name="Oval 16">
            <a:extLst>
              <a:ext uri="{FF2B5EF4-FFF2-40B4-BE49-F238E27FC236}">
                <a16:creationId xmlns:a16="http://schemas.microsoft.com/office/drawing/2014/main" id="{F627CC63-DFC7-405B-8F32-3243A98BD9AC}"/>
              </a:ext>
            </a:extLst>
          </p:cNvPr>
          <p:cNvSpPr/>
          <p:nvPr/>
        </p:nvSpPr>
        <p:spPr>
          <a:xfrm>
            <a:off x="5289957" y="2479149"/>
            <a:ext cx="2057963" cy="2057963"/>
          </a:xfrm>
          <a:prstGeom prst="ellipse">
            <a:avLst/>
          </a:prstGeom>
          <a:solidFill>
            <a:srgbClr val="004D7A"/>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30000"/>
              </a:lnSpc>
              <a:spcBef>
                <a:spcPts val="1000"/>
              </a:spcBef>
            </a:pPr>
            <a:endParaRPr lang="en-US" sz="1300">
              <a:solidFill>
                <a:schemeClr val="tx1">
                  <a:alpha val="70000"/>
                </a:schemeClr>
              </a:solidFill>
            </a:endParaRPr>
          </a:p>
        </p:txBody>
      </p:sp>
      <p:sp>
        <p:nvSpPr>
          <p:cNvPr id="18" name="TextBox 17">
            <a:extLst>
              <a:ext uri="{FF2B5EF4-FFF2-40B4-BE49-F238E27FC236}">
                <a16:creationId xmlns:a16="http://schemas.microsoft.com/office/drawing/2014/main" id="{35B4ABA5-D3E9-4E9B-817A-E13103510FAC}"/>
              </a:ext>
            </a:extLst>
          </p:cNvPr>
          <p:cNvSpPr txBox="1"/>
          <p:nvPr/>
        </p:nvSpPr>
        <p:spPr>
          <a:xfrm>
            <a:off x="1645123" y="4843719"/>
            <a:ext cx="1859688" cy="923330"/>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Nasse oder verschmutzte Stufen </a:t>
            </a:r>
          </a:p>
        </p:txBody>
      </p:sp>
      <p:sp>
        <p:nvSpPr>
          <p:cNvPr id="19" name="TextBox 18">
            <a:extLst>
              <a:ext uri="{FF2B5EF4-FFF2-40B4-BE49-F238E27FC236}">
                <a16:creationId xmlns:a16="http://schemas.microsoft.com/office/drawing/2014/main" id="{BEA37947-065A-462E-A4BD-4C8D5EBF626C}"/>
              </a:ext>
            </a:extLst>
          </p:cNvPr>
          <p:cNvSpPr txBox="1"/>
          <p:nvPr/>
        </p:nvSpPr>
        <p:spPr>
          <a:xfrm>
            <a:off x="3430269" y="4830525"/>
            <a:ext cx="1859688" cy="615553"/>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Fehlende oder lose Handläufe </a:t>
            </a:r>
          </a:p>
        </p:txBody>
      </p:sp>
      <p:sp>
        <p:nvSpPr>
          <p:cNvPr id="20" name="TextBox 19">
            <a:extLst>
              <a:ext uri="{FF2B5EF4-FFF2-40B4-BE49-F238E27FC236}">
                <a16:creationId xmlns:a16="http://schemas.microsoft.com/office/drawing/2014/main" id="{A1B08303-D751-4D1B-9844-CB5EBB8EBB58}"/>
              </a:ext>
            </a:extLst>
          </p:cNvPr>
          <p:cNvSpPr txBox="1"/>
          <p:nvPr/>
        </p:nvSpPr>
        <p:spPr>
          <a:xfrm>
            <a:off x="7365635" y="4843719"/>
            <a:ext cx="1859688" cy="923330"/>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Gegenstände auf Treppen oder Rampen </a:t>
            </a:r>
          </a:p>
        </p:txBody>
      </p:sp>
      <p:sp>
        <p:nvSpPr>
          <p:cNvPr id="21" name="TextBox 20">
            <a:extLst>
              <a:ext uri="{FF2B5EF4-FFF2-40B4-BE49-F238E27FC236}">
                <a16:creationId xmlns:a16="http://schemas.microsoft.com/office/drawing/2014/main" id="{4016CA04-06BC-4ACC-BD5C-66376C879436}"/>
              </a:ext>
            </a:extLst>
          </p:cNvPr>
          <p:cNvSpPr txBox="1"/>
          <p:nvPr/>
        </p:nvSpPr>
        <p:spPr>
          <a:xfrm>
            <a:off x="9133067" y="4830525"/>
            <a:ext cx="2057962" cy="615553"/>
          </a:xfrm>
          <a:prstGeom prst="rect">
            <a:avLst/>
          </a:prstGeom>
          <a:noFill/>
        </p:spPr>
        <p:txBody>
          <a:bodyPr wrap="square" lIns="0" tIns="0" rIns="0" bIns="0" rtlCol="0">
            <a:spAutoFit/>
          </a:bodyPr>
          <a:lstStyle/>
          <a:p>
            <a:pPr algn="ctr" fontAlgn="base"/>
            <a:r>
              <a:rPr lang="de-DE" sz="2000" b="1" dirty="0">
                <a:latin typeface="Calibri" panose="020F0502020204030204" pitchFamily="34" charset="0"/>
                <a:cs typeface="Calibri" panose="020F0502020204030204" pitchFamily="34" charset="0"/>
              </a:rPr>
              <a:t>Unzureichende Beleuchtung </a:t>
            </a:r>
          </a:p>
        </p:txBody>
      </p:sp>
      <p:sp>
        <p:nvSpPr>
          <p:cNvPr id="4" name="Rectangle 11">
            <a:extLst>
              <a:ext uri="{FF2B5EF4-FFF2-40B4-BE49-F238E27FC236}">
                <a16:creationId xmlns:a16="http://schemas.microsoft.com/office/drawing/2014/main" id="{D1FEC94C-49D9-9021-5501-51A6E5F295FD}"/>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5" name="TextBox 13">
            <a:extLst>
              <a:ext uri="{FF2B5EF4-FFF2-40B4-BE49-F238E27FC236}">
                <a16:creationId xmlns:a16="http://schemas.microsoft.com/office/drawing/2014/main" id="{E56E21F1-9AB9-AEE9-9172-CAC8468C676B}"/>
              </a:ext>
            </a:extLst>
          </p:cNvPr>
          <p:cNvSpPr txBox="1"/>
          <p:nvPr/>
        </p:nvSpPr>
        <p:spPr>
          <a:xfrm>
            <a:off x="11518597"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3</a:t>
            </a:r>
          </a:p>
        </p:txBody>
      </p:sp>
      <p:sp>
        <p:nvSpPr>
          <p:cNvPr id="6" name="Title 2">
            <a:extLst>
              <a:ext uri="{FF2B5EF4-FFF2-40B4-BE49-F238E27FC236}">
                <a16:creationId xmlns:a16="http://schemas.microsoft.com/office/drawing/2014/main" id="{6F7BCAAF-496A-F4D0-9EF4-805F4E331263}"/>
              </a:ext>
            </a:extLst>
          </p:cNvPr>
          <p:cNvSpPr txBox="1">
            <a:spLocks/>
          </p:cNvSpPr>
          <p:nvPr/>
        </p:nvSpPr>
        <p:spPr bwMode="gray">
          <a:xfrm>
            <a:off x="1600200" y="643650"/>
            <a:ext cx="9517504" cy="1009651"/>
          </a:xfrm>
          <a:prstGeom prst="rect">
            <a:avLst/>
          </a:prstGeom>
        </p:spPr>
        <p:txBody>
          <a:bodyPr vert="horz" lIns="0" tIns="0" rIns="0" bIns="0" rtlCol="0" anchor="t" anchorCtr="0">
            <a:noAutofit/>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a:solidFill>
                  <a:srgbClr val="004D7A"/>
                </a:solidFill>
              </a:rPr>
              <a:t>Typische Gefahrenquellen</a:t>
            </a:r>
            <a:endParaRPr lang="en-US" sz="4400" kern="0" dirty="0">
              <a:solidFill>
                <a:srgbClr val="004D7A"/>
              </a:solidFill>
            </a:endParaRPr>
          </a:p>
        </p:txBody>
      </p:sp>
      <p:sp>
        <p:nvSpPr>
          <p:cNvPr id="7" name="Textfeld 6">
            <a:extLst>
              <a:ext uri="{FF2B5EF4-FFF2-40B4-BE49-F238E27FC236}">
                <a16:creationId xmlns:a16="http://schemas.microsoft.com/office/drawing/2014/main" id="{C33505CA-A007-6464-33BB-82DDD9EB6320}"/>
              </a:ext>
            </a:extLst>
          </p:cNvPr>
          <p:cNvSpPr txBox="1"/>
          <p:nvPr/>
        </p:nvSpPr>
        <p:spPr>
          <a:xfrm>
            <a:off x="1600200" y="1236404"/>
            <a:ext cx="9867900" cy="1323439"/>
          </a:xfrm>
          <a:prstGeom prst="rect">
            <a:avLst/>
          </a:prstGeom>
          <a:noFill/>
        </p:spPr>
        <p:txBody>
          <a:bodyPr wrap="square">
            <a:spAutoFit/>
          </a:bodyPr>
          <a:lstStyle/>
          <a:p>
            <a:pPr fontAlgn="base"/>
            <a:r>
              <a:rPr lang="de-DE" sz="2000" dirty="0">
                <a:latin typeface="Calibri" panose="020F0502020204030204" pitchFamily="34" charset="0"/>
                <a:cs typeface="Calibri" panose="020F0502020204030204" pitchFamily="34" charset="0"/>
              </a:rPr>
              <a:t>Treppen und Rampen sind zentrale Verbindungswege in jedem Betrieb. </a:t>
            </a:r>
          </a:p>
          <a:p>
            <a:pPr fontAlgn="base"/>
            <a:r>
              <a:rPr lang="de-DE" sz="2000" dirty="0">
                <a:latin typeface="Calibri" panose="020F0502020204030204" pitchFamily="34" charset="0"/>
                <a:cs typeface="Calibri" panose="020F0502020204030204" pitchFamily="34" charset="0"/>
              </a:rPr>
              <a:t>Unachtsamkeit oder nasse Flächen führen zu Stürzen mit teils schweren Verletzungen. </a:t>
            </a:r>
          </a:p>
          <a:p>
            <a:pPr fontAlgn="base"/>
            <a:r>
              <a:rPr lang="de-DE" sz="2000" dirty="0">
                <a:latin typeface="Calibri" panose="020F0502020204030204" pitchFamily="34" charset="0"/>
                <a:cs typeface="Calibri" panose="020F0502020204030204" pitchFamily="34" charset="0"/>
              </a:rPr>
              <a:t>Durch richtiges Verhalten und regelmäßige Kontrollen lassen sich die meisten Unfälle vermeiden. </a:t>
            </a:r>
          </a:p>
        </p:txBody>
      </p:sp>
      <p:pic>
        <p:nvPicPr>
          <p:cNvPr id="23" name="Grafik 22" descr="Schlägel und Eisen">
            <a:extLst>
              <a:ext uri="{FF2B5EF4-FFF2-40B4-BE49-F238E27FC236}">
                <a16:creationId xmlns:a16="http://schemas.microsoft.com/office/drawing/2014/main" id="{5C5E8358-0CE9-3CFB-A24D-05ECDA6AABD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854456" y="2972965"/>
            <a:ext cx="914400" cy="914400"/>
          </a:xfrm>
          <a:prstGeom prst="rect">
            <a:avLst/>
          </a:prstGeom>
        </p:spPr>
      </p:pic>
      <p:pic>
        <p:nvPicPr>
          <p:cNvPr id="25" name="Grafik 24" descr="Straßenlampe">
            <a:extLst>
              <a:ext uri="{FF2B5EF4-FFF2-40B4-BE49-F238E27FC236}">
                <a16:creationId xmlns:a16="http://schemas.microsoft.com/office/drawing/2014/main" id="{285B399B-8219-305D-0F31-02FBCD12010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424750" y="3035708"/>
            <a:ext cx="914400" cy="914400"/>
          </a:xfrm>
          <a:prstGeom prst="rect">
            <a:avLst/>
          </a:prstGeom>
        </p:spPr>
      </p:pic>
      <p:pic>
        <p:nvPicPr>
          <p:cNvPr id="39" name="Grafik 38" descr="Kasten">
            <a:extLst>
              <a:ext uri="{FF2B5EF4-FFF2-40B4-BE49-F238E27FC236}">
                <a16:creationId xmlns:a16="http://schemas.microsoft.com/office/drawing/2014/main" id="{0473F76B-DBE5-770A-BCE0-4B82DC6F8FD8}"/>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654168" y="3050930"/>
            <a:ext cx="914400" cy="914400"/>
          </a:xfrm>
          <a:prstGeom prst="rect">
            <a:avLst/>
          </a:prstGeom>
        </p:spPr>
      </p:pic>
      <p:pic>
        <p:nvPicPr>
          <p:cNvPr id="41" name="Grafik 40" descr="Mann mit Stock">
            <a:extLst>
              <a:ext uri="{FF2B5EF4-FFF2-40B4-BE49-F238E27FC236}">
                <a16:creationId xmlns:a16="http://schemas.microsoft.com/office/drawing/2014/main" id="{99CA670B-2CCA-07BF-C8A6-D40E287A87FA}"/>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940184" y="2972965"/>
            <a:ext cx="914400" cy="914400"/>
          </a:xfrm>
          <a:prstGeom prst="rect">
            <a:avLst/>
          </a:prstGeom>
        </p:spPr>
      </p:pic>
      <p:pic>
        <p:nvPicPr>
          <p:cNvPr id="45" name="Grafik 44" descr="Regen">
            <a:extLst>
              <a:ext uri="{FF2B5EF4-FFF2-40B4-BE49-F238E27FC236}">
                <a16:creationId xmlns:a16="http://schemas.microsoft.com/office/drawing/2014/main" id="{9C300183-9912-0C0F-1199-98CAABE7C08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266795" y="3035708"/>
            <a:ext cx="914400" cy="914400"/>
          </a:xfrm>
          <a:prstGeom prst="rect">
            <a:avLst/>
          </a:prstGeom>
        </p:spPr>
      </p:pic>
    </p:spTree>
    <p:extLst>
      <p:ext uri="{BB962C8B-B14F-4D97-AF65-F5344CB8AC3E}">
        <p14:creationId xmlns:p14="http://schemas.microsoft.com/office/powerpoint/2010/main" val="2562899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4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250" fill="hold"/>
                                        <p:tgtEl>
                                          <p:spTgt spid="9"/>
                                        </p:tgtEl>
                                        <p:attrNameLst>
                                          <p:attrName>ppt_x</p:attrName>
                                        </p:attrNameLst>
                                      </p:cBhvr>
                                      <p:tavLst>
                                        <p:tav tm="0">
                                          <p:val>
                                            <p:strVal val="#ppt_x"/>
                                          </p:val>
                                        </p:tav>
                                        <p:tav tm="100000">
                                          <p:val>
                                            <p:strVal val="#ppt_x"/>
                                          </p:val>
                                        </p:tav>
                                      </p:tavLst>
                                    </p:anim>
                                    <p:anim calcmode="lin" valueType="num">
                                      <p:cBhvr additive="base">
                                        <p:cTn id="12" dur="125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80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1250" fill="hold"/>
                                        <p:tgtEl>
                                          <p:spTgt spid="17"/>
                                        </p:tgtEl>
                                        <p:attrNameLst>
                                          <p:attrName>ppt_x</p:attrName>
                                        </p:attrNameLst>
                                      </p:cBhvr>
                                      <p:tavLst>
                                        <p:tav tm="0">
                                          <p:val>
                                            <p:strVal val="#ppt_x"/>
                                          </p:val>
                                        </p:tav>
                                        <p:tav tm="100000">
                                          <p:val>
                                            <p:strVal val="#ppt_x"/>
                                          </p:val>
                                        </p:tav>
                                      </p:tavLst>
                                    </p:anim>
                                    <p:anim calcmode="lin" valueType="num">
                                      <p:cBhvr additive="base">
                                        <p:cTn id="16" dur="1250" fill="hold"/>
                                        <p:tgtEl>
                                          <p:spTgt spid="17"/>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250" fill="hold"/>
                                        <p:tgtEl>
                                          <p:spTgt spid="15"/>
                                        </p:tgtEl>
                                        <p:attrNameLst>
                                          <p:attrName>ppt_x</p:attrName>
                                        </p:attrNameLst>
                                      </p:cBhvr>
                                      <p:tavLst>
                                        <p:tav tm="0">
                                          <p:val>
                                            <p:strVal val="#ppt_x"/>
                                          </p:val>
                                        </p:tav>
                                        <p:tav tm="100000">
                                          <p:val>
                                            <p:strVal val="#ppt_x"/>
                                          </p:val>
                                        </p:tav>
                                      </p:tavLst>
                                    </p:anim>
                                    <p:anim calcmode="lin" valueType="num">
                                      <p:cBhvr additive="base">
                                        <p:cTn id="20" dur="1250" fill="hold"/>
                                        <p:tgtEl>
                                          <p:spTgt spid="15"/>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8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250" fill="hold"/>
                                        <p:tgtEl>
                                          <p:spTgt spid="16"/>
                                        </p:tgtEl>
                                        <p:attrNameLst>
                                          <p:attrName>ppt_x</p:attrName>
                                        </p:attrNameLst>
                                      </p:cBhvr>
                                      <p:tavLst>
                                        <p:tav tm="0">
                                          <p:val>
                                            <p:strVal val="#ppt_x"/>
                                          </p:val>
                                        </p:tav>
                                        <p:tav tm="100000">
                                          <p:val>
                                            <p:strVal val="#ppt_x"/>
                                          </p:val>
                                        </p:tav>
                                      </p:tavLst>
                                    </p:anim>
                                    <p:anim calcmode="lin" valueType="num">
                                      <p:cBhvr additive="base">
                                        <p:cTn id="24" dur="125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90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1000" fill="hold"/>
                                        <p:tgtEl>
                                          <p:spTgt spid="18"/>
                                        </p:tgtEl>
                                        <p:attrNameLst>
                                          <p:attrName>ppt_x</p:attrName>
                                        </p:attrNameLst>
                                      </p:cBhvr>
                                      <p:tavLst>
                                        <p:tav tm="0">
                                          <p:val>
                                            <p:strVal val="#ppt_x"/>
                                          </p:val>
                                        </p:tav>
                                        <p:tav tm="100000">
                                          <p:val>
                                            <p:strVal val="#ppt_x"/>
                                          </p:val>
                                        </p:tav>
                                      </p:tavLst>
                                    </p:anim>
                                    <p:anim calcmode="lin" valueType="num">
                                      <p:cBhvr additive="base">
                                        <p:cTn id="28" dur="1000" fill="hold"/>
                                        <p:tgtEl>
                                          <p:spTgt spid="18"/>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20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1000" fill="hold"/>
                                        <p:tgtEl>
                                          <p:spTgt spid="19"/>
                                        </p:tgtEl>
                                        <p:attrNameLst>
                                          <p:attrName>ppt_x</p:attrName>
                                        </p:attrNameLst>
                                      </p:cBhvr>
                                      <p:tavLst>
                                        <p:tav tm="0">
                                          <p:val>
                                            <p:strVal val="#ppt_x"/>
                                          </p:val>
                                        </p:tav>
                                        <p:tav tm="100000">
                                          <p:val>
                                            <p:strVal val="#ppt_x"/>
                                          </p:val>
                                        </p:tav>
                                      </p:tavLst>
                                    </p:anim>
                                    <p:anim calcmode="lin" valueType="num">
                                      <p:cBhvr additive="base">
                                        <p:cTn id="32" dur="10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40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1000" fill="hold"/>
                                        <p:tgtEl>
                                          <p:spTgt spid="14"/>
                                        </p:tgtEl>
                                        <p:attrNameLst>
                                          <p:attrName>ppt_x</p:attrName>
                                        </p:attrNameLst>
                                      </p:cBhvr>
                                      <p:tavLst>
                                        <p:tav tm="0">
                                          <p:val>
                                            <p:strVal val="#ppt_x"/>
                                          </p:val>
                                        </p:tav>
                                        <p:tav tm="100000">
                                          <p:val>
                                            <p:strVal val="#ppt_x"/>
                                          </p:val>
                                        </p:tav>
                                      </p:tavLst>
                                    </p:anim>
                                    <p:anim calcmode="lin" valueType="num">
                                      <p:cBhvr additive="base">
                                        <p:cTn id="36" dur="1000" fill="hold"/>
                                        <p:tgtEl>
                                          <p:spTgt spid="14"/>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600"/>
                                  </p:stCondLst>
                                  <p:childTnLst>
                                    <p:set>
                                      <p:cBhvr>
                                        <p:cTn id="38" dur="1" fill="hold">
                                          <p:stCondLst>
                                            <p:cond delay="0"/>
                                          </p:stCondLst>
                                        </p:cTn>
                                        <p:tgtEl>
                                          <p:spTgt spid="20"/>
                                        </p:tgtEl>
                                        <p:attrNameLst>
                                          <p:attrName>style.visibility</p:attrName>
                                        </p:attrNameLst>
                                      </p:cBhvr>
                                      <p:to>
                                        <p:strVal val="visible"/>
                                      </p:to>
                                    </p:set>
                                    <p:anim calcmode="lin" valueType="num">
                                      <p:cBhvr additive="base">
                                        <p:cTn id="39" dur="1000" fill="hold"/>
                                        <p:tgtEl>
                                          <p:spTgt spid="20"/>
                                        </p:tgtEl>
                                        <p:attrNameLst>
                                          <p:attrName>ppt_x</p:attrName>
                                        </p:attrNameLst>
                                      </p:cBhvr>
                                      <p:tavLst>
                                        <p:tav tm="0">
                                          <p:val>
                                            <p:strVal val="#ppt_x"/>
                                          </p:val>
                                        </p:tav>
                                        <p:tav tm="100000">
                                          <p:val>
                                            <p:strVal val="#ppt_x"/>
                                          </p:val>
                                        </p:tav>
                                      </p:tavLst>
                                    </p:anim>
                                    <p:anim calcmode="lin" valueType="num">
                                      <p:cBhvr additive="base">
                                        <p:cTn id="40" dur="1000" fill="hold"/>
                                        <p:tgtEl>
                                          <p:spTgt spid="20"/>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80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1000" fill="hold"/>
                                        <p:tgtEl>
                                          <p:spTgt spid="21"/>
                                        </p:tgtEl>
                                        <p:attrNameLst>
                                          <p:attrName>ppt_x</p:attrName>
                                        </p:attrNameLst>
                                      </p:cBhvr>
                                      <p:tavLst>
                                        <p:tav tm="0">
                                          <p:val>
                                            <p:strVal val="#ppt_x"/>
                                          </p:val>
                                        </p:tav>
                                        <p:tav tm="100000">
                                          <p:val>
                                            <p:strVal val="#ppt_x"/>
                                          </p:val>
                                        </p:tav>
                                      </p:tavLst>
                                    </p:anim>
                                    <p:anim calcmode="lin" valueType="num">
                                      <p:cBhvr additive="base">
                                        <p:cTn id="44" dur="1000" fill="hold"/>
                                        <p:tgtEl>
                                          <p:spTgt spid="21"/>
                                        </p:tgtEl>
                                        <p:attrNameLst>
                                          <p:attrName>ppt_y</p:attrName>
                                        </p:attrNameLst>
                                      </p:cBhvr>
                                      <p:tavLst>
                                        <p:tav tm="0">
                                          <p:val>
                                            <p:strVal val="1+#ppt_h/2"/>
                                          </p:val>
                                        </p:tav>
                                        <p:tav tm="100000">
                                          <p:val>
                                            <p:strVal val="#ppt_y"/>
                                          </p:val>
                                        </p:tav>
                                      </p:tavLst>
                                    </p:anim>
                                  </p:childTnLst>
                                </p:cTn>
                              </p:par>
                              <p:par>
                                <p:cTn id="45" presetID="1" presetClass="entr" presetSubtype="0" fill="hold" grpId="0" nodeType="withEffect">
                                  <p:stCondLst>
                                    <p:cond delay="0"/>
                                  </p:stCondLst>
                                  <p:childTnLst>
                                    <p:set>
                                      <p:cBhvr>
                                        <p:cTn id="4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4" grpId="0"/>
      <p:bldP spid="15" grpId="0" animBg="1"/>
      <p:bldP spid="16" grpId="0" animBg="1"/>
      <p:bldP spid="17" grpId="0" animBg="1"/>
      <p:bldP spid="18" grpId="0"/>
      <p:bldP spid="19" grpId="0"/>
      <p:bldP spid="20" grpId="0"/>
      <p:bldP spid="21"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6">
            <a:extLst>
              <a:ext uri="{FF2B5EF4-FFF2-40B4-BE49-F238E27FC236}">
                <a16:creationId xmlns:a16="http://schemas.microsoft.com/office/drawing/2014/main" id="{CEC4DDD3-3A7E-1FC5-93FE-EAA419C66B95}"/>
              </a:ext>
            </a:extLst>
          </p:cNvPr>
          <p:cNvPicPr>
            <a:picLocks noGrp="1" noChangeAspect="1"/>
          </p:cNvPicPr>
          <p:nvPr>
            <p:ph type="pic" sz="quarter" idx="13"/>
          </p:nvPr>
        </p:nvPicPr>
        <p:blipFill>
          <a:blip r:embed="rId3"/>
          <a:srcRect l="14795" r="14795"/>
          <a:stretch/>
        </p:blipFill>
        <p:spPr>
          <a:xfrm>
            <a:off x="6227863" y="0"/>
            <a:ext cx="7262192" cy="6876108"/>
          </a:xfrm>
        </p:spPr>
      </p:pic>
      <p:sp>
        <p:nvSpPr>
          <p:cNvPr id="3" name="Title 2">
            <a:extLst>
              <a:ext uri="{FF2B5EF4-FFF2-40B4-BE49-F238E27FC236}">
                <a16:creationId xmlns:a16="http://schemas.microsoft.com/office/drawing/2014/main" id="{A5621D57-AEC9-41F2-846B-84B6E1A2076E}"/>
              </a:ext>
            </a:extLst>
          </p:cNvPr>
          <p:cNvSpPr>
            <a:spLocks noGrp="1"/>
          </p:cNvSpPr>
          <p:nvPr>
            <p:ph type="ctrTitle" idx="4294967295"/>
          </p:nvPr>
        </p:nvSpPr>
        <p:spPr>
          <a:xfrm>
            <a:off x="263525" y="1112749"/>
            <a:ext cx="527050" cy="4207656"/>
          </a:xfrm>
        </p:spPr>
        <p:txBody>
          <a:bodyPr vert="vert270"/>
          <a:lstStyle/>
          <a:p>
            <a:r>
              <a:rPr lang="en-US" sz="4400" dirty="0" err="1">
                <a:solidFill>
                  <a:srgbClr val="004D7A"/>
                </a:solidFill>
              </a:rPr>
              <a:t>Praxisbeispiel</a:t>
            </a:r>
            <a:endParaRPr lang="en-US" sz="4400" dirty="0">
              <a:solidFill>
                <a:srgbClr val="004D7A"/>
              </a:solidFill>
            </a:endParaRPr>
          </a:p>
        </p:txBody>
      </p:sp>
      <p:pic>
        <p:nvPicPr>
          <p:cNvPr id="4" name="Grafik 3">
            <a:extLst>
              <a:ext uri="{FF2B5EF4-FFF2-40B4-BE49-F238E27FC236}">
                <a16:creationId xmlns:a16="http://schemas.microsoft.com/office/drawing/2014/main" id="{F7F88150-FF77-4457-7FC6-3A1C78D07BC0}"/>
              </a:ext>
            </a:extLst>
          </p:cNvPr>
          <p:cNvPicPr>
            <a:picLocks noChangeAspect="1"/>
          </p:cNvPicPr>
          <p:nvPr/>
        </p:nvPicPr>
        <p:blipFill rotWithShape="1">
          <a:blip r:embed="rId4"/>
          <a:srcRect l="9767" t="41072" r="6866" b="12274"/>
          <a:stretch/>
        </p:blipFill>
        <p:spPr>
          <a:xfrm>
            <a:off x="156887" y="6374769"/>
            <a:ext cx="1515719" cy="422987"/>
          </a:xfrm>
          <a:prstGeom prst="rect">
            <a:avLst/>
          </a:prstGeom>
        </p:spPr>
      </p:pic>
      <p:sp>
        <p:nvSpPr>
          <p:cNvPr id="12" name="Rectangle 11">
            <a:extLst>
              <a:ext uri="{FF2B5EF4-FFF2-40B4-BE49-F238E27FC236}">
                <a16:creationId xmlns:a16="http://schemas.microsoft.com/office/drawing/2014/main" id="{36710CC6-5BEA-E82E-AA93-AB8C71DA2408}"/>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13" name="TextBox 13">
            <a:extLst>
              <a:ext uri="{FF2B5EF4-FFF2-40B4-BE49-F238E27FC236}">
                <a16:creationId xmlns:a16="http://schemas.microsoft.com/office/drawing/2014/main" id="{C26E0D0B-D3F2-ED36-49F5-D63E401D184B}"/>
              </a:ext>
            </a:extLst>
          </p:cNvPr>
          <p:cNvSpPr txBox="1"/>
          <p:nvPr/>
        </p:nvSpPr>
        <p:spPr>
          <a:xfrm>
            <a:off x="11518597"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4</a:t>
            </a:r>
          </a:p>
        </p:txBody>
      </p:sp>
      <p:sp>
        <p:nvSpPr>
          <p:cNvPr id="11" name="TextBox 6">
            <a:extLst>
              <a:ext uri="{FF2B5EF4-FFF2-40B4-BE49-F238E27FC236}">
                <a16:creationId xmlns:a16="http://schemas.microsoft.com/office/drawing/2014/main" id="{8AE41998-7BEC-15D9-2BE7-C3E6D95B875E}"/>
              </a:ext>
            </a:extLst>
          </p:cNvPr>
          <p:cNvSpPr txBox="1"/>
          <p:nvPr/>
        </p:nvSpPr>
        <p:spPr>
          <a:xfrm>
            <a:off x="1057991" y="382443"/>
            <a:ext cx="4902456" cy="3554819"/>
          </a:xfrm>
          <a:prstGeom prst="rect">
            <a:avLst/>
          </a:prstGeom>
          <a:noFill/>
        </p:spPr>
        <p:txBody>
          <a:bodyPr wrap="square" lIns="0" rIns="0" rtlCol="0">
            <a:spAutoFit/>
          </a:bodyPr>
          <a:lstStyle/>
          <a:p>
            <a:pPr>
              <a:spcBef>
                <a:spcPts val="600"/>
              </a:spcBef>
            </a:pPr>
            <a:r>
              <a:rPr lang="de-DE" sz="2000" dirty="0">
                <a:latin typeface="Calibri" panose="020F0502020204030204" pitchFamily="34" charset="0"/>
                <a:cs typeface="Calibri" panose="020F0502020204030204" pitchFamily="34" charset="0"/>
              </a:rPr>
              <a:t>Lisa eilt während der Mittagspause die Treppe hinunter, weil sie im Pausenraum noch etwas erledigen möchte. Eine Stufe ist nass, da sie zuvor geputzt wurde und kein Warnhinweis aufgestellt ist. Lisa rutscht aus und zieht sich eine Verstauchung am Sprunggelenk zu. </a:t>
            </a:r>
          </a:p>
          <a:p>
            <a:pPr>
              <a:spcBef>
                <a:spcPts val="600"/>
              </a:spcBef>
            </a:pPr>
            <a:r>
              <a:rPr lang="de-DE" sz="2000" dirty="0">
                <a:latin typeface="Calibri" panose="020F0502020204030204" pitchFamily="34" charset="0"/>
                <a:cs typeface="Calibri" panose="020F0502020204030204" pitchFamily="34" charset="0"/>
              </a:rPr>
              <a:t>Danach führt der Betrieb Checklisten für Treppenreinigung und Rampenkontrolle ein, bringt Warnhinweise bei Nässe an und schult alle Mitarbeitenden im vorsichtigen Verhalten auf Treppen und Rampen. </a:t>
            </a:r>
          </a:p>
        </p:txBody>
      </p:sp>
      <p:sp>
        <p:nvSpPr>
          <p:cNvPr id="15" name="Rectangle: Rounded Corners 16">
            <a:extLst>
              <a:ext uri="{FF2B5EF4-FFF2-40B4-BE49-F238E27FC236}">
                <a16:creationId xmlns:a16="http://schemas.microsoft.com/office/drawing/2014/main" id="{9FA6C024-1F82-7B96-172F-1C82E20AA00A}"/>
              </a:ext>
            </a:extLst>
          </p:cNvPr>
          <p:cNvSpPr/>
          <p:nvPr/>
        </p:nvSpPr>
        <p:spPr>
          <a:xfrm>
            <a:off x="914746" y="4194317"/>
            <a:ext cx="4902456" cy="1332297"/>
          </a:xfrm>
          <a:prstGeom prst="roundRect">
            <a:avLst>
              <a:gd name="adj" fmla="val 9140"/>
            </a:avLst>
          </a:prstGeom>
          <a:solidFill>
            <a:srgbClr val="1935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bIns="274320" rtlCol="0" anchor="b" anchorCtr="0"/>
          <a:lstStyle/>
          <a:p>
            <a:pPr algn="ctr" fontAlgn="base"/>
            <a:r>
              <a:rPr lang="de-DE" b="1" dirty="0"/>
              <a:t>Aufmerksames Gehen, Handläufe nutzen und klare Kennzeichnungen verhindern Unfälle.</a:t>
            </a:r>
            <a:endParaRPr lang="de-DE" dirty="0"/>
          </a:p>
        </p:txBody>
      </p:sp>
    </p:spTree>
    <p:extLst>
      <p:ext uri="{BB962C8B-B14F-4D97-AF65-F5344CB8AC3E}">
        <p14:creationId xmlns:p14="http://schemas.microsoft.com/office/powerpoint/2010/main" val="2639970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par>
                                <p:cTn id="8" presetID="10" presetClass="exit" presetSubtype="0" fill="hold" grpId="1"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7F88150-FF77-4457-7FC6-3A1C78D07BC0}"/>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12" name="Rectangle 11">
            <a:extLst>
              <a:ext uri="{FF2B5EF4-FFF2-40B4-BE49-F238E27FC236}">
                <a16:creationId xmlns:a16="http://schemas.microsoft.com/office/drawing/2014/main" id="{36710CC6-5BEA-E82E-AA93-AB8C71DA2408}"/>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13" name="TextBox 13">
            <a:extLst>
              <a:ext uri="{FF2B5EF4-FFF2-40B4-BE49-F238E27FC236}">
                <a16:creationId xmlns:a16="http://schemas.microsoft.com/office/drawing/2014/main" id="{C26E0D0B-D3F2-ED36-49F5-D63E401D184B}"/>
              </a:ext>
            </a:extLst>
          </p:cNvPr>
          <p:cNvSpPr txBox="1"/>
          <p:nvPr/>
        </p:nvSpPr>
        <p:spPr>
          <a:xfrm>
            <a:off x="11518597"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5</a:t>
            </a:r>
          </a:p>
        </p:txBody>
      </p:sp>
      <p:sp>
        <p:nvSpPr>
          <p:cNvPr id="26" name="Textfeld 25">
            <a:extLst>
              <a:ext uri="{FF2B5EF4-FFF2-40B4-BE49-F238E27FC236}">
                <a16:creationId xmlns:a16="http://schemas.microsoft.com/office/drawing/2014/main" id="{75DBBEB4-191B-2573-B888-EA897190D8A6}"/>
              </a:ext>
            </a:extLst>
          </p:cNvPr>
          <p:cNvSpPr txBox="1"/>
          <p:nvPr/>
        </p:nvSpPr>
        <p:spPr>
          <a:xfrm>
            <a:off x="4812690" y="1290989"/>
            <a:ext cx="9867900"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rPr>
              <a:t>für Kontrolle und Reinigung festlegen.</a:t>
            </a:r>
            <a:endParaRPr lang="de-DE" sz="2000" dirty="0">
              <a:solidFill>
                <a:srgbClr val="000000"/>
              </a:solidFill>
              <a:latin typeface="Calibri" panose="020F0502020204030204" pitchFamily="34" charset="0"/>
              <a:cs typeface="Calibri" panose="020F0502020204030204" pitchFamily="34" charset="0"/>
            </a:endParaRPr>
          </a:p>
        </p:txBody>
      </p:sp>
      <p:sp>
        <p:nvSpPr>
          <p:cNvPr id="5" name="Rectangle: Rounded Corners 20">
            <a:extLst>
              <a:ext uri="{FF2B5EF4-FFF2-40B4-BE49-F238E27FC236}">
                <a16:creationId xmlns:a16="http://schemas.microsoft.com/office/drawing/2014/main" id="{C66DE10F-C15E-997D-F2F3-896E29042F1E}"/>
              </a:ext>
            </a:extLst>
          </p:cNvPr>
          <p:cNvSpPr/>
          <p:nvPr/>
        </p:nvSpPr>
        <p:spPr>
          <a:xfrm>
            <a:off x="1092093" y="3880665"/>
            <a:ext cx="10376007" cy="596487"/>
          </a:xfrm>
          <a:prstGeom prst="roundRect">
            <a:avLst>
              <a:gd name="adj" fmla="val 50000"/>
            </a:avLst>
          </a:prstGeom>
          <a:solidFill>
            <a:schemeClr val="bg1"/>
          </a:solidFill>
          <a:ln>
            <a:solidFill>
              <a:srgbClr val="7FA5BC"/>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fontAlgn="base"/>
            <a:r>
              <a:rPr lang="de-DE" sz="2000" b="1" dirty="0">
                <a:solidFill>
                  <a:srgbClr val="000000"/>
                </a:solidFill>
                <a:latin typeface="Calibri" panose="020F0502020204030204" pitchFamily="34" charset="0"/>
              </a:rPr>
              <a:t>ArbSchG §3:</a:t>
            </a:r>
            <a:r>
              <a:rPr lang="de-DE" sz="2000" dirty="0">
                <a:solidFill>
                  <a:srgbClr val="000000"/>
                </a:solidFill>
                <a:latin typeface="Calibri" panose="020F0502020204030204" pitchFamily="34" charset="0"/>
              </a:rPr>
              <a:t> Gefährdungsbeurteilung für Arbeitsplätze, Verkehrswege</a:t>
            </a:r>
            <a:endParaRPr lang="de-DE" sz="2000" dirty="0">
              <a:latin typeface="Calibri" panose="020F0502020204030204" pitchFamily="34" charset="0"/>
            </a:endParaRPr>
          </a:p>
        </p:txBody>
      </p:sp>
      <p:sp>
        <p:nvSpPr>
          <p:cNvPr id="8" name="Rectangle: Rounded Corners 19">
            <a:extLst>
              <a:ext uri="{FF2B5EF4-FFF2-40B4-BE49-F238E27FC236}">
                <a16:creationId xmlns:a16="http://schemas.microsoft.com/office/drawing/2014/main" id="{59D5B4B0-C698-6487-5FEA-2F44906D0FB4}"/>
              </a:ext>
            </a:extLst>
          </p:cNvPr>
          <p:cNvSpPr/>
          <p:nvPr/>
        </p:nvSpPr>
        <p:spPr>
          <a:xfrm>
            <a:off x="-538234" y="1194130"/>
            <a:ext cx="1448283" cy="2046332"/>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288000" tIns="0" rIns="0" bIns="0" rtlCol="0" anchor="ctr"/>
          <a:lstStyle/>
          <a:p>
            <a:pPr algn="ctr"/>
            <a:r>
              <a:rPr lang="de-DE" sz="2000" b="1" dirty="0">
                <a:latin typeface="Calibri" panose="020F0502020204030204" pitchFamily="34" charset="0"/>
                <a:cs typeface="Calibri" panose="020F0502020204030204" pitchFamily="34" charset="0"/>
              </a:rPr>
              <a:t>Vorbeugende Maßnahmen</a:t>
            </a:r>
            <a:endParaRPr lang="de-DE" sz="2000" dirty="0">
              <a:latin typeface="Calibri" panose="020F0502020204030204" pitchFamily="34" charset="0"/>
              <a:cs typeface="Calibri" panose="020F0502020204030204" pitchFamily="34" charset="0"/>
            </a:endParaRPr>
          </a:p>
        </p:txBody>
      </p:sp>
      <p:sp>
        <p:nvSpPr>
          <p:cNvPr id="10" name="Rectangle: Rounded Corners 19">
            <a:extLst>
              <a:ext uri="{FF2B5EF4-FFF2-40B4-BE49-F238E27FC236}">
                <a16:creationId xmlns:a16="http://schemas.microsoft.com/office/drawing/2014/main" id="{81DCF901-553D-075F-1967-9138591AB81C}"/>
              </a:ext>
            </a:extLst>
          </p:cNvPr>
          <p:cNvSpPr/>
          <p:nvPr/>
        </p:nvSpPr>
        <p:spPr>
          <a:xfrm>
            <a:off x="986598" y="1847432"/>
            <a:ext cx="3749543" cy="296181"/>
          </a:xfrm>
          <a:prstGeom prst="roundRect">
            <a:avLst>
              <a:gd name="adj" fmla="val 50000"/>
            </a:avLst>
          </a:prstGeom>
          <a:solidFill>
            <a:srgbClr val="7FA5BC"/>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Kontrollen auf Beschädigungen </a:t>
            </a:r>
            <a:endParaRPr lang="de-DE" sz="2000" dirty="0">
              <a:latin typeface="Calibri" panose="020F0502020204030204" pitchFamily="34" charset="0"/>
              <a:cs typeface="Calibri" panose="020F0502020204030204" pitchFamily="34" charset="0"/>
            </a:endParaRPr>
          </a:p>
        </p:txBody>
      </p:sp>
      <p:sp>
        <p:nvSpPr>
          <p:cNvPr id="14" name="Textfeld 13">
            <a:extLst>
              <a:ext uri="{FF2B5EF4-FFF2-40B4-BE49-F238E27FC236}">
                <a16:creationId xmlns:a16="http://schemas.microsoft.com/office/drawing/2014/main" id="{16324728-2571-668F-B4A0-41292C5A2369}"/>
              </a:ext>
            </a:extLst>
          </p:cNvPr>
          <p:cNvSpPr txBox="1"/>
          <p:nvPr/>
        </p:nvSpPr>
        <p:spPr>
          <a:xfrm>
            <a:off x="4812690" y="2921708"/>
            <a:ext cx="9867900"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rPr>
              <a:t>Bei Rampen auf Steigung und Oberflächenbeschaffenheit achten. </a:t>
            </a:r>
          </a:p>
        </p:txBody>
      </p:sp>
      <p:sp>
        <p:nvSpPr>
          <p:cNvPr id="20" name="Title 1">
            <a:extLst>
              <a:ext uri="{FF2B5EF4-FFF2-40B4-BE49-F238E27FC236}">
                <a16:creationId xmlns:a16="http://schemas.microsoft.com/office/drawing/2014/main" id="{BD8B3CEA-B31C-6FD2-07CE-983DA969F671}"/>
              </a:ext>
            </a:extLst>
          </p:cNvPr>
          <p:cNvSpPr txBox="1">
            <a:spLocks/>
          </p:cNvSpPr>
          <p:nvPr/>
        </p:nvSpPr>
        <p:spPr>
          <a:xfrm>
            <a:off x="986599" y="41747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Organisation</a:t>
            </a:r>
            <a:r>
              <a:rPr lang="en-US" sz="4400" kern="0" dirty="0">
                <a:solidFill>
                  <a:srgbClr val="004D7A"/>
                </a:solidFill>
                <a:latin typeface="Calibri" panose="020F0502020204030204" pitchFamily="34" charset="0"/>
                <a:cs typeface="Calibri" panose="020F0502020204030204" pitchFamily="34" charset="0"/>
              </a:rPr>
              <a:t> </a:t>
            </a:r>
            <a:r>
              <a:rPr lang="en-US" sz="4400" kern="0" dirty="0" err="1">
                <a:solidFill>
                  <a:srgbClr val="004D7A"/>
                </a:solidFill>
                <a:latin typeface="Calibri" panose="020F0502020204030204" pitchFamily="34" charset="0"/>
                <a:cs typeface="Calibri" panose="020F0502020204030204" pitchFamily="34" charset="0"/>
              </a:rPr>
              <a:t>im</a:t>
            </a:r>
            <a:r>
              <a:rPr lang="en-US" sz="4400" kern="0" dirty="0">
                <a:solidFill>
                  <a:srgbClr val="004D7A"/>
                </a:solidFill>
                <a:latin typeface="Calibri" panose="020F0502020204030204" pitchFamily="34" charset="0"/>
                <a:cs typeface="Calibri" panose="020F0502020204030204" pitchFamily="34" charset="0"/>
              </a:rPr>
              <a:t> </a:t>
            </a:r>
            <a:r>
              <a:rPr lang="en-US" sz="4400" kern="0" dirty="0" err="1">
                <a:solidFill>
                  <a:srgbClr val="004D7A"/>
                </a:solidFill>
                <a:latin typeface="Calibri" panose="020F0502020204030204" pitchFamily="34" charset="0"/>
                <a:cs typeface="Calibri" panose="020F0502020204030204" pitchFamily="34" charset="0"/>
              </a:rPr>
              <a:t>Betrieb</a:t>
            </a:r>
            <a:endParaRPr lang="en-GB" sz="4400" kern="0" dirty="0">
              <a:solidFill>
                <a:srgbClr val="004D7A"/>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id="{962EBC07-81D8-4AE4-68D3-51778F489AC0}"/>
              </a:ext>
            </a:extLst>
          </p:cNvPr>
          <p:cNvSpPr txBox="1"/>
          <p:nvPr/>
        </p:nvSpPr>
        <p:spPr>
          <a:xfrm>
            <a:off x="4812689" y="1786931"/>
            <a:ext cx="6978417"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rPr>
              <a:t>Defekte Treppen oder Rampen sofort kennzeichnen und sperren. </a:t>
            </a:r>
          </a:p>
        </p:txBody>
      </p:sp>
      <p:sp>
        <p:nvSpPr>
          <p:cNvPr id="27" name="Textfeld 26">
            <a:extLst>
              <a:ext uri="{FF2B5EF4-FFF2-40B4-BE49-F238E27FC236}">
                <a16:creationId xmlns:a16="http://schemas.microsoft.com/office/drawing/2014/main" id="{277C1B68-FA5F-8486-43EE-1CCE17F2EBAF}"/>
              </a:ext>
            </a:extLst>
          </p:cNvPr>
          <p:cNvSpPr txBox="1"/>
          <p:nvPr/>
        </p:nvSpPr>
        <p:spPr>
          <a:xfrm>
            <a:off x="4812690" y="2331637"/>
            <a:ext cx="6655410"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cs typeface="Calibri" panose="020F0502020204030204" pitchFamily="34" charset="0"/>
              </a:rPr>
              <a:t>zum Verhalten auf Treppen und Rampen.</a:t>
            </a:r>
          </a:p>
        </p:txBody>
      </p:sp>
      <p:sp>
        <p:nvSpPr>
          <p:cNvPr id="29" name="Rectangle: Rounded Corners 19">
            <a:extLst>
              <a:ext uri="{FF2B5EF4-FFF2-40B4-BE49-F238E27FC236}">
                <a16:creationId xmlns:a16="http://schemas.microsoft.com/office/drawing/2014/main" id="{08129AE5-2D91-2C76-2EF0-611BF15856BF}"/>
              </a:ext>
            </a:extLst>
          </p:cNvPr>
          <p:cNvSpPr/>
          <p:nvPr/>
        </p:nvSpPr>
        <p:spPr>
          <a:xfrm>
            <a:off x="986599" y="1336776"/>
            <a:ext cx="3749543" cy="296181"/>
          </a:xfrm>
          <a:prstGeom prst="roundRect">
            <a:avLst>
              <a:gd name="adj" fmla="val 50000"/>
            </a:avLst>
          </a:prstGeom>
          <a:solidFill>
            <a:srgbClr val="7FA5BC"/>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Verantwortlichkeiten </a:t>
            </a:r>
            <a:endParaRPr lang="de-DE" sz="2000" dirty="0">
              <a:latin typeface="Calibri" panose="020F0502020204030204" pitchFamily="34" charset="0"/>
              <a:cs typeface="Calibri" panose="020F0502020204030204" pitchFamily="34" charset="0"/>
            </a:endParaRPr>
          </a:p>
        </p:txBody>
      </p:sp>
      <p:sp>
        <p:nvSpPr>
          <p:cNvPr id="30" name="Rectangle: Rounded Corners 19">
            <a:extLst>
              <a:ext uri="{FF2B5EF4-FFF2-40B4-BE49-F238E27FC236}">
                <a16:creationId xmlns:a16="http://schemas.microsoft.com/office/drawing/2014/main" id="{6BCF50B5-69FA-F727-A8C7-8D569B31C25B}"/>
              </a:ext>
            </a:extLst>
          </p:cNvPr>
          <p:cNvSpPr/>
          <p:nvPr/>
        </p:nvSpPr>
        <p:spPr>
          <a:xfrm>
            <a:off x="986598" y="2394702"/>
            <a:ext cx="3749543" cy="296181"/>
          </a:xfrm>
          <a:prstGeom prst="roundRect">
            <a:avLst>
              <a:gd name="adj" fmla="val 50000"/>
            </a:avLst>
          </a:prstGeom>
          <a:solidFill>
            <a:srgbClr val="7FA5BC"/>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Regelmäßige Unterweisungen</a:t>
            </a:r>
            <a:endParaRPr lang="de-DE" sz="2000" dirty="0">
              <a:latin typeface="Calibri" panose="020F0502020204030204" pitchFamily="34" charset="0"/>
              <a:cs typeface="Calibri" panose="020F0502020204030204" pitchFamily="34" charset="0"/>
            </a:endParaRPr>
          </a:p>
        </p:txBody>
      </p:sp>
      <p:sp>
        <p:nvSpPr>
          <p:cNvPr id="31" name="Rectangle: Rounded Corners 19">
            <a:extLst>
              <a:ext uri="{FF2B5EF4-FFF2-40B4-BE49-F238E27FC236}">
                <a16:creationId xmlns:a16="http://schemas.microsoft.com/office/drawing/2014/main" id="{84E67435-79CC-B409-79F8-0D9CEFB20FD4}"/>
              </a:ext>
            </a:extLst>
          </p:cNvPr>
          <p:cNvSpPr/>
          <p:nvPr/>
        </p:nvSpPr>
        <p:spPr>
          <a:xfrm>
            <a:off x="986598" y="2944281"/>
            <a:ext cx="3749543" cy="296181"/>
          </a:xfrm>
          <a:prstGeom prst="roundRect">
            <a:avLst>
              <a:gd name="adj" fmla="val 50000"/>
            </a:avLst>
          </a:prstGeom>
          <a:solidFill>
            <a:srgbClr val="7FA5BC"/>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Beachten: </a:t>
            </a:r>
            <a:endParaRPr lang="de-DE" sz="2000" dirty="0">
              <a:latin typeface="Calibri" panose="020F0502020204030204" pitchFamily="34" charset="0"/>
              <a:cs typeface="Calibri" panose="020F0502020204030204" pitchFamily="34" charset="0"/>
            </a:endParaRPr>
          </a:p>
        </p:txBody>
      </p:sp>
      <p:sp>
        <p:nvSpPr>
          <p:cNvPr id="32" name="Rectangle: Rounded Corners 19">
            <a:extLst>
              <a:ext uri="{FF2B5EF4-FFF2-40B4-BE49-F238E27FC236}">
                <a16:creationId xmlns:a16="http://schemas.microsoft.com/office/drawing/2014/main" id="{2CDE5DF4-ED01-21A7-4526-6A7A9A91BA05}"/>
              </a:ext>
            </a:extLst>
          </p:cNvPr>
          <p:cNvSpPr/>
          <p:nvPr/>
        </p:nvSpPr>
        <p:spPr>
          <a:xfrm>
            <a:off x="-533537" y="3779971"/>
            <a:ext cx="1448283" cy="2046332"/>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288000" tIns="0" rIns="0" bIns="0" rtlCol="0" anchor="ctr"/>
          <a:lstStyle/>
          <a:p>
            <a:pPr algn="ctr"/>
            <a:r>
              <a:rPr lang="de-DE" sz="2000" b="1" dirty="0">
                <a:latin typeface="Calibri" panose="020F0502020204030204" pitchFamily="34" charset="0"/>
                <a:cs typeface="Calibri" panose="020F0502020204030204" pitchFamily="34" charset="0"/>
              </a:rPr>
              <a:t>Rechtliche Hintergründe</a:t>
            </a:r>
            <a:endParaRPr lang="de-DE" sz="2000" dirty="0">
              <a:latin typeface="Calibri" panose="020F0502020204030204" pitchFamily="34" charset="0"/>
              <a:cs typeface="Calibri" panose="020F0502020204030204" pitchFamily="34" charset="0"/>
            </a:endParaRPr>
          </a:p>
        </p:txBody>
      </p:sp>
      <p:sp>
        <p:nvSpPr>
          <p:cNvPr id="33" name="Rectangle: Rounded Corners 20">
            <a:extLst>
              <a:ext uri="{FF2B5EF4-FFF2-40B4-BE49-F238E27FC236}">
                <a16:creationId xmlns:a16="http://schemas.microsoft.com/office/drawing/2014/main" id="{75FE8D9F-5F98-7E3E-4659-AAC52C40FB83}"/>
              </a:ext>
            </a:extLst>
          </p:cNvPr>
          <p:cNvSpPr/>
          <p:nvPr/>
        </p:nvSpPr>
        <p:spPr>
          <a:xfrm>
            <a:off x="1092092" y="4576291"/>
            <a:ext cx="10376007" cy="596487"/>
          </a:xfrm>
          <a:prstGeom prst="roundRect">
            <a:avLst>
              <a:gd name="adj" fmla="val 50000"/>
            </a:avLst>
          </a:prstGeom>
          <a:solidFill>
            <a:schemeClr val="bg1"/>
          </a:solidFill>
          <a:ln>
            <a:solidFill>
              <a:srgbClr val="7FA5BC"/>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fontAlgn="base"/>
            <a:r>
              <a:rPr lang="de-DE" sz="2000" dirty="0">
                <a:solidFill>
                  <a:srgbClr val="000000"/>
                </a:solidFill>
                <a:latin typeface="Calibri" panose="020F0502020204030204" pitchFamily="34" charset="0"/>
              </a:rPr>
              <a:t>Verantwortlichkeit des Arbeitgebers für sichere Treppen und Rampen </a:t>
            </a:r>
          </a:p>
        </p:txBody>
      </p:sp>
      <p:sp>
        <p:nvSpPr>
          <p:cNvPr id="34" name="Rectangle: Rounded Corners 20">
            <a:extLst>
              <a:ext uri="{FF2B5EF4-FFF2-40B4-BE49-F238E27FC236}">
                <a16:creationId xmlns:a16="http://schemas.microsoft.com/office/drawing/2014/main" id="{915C3B48-1E5A-5739-461B-07541BE66F4A}"/>
              </a:ext>
            </a:extLst>
          </p:cNvPr>
          <p:cNvSpPr/>
          <p:nvPr/>
        </p:nvSpPr>
        <p:spPr>
          <a:xfrm>
            <a:off x="1092091" y="5316843"/>
            <a:ext cx="10376007" cy="596487"/>
          </a:xfrm>
          <a:prstGeom prst="roundRect">
            <a:avLst>
              <a:gd name="adj" fmla="val 50000"/>
            </a:avLst>
          </a:prstGeom>
          <a:solidFill>
            <a:schemeClr val="bg1"/>
          </a:solidFill>
          <a:ln>
            <a:solidFill>
              <a:srgbClr val="7FA5BC"/>
            </a:solid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fontAlgn="base"/>
            <a:r>
              <a:rPr lang="de-DE" sz="2000" b="1" dirty="0">
                <a:solidFill>
                  <a:srgbClr val="000000"/>
                </a:solidFill>
                <a:latin typeface="Calibri" panose="020F0502020204030204" pitchFamily="34" charset="0"/>
              </a:rPr>
              <a:t>ASR A1.7 / ASR V3a.2: </a:t>
            </a:r>
            <a:r>
              <a:rPr lang="de-DE" sz="2000" dirty="0">
                <a:solidFill>
                  <a:srgbClr val="000000"/>
                </a:solidFill>
                <a:latin typeface="Calibri" panose="020F0502020204030204" pitchFamily="34" charset="0"/>
              </a:rPr>
              <a:t>Technische Regeln für Arbeitsstätten – Verkehrswege </a:t>
            </a:r>
          </a:p>
        </p:txBody>
      </p:sp>
    </p:spTree>
    <p:extLst>
      <p:ext uri="{BB962C8B-B14F-4D97-AF65-F5344CB8AC3E}">
        <p14:creationId xmlns:p14="http://schemas.microsoft.com/office/powerpoint/2010/main" val="3121956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500"/>
                                        <p:tgtEl>
                                          <p:spTgt spid="2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down)">
                                      <p:cBhvr>
                                        <p:cTn id="10" dur="500"/>
                                        <p:tgtEl>
                                          <p:spTgt spid="26"/>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down)">
                                      <p:cBhvr>
                                        <p:cTn id="14" dur="1000"/>
                                        <p:tgtEl>
                                          <p:spTgt spid="10"/>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down)">
                                      <p:cBhvr>
                                        <p:cTn id="17" dur="1000"/>
                                        <p:tgtEl>
                                          <p:spTgt spid="25"/>
                                        </p:tgtEl>
                                      </p:cBhvr>
                                    </p:animEffect>
                                  </p:childTnLst>
                                </p:cTn>
                              </p:par>
                            </p:childTnLst>
                          </p:cTn>
                        </p:par>
                        <p:par>
                          <p:cTn id="18" fill="hold">
                            <p:stCondLst>
                              <p:cond delay="1500"/>
                            </p:stCondLst>
                            <p:childTnLst>
                              <p:par>
                                <p:cTn id="19" presetID="22" presetClass="entr" presetSubtype="4" fill="hold" grpId="0" nodeType="after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wipe(down)">
                                      <p:cBhvr>
                                        <p:cTn id="21" dur="1000"/>
                                        <p:tgtEl>
                                          <p:spTgt spid="30"/>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wipe(down)">
                                      <p:cBhvr>
                                        <p:cTn id="24" dur="1000"/>
                                        <p:tgtEl>
                                          <p:spTgt spid="27"/>
                                        </p:tgtEl>
                                      </p:cBhvr>
                                    </p:animEffect>
                                  </p:childTnLst>
                                </p:cTn>
                              </p:par>
                            </p:childTnLst>
                          </p:cTn>
                        </p:par>
                        <p:par>
                          <p:cTn id="25" fill="hold">
                            <p:stCondLst>
                              <p:cond delay="2500"/>
                            </p:stCondLst>
                            <p:childTnLst>
                              <p:par>
                                <p:cTn id="26" presetID="22" presetClass="entr" presetSubtype="4" fill="hold" grpId="0" nodeType="after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wipe(down)">
                                      <p:cBhvr>
                                        <p:cTn id="28" dur="1000"/>
                                        <p:tgtEl>
                                          <p:spTgt spid="31"/>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wipe(down)">
                                      <p:cBhvr>
                                        <p:cTn id="31" dur="1000"/>
                                        <p:tgtEl>
                                          <p:spTgt spid="14"/>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wipe(down)">
                                      <p:cBhvr>
                                        <p:cTn id="36" dur="500"/>
                                        <p:tgtEl>
                                          <p:spTgt spid="32"/>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down)">
                                      <p:cBhvr>
                                        <p:cTn id="39" dur="500"/>
                                        <p:tgtEl>
                                          <p:spTgt spid="5"/>
                                        </p:tgtEl>
                                      </p:cBhvr>
                                    </p:animEffect>
                                  </p:childTnLst>
                                </p:cTn>
                              </p:par>
                            </p:childTnLst>
                          </p:cTn>
                        </p:par>
                        <p:par>
                          <p:cTn id="40" fill="hold">
                            <p:stCondLst>
                              <p:cond delay="500"/>
                            </p:stCondLst>
                            <p:childTnLst>
                              <p:par>
                                <p:cTn id="41" presetID="22" presetClass="entr" presetSubtype="4" fill="hold" grpId="0" nodeType="after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wipe(down)">
                                      <p:cBhvr>
                                        <p:cTn id="43" dur="500"/>
                                        <p:tgtEl>
                                          <p:spTgt spid="33"/>
                                        </p:tgtEl>
                                      </p:cBhvr>
                                    </p:animEffect>
                                  </p:childTnLst>
                                </p:cTn>
                              </p:par>
                            </p:childTnLst>
                          </p:cTn>
                        </p:par>
                        <p:par>
                          <p:cTn id="44" fill="hold">
                            <p:stCondLst>
                              <p:cond delay="1000"/>
                            </p:stCondLst>
                            <p:childTnLst>
                              <p:par>
                                <p:cTn id="45" presetID="22" presetClass="entr" presetSubtype="4" fill="hold" grpId="0" nodeType="after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down)">
                                      <p:cBhvr>
                                        <p:cTn id="4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5" grpId="0" animBg="1"/>
      <p:bldP spid="10" grpId="0" animBg="1"/>
      <p:bldP spid="14" grpId="0"/>
      <p:bldP spid="25" grpId="0"/>
      <p:bldP spid="27" grpId="0"/>
      <p:bldP spid="29" grpId="0" animBg="1"/>
      <p:bldP spid="30" grpId="0" animBg="1"/>
      <p:bldP spid="31" grpId="0" animBg="1"/>
      <p:bldP spid="32" grpId="0" animBg="1"/>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B809EF98-B515-4385-8877-783454CF57CE}"/>
              </a:ext>
            </a:extLst>
          </p:cNvPr>
          <p:cNvSpPr/>
          <p:nvPr/>
        </p:nvSpPr>
        <p:spPr>
          <a:xfrm>
            <a:off x="986599" y="1399362"/>
            <a:ext cx="3030865" cy="612234"/>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latin typeface="Calibri" panose="020F0502020204030204" pitchFamily="34" charset="0"/>
                <a:cs typeface="Calibri" panose="020F0502020204030204" pitchFamily="34" charset="0"/>
              </a:rPr>
              <a:t>Handhabung</a:t>
            </a:r>
          </a:p>
        </p:txBody>
      </p:sp>
      <p:sp>
        <p:nvSpPr>
          <p:cNvPr id="13" name="Rectangle: Rounded Corners 12">
            <a:extLst>
              <a:ext uri="{FF2B5EF4-FFF2-40B4-BE49-F238E27FC236}">
                <a16:creationId xmlns:a16="http://schemas.microsoft.com/office/drawing/2014/main" id="{38BAFD34-54CA-404D-9E79-43E76CE3808C}"/>
              </a:ext>
            </a:extLst>
          </p:cNvPr>
          <p:cNvSpPr/>
          <p:nvPr/>
        </p:nvSpPr>
        <p:spPr>
          <a:xfrm>
            <a:off x="4804467" y="1167696"/>
            <a:ext cx="6716079" cy="1090729"/>
          </a:xfrm>
          <a:prstGeom prst="roundRect">
            <a:avLst>
              <a:gd name="adj" fmla="val 50000"/>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Handlauf immer benutzen </a:t>
            </a:r>
          </a:p>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Stufen nie übergehen oder rennen </a:t>
            </a:r>
          </a:p>
        </p:txBody>
      </p:sp>
      <p:grpSp>
        <p:nvGrpSpPr>
          <p:cNvPr id="17" name="Group 16">
            <a:extLst>
              <a:ext uri="{FF2B5EF4-FFF2-40B4-BE49-F238E27FC236}">
                <a16:creationId xmlns:a16="http://schemas.microsoft.com/office/drawing/2014/main" id="{AA6AC2C2-AF94-47C2-A0F3-13354B295C60}"/>
              </a:ext>
            </a:extLst>
          </p:cNvPr>
          <p:cNvGrpSpPr/>
          <p:nvPr/>
        </p:nvGrpSpPr>
        <p:grpSpPr>
          <a:xfrm>
            <a:off x="4160022" y="1605905"/>
            <a:ext cx="501887" cy="107155"/>
            <a:chOff x="3990975" y="3990977"/>
            <a:chExt cx="501887" cy="107155"/>
          </a:xfrm>
        </p:grpSpPr>
        <p:cxnSp>
          <p:nvCxnSpPr>
            <p:cNvPr id="18" name="Straight Connector 17">
              <a:extLst>
                <a:ext uri="{FF2B5EF4-FFF2-40B4-BE49-F238E27FC236}">
                  <a16:creationId xmlns:a16="http://schemas.microsoft.com/office/drawing/2014/main" id="{D64DDB68-60C7-47DB-9350-9D166191D3AE}"/>
                </a:ext>
              </a:extLst>
            </p:cNvPr>
            <p:cNvCxnSpPr>
              <a:cxnSpLocks/>
            </p:cNvCxnSpPr>
            <p:nvPr/>
          </p:nvCxnSpPr>
          <p:spPr>
            <a:xfrm>
              <a:off x="3990975" y="4098132"/>
              <a:ext cx="5018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05EB7DA-FDB5-4DF1-A82B-8F7B3601FCDC}"/>
                </a:ext>
              </a:extLst>
            </p:cNvPr>
            <p:cNvCxnSpPr>
              <a:cxnSpLocks/>
            </p:cNvCxnSpPr>
            <p:nvPr/>
          </p:nvCxnSpPr>
          <p:spPr>
            <a:xfrm flipH="1" flipV="1">
              <a:off x="4297600" y="3990977"/>
              <a:ext cx="190500" cy="107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Rectangle: Rounded Corners 19">
            <a:extLst>
              <a:ext uri="{FF2B5EF4-FFF2-40B4-BE49-F238E27FC236}">
                <a16:creationId xmlns:a16="http://schemas.microsoft.com/office/drawing/2014/main" id="{F91BBD72-7FB3-4B9C-BECC-214E9A36FB62}"/>
              </a:ext>
            </a:extLst>
          </p:cNvPr>
          <p:cNvSpPr/>
          <p:nvPr/>
        </p:nvSpPr>
        <p:spPr>
          <a:xfrm>
            <a:off x="986599" y="2719217"/>
            <a:ext cx="3030865" cy="612234"/>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b="1" dirty="0"/>
              <a:t>Bodenbeschaffenheit</a:t>
            </a:r>
            <a:endParaRPr lang="de-DE" sz="2000" dirty="0">
              <a:latin typeface="Calibri" panose="020F0502020204030204" pitchFamily="34" charset="0"/>
              <a:cs typeface="Calibri" panose="020F0502020204030204" pitchFamily="34" charset="0"/>
            </a:endParaRPr>
          </a:p>
        </p:txBody>
      </p:sp>
      <p:sp>
        <p:nvSpPr>
          <p:cNvPr id="21" name="Rectangle: Rounded Corners 20">
            <a:extLst>
              <a:ext uri="{FF2B5EF4-FFF2-40B4-BE49-F238E27FC236}">
                <a16:creationId xmlns:a16="http://schemas.microsoft.com/office/drawing/2014/main" id="{7B79FCAB-BE10-4AEB-8559-E952611AED61}"/>
              </a:ext>
            </a:extLst>
          </p:cNvPr>
          <p:cNvSpPr/>
          <p:nvPr/>
        </p:nvSpPr>
        <p:spPr>
          <a:xfrm>
            <a:off x="4804467" y="2479973"/>
            <a:ext cx="6663633" cy="1090723"/>
          </a:xfrm>
          <a:prstGeom prst="roundRect">
            <a:avLst>
              <a:gd name="adj" fmla="val 50000"/>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Rutschhemmende Oberflächen prüfen und bei Bedarf anbringen </a:t>
            </a:r>
          </a:p>
        </p:txBody>
      </p:sp>
      <p:grpSp>
        <p:nvGrpSpPr>
          <p:cNvPr id="22" name="Group 21">
            <a:extLst>
              <a:ext uri="{FF2B5EF4-FFF2-40B4-BE49-F238E27FC236}">
                <a16:creationId xmlns:a16="http://schemas.microsoft.com/office/drawing/2014/main" id="{9ACD4F6A-B291-4008-9E1B-8680FBD6C49D}"/>
              </a:ext>
            </a:extLst>
          </p:cNvPr>
          <p:cNvGrpSpPr/>
          <p:nvPr/>
        </p:nvGrpSpPr>
        <p:grpSpPr>
          <a:xfrm>
            <a:off x="4160022" y="2918179"/>
            <a:ext cx="501887" cy="107155"/>
            <a:chOff x="3990975" y="3990977"/>
            <a:chExt cx="501887" cy="107155"/>
          </a:xfrm>
        </p:grpSpPr>
        <p:cxnSp>
          <p:nvCxnSpPr>
            <p:cNvPr id="23" name="Straight Connector 22">
              <a:extLst>
                <a:ext uri="{FF2B5EF4-FFF2-40B4-BE49-F238E27FC236}">
                  <a16:creationId xmlns:a16="http://schemas.microsoft.com/office/drawing/2014/main" id="{CC89379B-640B-4C3A-9C2D-51D3B3A20AF3}"/>
                </a:ext>
              </a:extLst>
            </p:cNvPr>
            <p:cNvCxnSpPr>
              <a:cxnSpLocks/>
            </p:cNvCxnSpPr>
            <p:nvPr/>
          </p:nvCxnSpPr>
          <p:spPr>
            <a:xfrm>
              <a:off x="3990975" y="4098132"/>
              <a:ext cx="5018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0E252E5-EA67-4D10-8D9A-19A32E206044}"/>
                </a:ext>
              </a:extLst>
            </p:cNvPr>
            <p:cNvCxnSpPr>
              <a:cxnSpLocks/>
            </p:cNvCxnSpPr>
            <p:nvPr/>
          </p:nvCxnSpPr>
          <p:spPr>
            <a:xfrm flipH="1" flipV="1">
              <a:off x="4297600" y="3990977"/>
              <a:ext cx="190500" cy="107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4512561-6161-105B-8CBD-BFF2DDAA6F4A}"/>
              </a:ext>
            </a:extLst>
          </p:cNvPr>
          <p:cNvSpPr txBox="1">
            <a:spLocks/>
          </p:cNvSpPr>
          <p:nvPr/>
        </p:nvSpPr>
        <p:spPr>
          <a:xfrm>
            <a:off x="986599" y="41747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a:solidFill>
                  <a:srgbClr val="004D7A"/>
                </a:solidFill>
                <a:latin typeface="Calibri" panose="020F0502020204030204" pitchFamily="34" charset="0"/>
                <a:cs typeface="Calibri" panose="020F0502020204030204" pitchFamily="34" charset="0"/>
              </a:rPr>
              <a:t>Das </a:t>
            </a:r>
            <a:r>
              <a:rPr lang="en-US" sz="4400" kern="0" dirty="0" err="1">
                <a:solidFill>
                  <a:srgbClr val="004D7A"/>
                </a:solidFill>
                <a:latin typeface="Calibri" panose="020F0502020204030204" pitchFamily="34" charset="0"/>
                <a:cs typeface="Calibri" panose="020F0502020204030204" pitchFamily="34" charset="0"/>
              </a:rPr>
              <a:t>können</a:t>
            </a:r>
            <a:r>
              <a:rPr lang="en-US" sz="4400" kern="0" dirty="0">
                <a:solidFill>
                  <a:srgbClr val="004D7A"/>
                </a:solidFill>
                <a:latin typeface="Calibri" panose="020F0502020204030204" pitchFamily="34" charset="0"/>
                <a:cs typeface="Calibri" panose="020F0502020204030204" pitchFamily="34" charset="0"/>
              </a:rPr>
              <a:t> Sie tu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5" name="Rectangle 11">
            <a:extLst>
              <a:ext uri="{FF2B5EF4-FFF2-40B4-BE49-F238E27FC236}">
                <a16:creationId xmlns:a16="http://schemas.microsoft.com/office/drawing/2014/main" id="{60FD2A99-7F73-B3BD-C872-51EB70746D4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6" name="TextBox 13">
            <a:extLst>
              <a:ext uri="{FF2B5EF4-FFF2-40B4-BE49-F238E27FC236}">
                <a16:creationId xmlns:a16="http://schemas.microsoft.com/office/drawing/2014/main" id="{71D37115-FDB3-9A95-9999-19869A0D0528}"/>
              </a:ext>
            </a:extLst>
          </p:cNvPr>
          <p:cNvSpPr txBox="1"/>
          <p:nvPr/>
        </p:nvSpPr>
        <p:spPr>
          <a:xfrm>
            <a:off x="11520546"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6</a:t>
            </a:r>
          </a:p>
        </p:txBody>
      </p:sp>
      <p:sp>
        <p:nvSpPr>
          <p:cNvPr id="7" name="Rectangle: Rounded Corners 19">
            <a:extLst>
              <a:ext uri="{FF2B5EF4-FFF2-40B4-BE49-F238E27FC236}">
                <a16:creationId xmlns:a16="http://schemas.microsoft.com/office/drawing/2014/main" id="{5048D197-1975-7EFA-0E66-97BD62D3063E}"/>
              </a:ext>
            </a:extLst>
          </p:cNvPr>
          <p:cNvSpPr/>
          <p:nvPr/>
        </p:nvSpPr>
        <p:spPr>
          <a:xfrm>
            <a:off x="986599" y="4031490"/>
            <a:ext cx="3030865" cy="612234"/>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b="1" dirty="0"/>
              <a:t>Ordnung &amp; Sauberkeit</a:t>
            </a:r>
            <a:endParaRPr lang="de-DE" sz="2000" b="1" dirty="0">
              <a:latin typeface="Calibri" panose="020F0502020204030204" pitchFamily="34" charset="0"/>
              <a:cs typeface="Calibri" panose="020F0502020204030204" pitchFamily="34" charset="0"/>
            </a:endParaRPr>
          </a:p>
        </p:txBody>
      </p:sp>
      <p:sp>
        <p:nvSpPr>
          <p:cNvPr id="8" name="Rectangle: Rounded Corners 20">
            <a:extLst>
              <a:ext uri="{FF2B5EF4-FFF2-40B4-BE49-F238E27FC236}">
                <a16:creationId xmlns:a16="http://schemas.microsoft.com/office/drawing/2014/main" id="{BA6EF137-77F5-ED09-1915-D8A963BF238C}"/>
              </a:ext>
            </a:extLst>
          </p:cNvPr>
          <p:cNvSpPr/>
          <p:nvPr/>
        </p:nvSpPr>
        <p:spPr>
          <a:xfrm>
            <a:off x="4804467" y="3792246"/>
            <a:ext cx="6663633" cy="1090723"/>
          </a:xfrm>
          <a:prstGeom prst="roundRect">
            <a:avLst>
              <a:gd name="adj" fmla="val 50000"/>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Treppen und Rampen frei halten </a:t>
            </a:r>
          </a:p>
        </p:txBody>
      </p:sp>
      <p:grpSp>
        <p:nvGrpSpPr>
          <p:cNvPr id="9" name="Group 21">
            <a:extLst>
              <a:ext uri="{FF2B5EF4-FFF2-40B4-BE49-F238E27FC236}">
                <a16:creationId xmlns:a16="http://schemas.microsoft.com/office/drawing/2014/main" id="{387FF955-DB8A-189A-AA4E-7DA82E225673}"/>
              </a:ext>
            </a:extLst>
          </p:cNvPr>
          <p:cNvGrpSpPr/>
          <p:nvPr/>
        </p:nvGrpSpPr>
        <p:grpSpPr>
          <a:xfrm>
            <a:off x="4160022" y="4230452"/>
            <a:ext cx="501887" cy="107155"/>
            <a:chOff x="3990975" y="3990977"/>
            <a:chExt cx="501887" cy="107155"/>
          </a:xfrm>
        </p:grpSpPr>
        <p:cxnSp>
          <p:nvCxnSpPr>
            <p:cNvPr id="10" name="Straight Connector 22">
              <a:extLst>
                <a:ext uri="{FF2B5EF4-FFF2-40B4-BE49-F238E27FC236}">
                  <a16:creationId xmlns:a16="http://schemas.microsoft.com/office/drawing/2014/main" id="{7111150A-CA74-BC5C-842D-4FAB89F5F2C6}"/>
                </a:ext>
              </a:extLst>
            </p:cNvPr>
            <p:cNvCxnSpPr>
              <a:cxnSpLocks/>
            </p:cNvCxnSpPr>
            <p:nvPr/>
          </p:nvCxnSpPr>
          <p:spPr>
            <a:xfrm>
              <a:off x="3990975" y="4098132"/>
              <a:ext cx="5018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23">
              <a:extLst>
                <a:ext uri="{FF2B5EF4-FFF2-40B4-BE49-F238E27FC236}">
                  <a16:creationId xmlns:a16="http://schemas.microsoft.com/office/drawing/2014/main" id="{49081F97-2746-3583-EEF9-24127B78EACF}"/>
                </a:ext>
              </a:extLst>
            </p:cNvPr>
            <p:cNvCxnSpPr>
              <a:cxnSpLocks/>
            </p:cNvCxnSpPr>
            <p:nvPr/>
          </p:nvCxnSpPr>
          <p:spPr>
            <a:xfrm flipH="1" flipV="1">
              <a:off x="4297600" y="3990977"/>
              <a:ext cx="190500" cy="107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Rectangle: Rounded Corners 19">
            <a:extLst>
              <a:ext uri="{FF2B5EF4-FFF2-40B4-BE49-F238E27FC236}">
                <a16:creationId xmlns:a16="http://schemas.microsoft.com/office/drawing/2014/main" id="{E02CD1BF-B643-1A9B-2C72-1819291CA6A8}"/>
              </a:ext>
            </a:extLst>
          </p:cNvPr>
          <p:cNvSpPr/>
          <p:nvPr/>
        </p:nvSpPr>
        <p:spPr>
          <a:xfrm>
            <a:off x="986599" y="5343763"/>
            <a:ext cx="3030865" cy="612234"/>
          </a:xfrm>
          <a:prstGeom prst="roundRect">
            <a:avLst>
              <a:gd name="adj" fmla="val 50000"/>
            </a:avLst>
          </a:prstGeom>
          <a:solidFill>
            <a:srgbClr val="193560"/>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r>
              <a:rPr lang="de-DE" sz="2000" b="1" dirty="0">
                <a:solidFill>
                  <a:schemeClr val="bg1"/>
                </a:solidFill>
              </a:rPr>
              <a:t>Witterung &amp; Umgebung</a:t>
            </a:r>
            <a:endParaRPr lang="de-DE" sz="2000" dirty="0">
              <a:solidFill>
                <a:schemeClr val="bg1"/>
              </a:solidFill>
            </a:endParaRPr>
          </a:p>
        </p:txBody>
      </p:sp>
      <p:sp>
        <p:nvSpPr>
          <p:cNvPr id="15" name="Rectangle: Rounded Corners 20">
            <a:extLst>
              <a:ext uri="{FF2B5EF4-FFF2-40B4-BE49-F238E27FC236}">
                <a16:creationId xmlns:a16="http://schemas.microsoft.com/office/drawing/2014/main" id="{B0B2FADF-6FEB-F9CC-7DC4-95C3242937FC}"/>
              </a:ext>
            </a:extLst>
          </p:cNvPr>
          <p:cNvSpPr/>
          <p:nvPr/>
        </p:nvSpPr>
        <p:spPr>
          <a:xfrm>
            <a:off x="4804467" y="5104519"/>
            <a:ext cx="6716079" cy="1090723"/>
          </a:xfrm>
          <a:prstGeom prst="roundRect">
            <a:avLst>
              <a:gd name="adj" fmla="val 50000"/>
            </a:avLst>
          </a:prstGeom>
          <a:solidFill>
            <a:schemeClr val="bg1"/>
          </a:solidFill>
          <a:ln>
            <a:noFill/>
          </a:ln>
          <a:effectLst>
            <a:outerShdw blurRad="12700" dist="127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marL="342900" indent="-342900">
              <a:buFont typeface="Arial" panose="020B0604020202020204" pitchFamily="34" charset="0"/>
              <a:buChar char="•"/>
            </a:pPr>
            <a:r>
              <a:rPr lang="de-DE" dirty="0">
                <a:solidFill>
                  <a:srgbClr val="000000"/>
                </a:solidFill>
                <a:latin typeface="Calibri" panose="020F0502020204030204" pitchFamily="34" charset="0"/>
                <a:cs typeface="Calibri" panose="020F0502020204030204" pitchFamily="34" charset="0"/>
              </a:rPr>
              <a:t>Auf nasse oder vereiste Flächen achten </a:t>
            </a:r>
          </a:p>
        </p:txBody>
      </p:sp>
      <p:grpSp>
        <p:nvGrpSpPr>
          <p:cNvPr id="16" name="Group 21">
            <a:extLst>
              <a:ext uri="{FF2B5EF4-FFF2-40B4-BE49-F238E27FC236}">
                <a16:creationId xmlns:a16="http://schemas.microsoft.com/office/drawing/2014/main" id="{9DDEA9D4-110D-EC19-8FB8-EA5C4332EF1E}"/>
              </a:ext>
            </a:extLst>
          </p:cNvPr>
          <p:cNvGrpSpPr/>
          <p:nvPr/>
        </p:nvGrpSpPr>
        <p:grpSpPr>
          <a:xfrm>
            <a:off x="4160022" y="5542725"/>
            <a:ext cx="501887" cy="107155"/>
            <a:chOff x="3990975" y="3990977"/>
            <a:chExt cx="501887" cy="107155"/>
          </a:xfrm>
        </p:grpSpPr>
        <p:cxnSp>
          <p:nvCxnSpPr>
            <p:cNvPr id="35" name="Straight Connector 22">
              <a:extLst>
                <a:ext uri="{FF2B5EF4-FFF2-40B4-BE49-F238E27FC236}">
                  <a16:creationId xmlns:a16="http://schemas.microsoft.com/office/drawing/2014/main" id="{55301ED9-A742-ABC9-1A25-B526E2C4231D}"/>
                </a:ext>
              </a:extLst>
            </p:cNvPr>
            <p:cNvCxnSpPr>
              <a:cxnSpLocks/>
            </p:cNvCxnSpPr>
            <p:nvPr/>
          </p:nvCxnSpPr>
          <p:spPr>
            <a:xfrm>
              <a:off x="3990975" y="4098132"/>
              <a:ext cx="5018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23">
              <a:extLst>
                <a:ext uri="{FF2B5EF4-FFF2-40B4-BE49-F238E27FC236}">
                  <a16:creationId xmlns:a16="http://schemas.microsoft.com/office/drawing/2014/main" id="{CBEC0C1E-0212-2A4A-4708-9E955B4788FC}"/>
                </a:ext>
              </a:extLst>
            </p:cNvPr>
            <p:cNvCxnSpPr>
              <a:cxnSpLocks/>
            </p:cNvCxnSpPr>
            <p:nvPr/>
          </p:nvCxnSpPr>
          <p:spPr>
            <a:xfrm flipH="1" flipV="1">
              <a:off x="4297600" y="3990977"/>
              <a:ext cx="190500" cy="107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6797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0-#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60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1000"/>
                                        <p:tgtEl>
                                          <p:spTgt spid="17"/>
                                        </p:tgtEl>
                                      </p:cBhvr>
                                    </p:animEffect>
                                  </p:childTnLst>
                                </p:cTn>
                              </p:par>
                              <p:par>
                                <p:cTn id="12" presetID="2" presetClass="entr" presetSubtype="2" decel="100000" fill="hold" grpId="0" nodeType="withEffect">
                                  <p:stCondLst>
                                    <p:cond delay="60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1000" fill="hold"/>
                                        <p:tgtEl>
                                          <p:spTgt spid="13"/>
                                        </p:tgtEl>
                                        <p:attrNameLst>
                                          <p:attrName>ppt_x</p:attrName>
                                        </p:attrNameLst>
                                      </p:cBhvr>
                                      <p:tavLst>
                                        <p:tav tm="0">
                                          <p:val>
                                            <p:strVal val="1+#ppt_w/2"/>
                                          </p:val>
                                        </p:tav>
                                        <p:tav tm="100000">
                                          <p:val>
                                            <p:strVal val="#ppt_x"/>
                                          </p:val>
                                        </p:tav>
                                      </p:tavLst>
                                    </p:anim>
                                    <p:anim calcmode="lin" valueType="num">
                                      <p:cBhvr additive="base">
                                        <p:cTn id="15" dur="10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8" decel="10000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1000" fill="hold"/>
                                        <p:tgtEl>
                                          <p:spTgt spid="20"/>
                                        </p:tgtEl>
                                        <p:attrNameLst>
                                          <p:attrName>ppt_x</p:attrName>
                                        </p:attrNameLst>
                                      </p:cBhvr>
                                      <p:tavLst>
                                        <p:tav tm="0">
                                          <p:val>
                                            <p:strVal val="0-#ppt_w/2"/>
                                          </p:val>
                                        </p:tav>
                                        <p:tav tm="100000">
                                          <p:val>
                                            <p:strVal val="#ppt_x"/>
                                          </p:val>
                                        </p:tav>
                                      </p:tavLst>
                                    </p:anim>
                                    <p:anim calcmode="lin" valueType="num">
                                      <p:cBhvr additive="base">
                                        <p:cTn id="21" dur="1000" fill="hold"/>
                                        <p:tgtEl>
                                          <p:spTgt spid="20"/>
                                        </p:tgtEl>
                                        <p:attrNameLst>
                                          <p:attrName>ppt_y</p:attrName>
                                        </p:attrNameLst>
                                      </p:cBhvr>
                                      <p:tavLst>
                                        <p:tav tm="0">
                                          <p:val>
                                            <p:strVal val="#ppt_y"/>
                                          </p:val>
                                        </p:tav>
                                        <p:tav tm="100000">
                                          <p:val>
                                            <p:strVal val="#ppt_y"/>
                                          </p:val>
                                        </p:tav>
                                      </p:tavLst>
                                    </p:anim>
                                  </p:childTnLst>
                                </p:cTn>
                              </p:par>
                              <p:par>
                                <p:cTn id="22" presetID="22" presetClass="entr" presetSubtype="8" fill="hold" nodeType="withEffect">
                                  <p:stCondLst>
                                    <p:cond delay="1000"/>
                                  </p:stCondLst>
                                  <p:childTnLst>
                                    <p:set>
                                      <p:cBhvr>
                                        <p:cTn id="23" dur="1" fill="hold">
                                          <p:stCondLst>
                                            <p:cond delay="0"/>
                                          </p:stCondLst>
                                        </p:cTn>
                                        <p:tgtEl>
                                          <p:spTgt spid="22"/>
                                        </p:tgtEl>
                                        <p:attrNameLst>
                                          <p:attrName>style.visibility</p:attrName>
                                        </p:attrNameLst>
                                      </p:cBhvr>
                                      <p:to>
                                        <p:strVal val="visible"/>
                                      </p:to>
                                    </p:set>
                                    <p:animEffect transition="in" filter="wipe(left)">
                                      <p:cBhvr>
                                        <p:cTn id="24" dur="1000"/>
                                        <p:tgtEl>
                                          <p:spTgt spid="22"/>
                                        </p:tgtEl>
                                      </p:cBhvr>
                                    </p:animEffect>
                                  </p:childTnLst>
                                </p:cTn>
                              </p:par>
                              <p:par>
                                <p:cTn id="25" presetID="2" presetClass="entr" presetSubtype="2" decel="100000" fill="hold" grpId="0" nodeType="withEffect">
                                  <p:stCondLst>
                                    <p:cond delay="150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1000" fill="hold"/>
                                        <p:tgtEl>
                                          <p:spTgt spid="21"/>
                                        </p:tgtEl>
                                        <p:attrNameLst>
                                          <p:attrName>ppt_x</p:attrName>
                                        </p:attrNameLst>
                                      </p:cBhvr>
                                      <p:tavLst>
                                        <p:tav tm="0">
                                          <p:val>
                                            <p:strVal val="1+#ppt_w/2"/>
                                          </p:val>
                                        </p:tav>
                                        <p:tav tm="100000">
                                          <p:val>
                                            <p:strVal val="#ppt_x"/>
                                          </p:val>
                                        </p:tav>
                                      </p:tavLst>
                                    </p:anim>
                                    <p:anim calcmode="lin" valueType="num">
                                      <p:cBhvr additive="base">
                                        <p:cTn id="28" dur="10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decel="100000"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1000" fill="hold"/>
                                        <p:tgtEl>
                                          <p:spTgt spid="7"/>
                                        </p:tgtEl>
                                        <p:attrNameLst>
                                          <p:attrName>ppt_x</p:attrName>
                                        </p:attrNameLst>
                                      </p:cBhvr>
                                      <p:tavLst>
                                        <p:tav tm="0">
                                          <p:val>
                                            <p:strVal val="0-#ppt_w/2"/>
                                          </p:val>
                                        </p:tav>
                                        <p:tav tm="100000">
                                          <p:val>
                                            <p:strVal val="#ppt_x"/>
                                          </p:val>
                                        </p:tav>
                                      </p:tavLst>
                                    </p:anim>
                                    <p:anim calcmode="lin" valueType="num">
                                      <p:cBhvr additive="base">
                                        <p:cTn id="34" dur="1000" fill="hold"/>
                                        <p:tgtEl>
                                          <p:spTgt spid="7"/>
                                        </p:tgtEl>
                                        <p:attrNameLst>
                                          <p:attrName>ppt_y</p:attrName>
                                        </p:attrNameLst>
                                      </p:cBhvr>
                                      <p:tavLst>
                                        <p:tav tm="0">
                                          <p:val>
                                            <p:strVal val="#ppt_y"/>
                                          </p:val>
                                        </p:tav>
                                        <p:tav tm="100000">
                                          <p:val>
                                            <p:strVal val="#ppt_y"/>
                                          </p:val>
                                        </p:tav>
                                      </p:tavLst>
                                    </p:anim>
                                  </p:childTnLst>
                                </p:cTn>
                              </p:par>
                              <p:par>
                                <p:cTn id="35" presetID="22" presetClass="entr" presetSubtype="8" fill="hold" nodeType="withEffect">
                                  <p:stCondLst>
                                    <p:cond delay="1000"/>
                                  </p:stCondLst>
                                  <p:childTnLst>
                                    <p:set>
                                      <p:cBhvr>
                                        <p:cTn id="36" dur="1" fill="hold">
                                          <p:stCondLst>
                                            <p:cond delay="0"/>
                                          </p:stCondLst>
                                        </p:cTn>
                                        <p:tgtEl>
                                          <p:spTgt spid="9"/>
                                        </p:tgtEl>
                                        <p:attrNameLst>
                                          <p:attrName>style.visibility</p:attrName>
                                        </p:attrNameLst>
                                      </p:cBhvr>
                                      <p:to>
                                        <p:strVal val="visible"/>
                                      </p:to>
                                    </p:set>
                                    <p:animEffect transition="in" filter="wipe(left)">
                                      <p:cBhvr>
                                        <p:cTn id="37" dur="1000"/>
                                        <p:tgtEl>
                                          <p:spTgt spid="9"/>
                                        </p:tgtEl>
                                      </p:cBhvr>
                                    </p:animEffect>
                                  </p:childTnLst>
                                </p:cTn>
                              </p:par>
                              <p:par>
                                <p:cTn id="38" presetID="2" presetClass="entr" presetSubtype="2" decel="100000" fill="hold" grpId="0" nodeType="withEffect">
                                  <p:stCondLst>
                                    <p:cond delay="1500"/>
                                  </p:stCondLst>
                                  <p:childTnLst>
                                    <p:set>
                                      <p:cBhvr>
                                        <p:cTn id="39" dur="1" fill="hold">
                                          <p:stCondLst>
                                            <p:cond delay="0"/>
                                          </p:stCondLst>
                                        </p:cTn>
                                        <p:tgtEl>
                                          <p:spTgt spid="8"/>
                                        </p:tgtEl>
                                        <p:attrNameLst>
                                          <p:attrName>style.visibility</p:attrName>
                                        </p:attrNameLst>
                                      </p:cBhvr>
                                      <p:to>
                                        <p:strVal val="visible"/>
                                      </p:to>
                                    </p:set>
                                    <p:anim calcmode="lin" valueType="num">
                                      <p:cBhvr additive="base">
                                        <p:cTn id="40" dur="1000" fill="hold"/>
                                        <p:tgtEl>
                                          <p:spTgt spid="8"/>
                                        </p:tgtEl>
                                        <p:attrNameLst>
                                          <p:attrName>ppt_x</p:attrName>
                                        </p:attrNameLst>
                                      </p:cBhvr>
                                      <p:tavLst>
                                        <p:tav tm="0">
                                          <p:val>
                                            <p:strVal val="1+#ppt_w/2"/>
                                          </p:val>
                                        </p:tav>
                                        <p:tav tm="100000">
                                          <p:val>
                                            <p:strVal val="#ppt_x"/>
                                          </p:val>
                                        </p:tav>
                                      </p:tavLst>
                                    </p:anim>
                                    <p:anim calcmode="lin" valueType="num">
                                      <p:cBhvr additive="base">
                                        <p:cTn id="41" dur="1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grpId="0"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additive="base">
                                        <p:cTn id="46" dur="1000" fill="hold"/>
                                        <p:tgtEl>
                                          <p:spTgt spid="14"/>
                                        </p:tgtEl>
                                        <p:attrNameLst>
                                          <p:attrName>ppt_x</p:attrName>
                                        </p:attrNameLst>
                                      </p:cBhvr>
                                      <p:tavLst>
                                        <p:tav tm="0">
                                          <p:val>
                                            <p:strVal val="0-#ppt_w/2"/>
                                          </p:val>
                                        </p:tav>
                                        <p:tav tm="100000">
                                          <p:val>
                                            <p:strVal val="#ppt_x"/>
                                          </p:val>
                                        </p:tav>
                                      </p:tavLst>
                                    </p:anim>
                                    <p:anim calcmode="lin" valueType="num">
                                      <p:cBhvr additive="base">
                                        <p:cTn id="47" dur="1000" fill="hold"/>
                                        <p:tgtEl>
                                          <p:spTgt spid="14"/>
                                        </p:tgtEl>
                                        <p:attrNameLst>
                                          <p:attrName>ppt_y</p:attrName>
                                        </p:attrNameLst>
                                      </p:cBhvr>
                                      <p:tavLst>
                                        <p:tav tm="0">
                                          <p:val>
                                            <p:strVal val="#ppt_y"/>
                                          </p:val>
                                        </p:tav>
                                        <p:tav tm="100000">
                                          <p:val>
                                            <p:strVal val="#ppt_y"/>
                                          </p:val>
                                        </p:tav>
                                      </p:tavLst>
                                    </p:anim>
                                  </p:childTnLst>
                                </p:cTn>
                              </p:par>
                              <p:par>
                                <p:cTn id="48" presetID="22" presetClass="entr" presetSubtype="8" fill="hold" nodeType="withEffect">
                                  <p:stCondLst>
                                    <p:cond delay="1000"/>
                                  </p:stCondLst>
                                  <p:childTnLst>
                                    <p:set>
                                      <p:cBhvr>
                                        <p:cTn id="49" dur="1" fill="hold">
                                          <p:stCondLst>
                                            <p:cond delay="0"/>
                                          </p:stCondLst>
                                        </p:cTn>
                                        <p:tgtEl>
                                          <p:spTgt spid="16"/>
                                        </p:tgtEl>
                                        <p:attrNameLst>
                                          <p:attrName>style.visibility</p:attrName>
                                        </p:attrNameLst>
                                      </p:cBhvr>
                                      <p:to>
                                        <p:strVal val="visible"/>
                                      </p:to>
                                    </p:set>
                                    <p:animEffect transition="in" filter="wipe(left)">
                                      <p:cBhvr>
                                        <p:cTn id="50" dur="1000"/>
                                        <p:tgtEl>
                                          <p:spTgt spid="16"/>
                                        </p:tgtEl>
                                      </p:cBhvr>
                                    </p:animEffect>
                                  </p:childTnLst>
                                </p:cTn>
                              </p:par>
                              <p:par>
                                <p:cTn id="51" presetID="2" presetClass="entr" presetSubtype="2" decel="100000" fill="hold" grpId="0" nodeType="withEffect">
                                  <p:stCondLst>
                                    <p:cond delay="1500"/>
                                  </p:stCondLst>
                                  <p:childTnLst>
                                    <p:set>
                                      <p:cBhvr>
                                        <p:cTn id="52" dur="1" fill="hold">
                                          <p:stCondLst>
                                            <p:cond delay="0"/>
                                          </p:stCondLst>
                                        </p:cTn>
                                        <p:tgtEl>
                                          <p:spTgt spid="15"/>
                                        </p:tgtEl>
                                        <p:attrNameLst>
                                          <p:attrName>style.visibility</p:attrName>
                                        </p:attrNameLst>
                                      </p:cBhvr>
                                      <p:to>
                                        <p:strVal val="visible"/>
                                      </p:to>
                                    </p:set>
                                    <p:anim calcmode="lin" valueType="num">
                                      <p:cBhvr additive="base">
                                        <p:cTn id="53" dur="1000" fill="hold"/>
                                        <p:tgtEl>
                                          <p:spTgt spid="15"/>
                                        </p:tgtEl>
                                        <p:attrNameLst>
                                          <p:attrName>ppt_x</p:attrName>
                                        </p:attrNameLst>
                                      </p:cBhvr>
                                      <p:tavLst>
                                        <p:tav tm="0">
                                          <p:val>
                                            <p:strVal val="1+#ppt_w/2"/>
                                          </p:val>
                                        </p:tav>
                                        <p:tav tm="100000">
                                          <p:val>
                                            <p:strVal val="#ppt_x"/>
                                          </p:val>
                                        </p:tav>
                                      </p:tavLst>
                                    </p:anim>
                                    <p:anim calcmode="lin" valueType="num">
                                      <p:cBhvr additive="base">
                                        <p:cTn id="54"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0" grpId="0" animBg="1"/>
      <p:bldP spid="21" grpId="0" animBg="1"/>
      <p:bldP spid="7" grpId="0" animBg="1"/>
      <p:bldP spid="8" grpId="0" animBg="1"/>
      <p:bldP spid="14" grpId="0" animBg="1"/>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D8007CA1-6663-460E-8175-E7A8DEC989EE}"/>
              </a:ext>
            </a:extLst>
          </p:cNvPr>
          <p:cNvSpPr/>
          <p:nvPr/>
        </p:nvSpPr>
        <p:spPr>
          <a:xfrm>
            <a:off x="8871400" y="2290762"/>
            <a:ext cx="2921655" cy="2276475"/>
          </a:xfrm>
          <a:prstGeom prst="roundRect">
            <a:avLst>
              <a:gd name="adj" fmla="val 12488"/>
            </a:avLst>
          </a:prstGeom>
          <a:solidFill>
            <a:schemeClr val="accent4"/>
          </a:solidFill>
          <a:ln>
            <a:noFill/>
          </a:ln>
          <a:effectLst>
            <a:outerShdw blurRad="381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bIns="274320" rtlCol="0" anchor="b" anchorCtr="0"/>
          <a:lstStyle/>
          <a:p>
            <a:pPr algn="ctr" fontAlgn="base"/>
            <a:r>
              <a:rPr lang="de-DE" dirty="0"/>
              <a:t>Regelmäßige </a:t>
            </a:r>
          </a:p>
          <a:p>
            <a:pPr algn="ctr" fontAlgn="base"/>
            <a:r>
              <a:rPr lang="de-DE" b="1" dirty="0"/>
              <a:t>Unterweisungen</a:t>
            </a:r>
          </a:p>
          <a:p>
            <a:pPr algn="ctr" fontAlgn="base"/>
            <a:r>
              <a:rPr lang="de-DE" dirty="0"/>
              <a:t> erhöhen die Sicherheit. </a:t>
            </a:r>
          </a:p>
          <a:p>
            <a:pPr algn="ctr" fontAlgn="base"/>
            <a:endParaRPr lang="de-DE" dirty="0"/>
          </a:p>
        </p:txBody>
      </p:sp>
      <p:sp>
        <p:nvSpPr>
          <p:cNvPr id="4" name="Title 1">
            <a:extLst>
              <a:ext uri="{FF2B5EF4-FFF2-40B4-BE49-F238E27FC236}">
                <a16:creationId xmlns:a16="http://schemas.microsoft.com/office/drawing/2014/main" id="{1B22C1C3-4F31-E2F9-CC50-B1DC84BC0350}"/>
              </a:ext>
            </a:extLst>
          </p:cNvPr>
          <p:cNvSpPr txBox="1">
            <a:spLocks/>
          </p:cNvSpPr>
          <p:nvPr/>
        </p:nvSpPr>
        <p:spPr>
          <a:xfrm>
            <a:off x="986599" y="41747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a:solidFill>
                  <a:srgbClr val="004D7A"/>
                </a:solidFill>
                <a:latin typeface="Calibri" panose="020F0502020204030204" pitchFamily="34" charset="0"/>
                <a:cs typeface="Calibri" panose="020F0502020204030204" pitchFamily="34" charset="0"/>
              </a:rPr>
              <a:t>Auf </a:t>
            </a:r>
            <a:r>
              <a:rPr lang="en-US" sz="4400" kern="0" dirty="0" err="1">
                <a:solidFill>
                  <a:srgbClr val="004D7A"/>
                </a:solidFill>
                <a:latin typeface="Calibri" panose="020F0502020204030204" pitchFamily="34" charset="0"/>
                <a:cs typeface="Calibri" panose="020F0502020204030204" pitchFamily="34" charset="0"/>
              </a:rPr>
              <a:t>einen</a:t>
            </a:r>
            <a:r>
              <a:rPr lang="en-US" sz="4400" kern="0" dirty="0">
                <a:solidFill>
                  <a:srgbClr val="004D7A"/>
                </a:solidFill>
                <a:latin typeface="Calibri" panose="020F0502020204030204" pitchFamily="34" charset="0"/>
                <a:cs typeface="Calibri" panose="020F0502020204030204" pitchFamily="34" charset="0"/>
              </a:rPr>
              <a:t> </a:t>
            </a:r>
            <a:r>
              <a:rPr lang="en-US" sz="4400" kern="0" dirty="0" err="1">
                <a:solidFill>
                  <a:srgbClr val="004D7A"/>
                </a:solidFill>
                <a:latin typeface="Calibri" panose="020F0502020204030204" pitchFamily="34" charset="0"/>
                <a:cs typeface="Calibri" panose="020F0502020204030204" pitchFamily="34" charset="0"/>
              </a:rPr>
              <a:t>Blick</a:t>
            </a:r>
            <a:endParaRPr lang="en-GB" sz="4400" kern="0" dirty="0">
              <a:solidFill>
                <a:srgbClr val="004D7A"/>
              </a:solidFill>
              <a:latin typeface="Calibri" panose="020F0502020204030204" pitchFamily="34" charset="0"/>
              <a:cs typeface="Calibri" panose="020F0502020204030204" pitchFamily="34" charset="0"/>
            </a:endParaRPr>
          </a:p>
        </p:txBody>
      </p:sp>
      <p:sp>
        <p:nvSpPr>
          <p:cNvPr id="5" name="Rectangle 11">
            <a:extLst>
              <a:ext uri="{FF2B5EF4-FFF2-40B4-BE49-F238E27FC236}">
                <a16:creationId xmlns:a16="http://schemas.microsoft.com/office/drawing/2014/main" id="{B69DD23E-015A-5490-CF42-208CA3507A51}"/>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6" name="TextBox 13">
            <a:extLst>
              <a:ext uri="{FF2B5EF4-FFF2-40B4-BE49-F238E27FC236}">
                <a16:creationId xmlns:a16="http://schemas.microsoft.com/office/drawing/2014/main" id="{DAC3809D-5EBA-6C8F-1355-7F6075D14BA2}"/>
              </a:ext>
            </a:extLst>
          </p:cNvPr>
          <p:cNvSpPr txBox="1"/>
          <p:nvPr/>
        </p:nvSpPr>
        <p:spPr>
          <a:xfrm>
            <a:off x="11520546"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7</a:t>
            </a:r>
          </a:p>
        </p:txBody>
      </p:sp>
      <p:sp>
        <p:nvSpPr>
          <p:cNvPr id="7" name="Textfeld 6">
            <a:extLst>
              <a:ext uri="{FF2B5EF4-FFF2-40B4-BE49-F238E27FC236}">
                <a16:creationId xmlns:a16="http://schemas.microsoft.com/office/drawing/2014/main" id="{8A526C04-2B8D-6C4E-4638-18CFDAAFEB15}"/>
              </a:ext>
            </a:extLst>
          </p:cNvPr>
          <p:cNvSpPr txBox="1"/>
          <p:nvPr/>
        </p:nvSpPr>
        <p:spPr>
          <a:xfrm>
            <a:off x="1973559" y="1341349"/>
            <a:ext cx="6154441"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rPr>
              <a:t>Treppen und Rampen nie rennen oder überholen </a:t>
            </a:r>
          </a:p>
        </p:txBody>
      </p:sp>
      <p:sp>
        <p:nvSpPr>
          <p:cNvPr id="8" name="Textfeld 7">
            <a:extLst>
              <a:ext uri="{FF2B5EF4-FFF2-40B4-BE49-F238E27FC236}">
                <a16:creationId xmlns:a16="http://schemas.microsoft.com/office/drawing/2014/main" id="{4FEAE187-E85D-DECB-20EE-973CCF2A0227}"/>
              </a:ext>
            </a:extLst>
          </p:cNvPr>
          <p:cNvSpPr txBox="1"/>
          <p:nvPr/>
        </p:nvSpPr>
        <p:spPr>
          <a:xfrm>
            <a:off x="1973558" y="2463149"/>
            <a:ext cx="6154441" cy="707886"/>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rPr>
              <a:t>Handlauf benutzen </a:t>
            </a:r>
          </a:p>
          <a:p>
            <a:pPr fontAlgn="base"/>
            <a:endParaRPr lang="de-DE" sz="2000" dirty="0">
              <a:latin typeface="Calibri" panose="020F0502020204030204" pitchFamily="34" charset="0"/>
            </a:endParaRPr>
          </a:p>
        </p:txBody>
      </p:sp>
      <p:sp>
        <p:nvSpPr>
          <p:cNvPr id="13" name="Textfeld 12">
            <a:extLst>
              <a:ext uri="{FF2B5EF4-FFF2-40B4-BE49-F238E27FC236}">
                <a16:creationId xmlns:a16="http://schemas.microsoft.com/office/drawing/2014/main" id="{D53FD3D3-E5D1-CD17-3100-6365E51EB75E}"/>
              </a:ext>
            </a:extLst>
          </p:cNvPr>
          <p:cNvSpPr txBox="1"/>
          <p:nvPr/>
        </p:nvSpPr>
        <p:spPr>
          <a:xfrm>
            <a:off x="1973558" y="4451780"/>
            <a:ext cx="6154441"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rPr>
              <a:t>Defekte Treppen sofort kennzeichnen und sperren </a:t>
            </a:r>
          </a:p>
        </p:txBody>
      </p:sp>
      <p:sp>
        <p:nvSpPr>
          <p:cNvPr id="14" name="Textfeld 13">
            <a:extLst>
              <a:ext uri="{FF2B5EF4-FFF2-40B4-BE49-F238E27FC236}">
                <a16:creationId xmlns:a16="http://schemas.microsoft.com/office/drawing/2014/main" id="{6ABD0787-CC2C-8100-D5FC-A81F895F9F79}"/>
              </a:ext>
            </a:extLst>
          </p:cNvPr>
          <p:cNvSpPr txBox="1"/>
          <p:nvPr/>
        </p:nvSpPr>
        <p:spPr>
          <a:xfrm>
            <a:off x="1973558" y="3402496"/>
            <a:ext cx="6154441" cy="400110"/>
          </a:xfrm>
          <a:prstGeom prst="rect">
            <a:avLst/>
          </a:prstGeom>
          <a:noFill/>
        </p:spPr>
        <p:txBody>
          <a:bodyPr wrap="square">
            <a:spAutoFit/>
          </a:bodyPr>
          <a:lstStyle/>
          <a:p>
            <a:pPr fontAlgn="base"/>
            <a:r>
              <a:rPr lang="de-DE" sz="2000" dirty="0">
                <a:solidFill>
                  <a:srgbClr val="000000"/>
                </a:solidFill>
                <a:latin typeface="Calibri" panose="020F0502020204030204" pitchFamily="34" charset="0"/>
              </a:rPr>
              <a:t>Rutschhemmende Oberflächen und freie Wege </a:t>
            </a:r>
          </a:p>
        </p:txBody>
      </p:sp>
      <p:sp>
        <p:nvSpPr>
          <p:cNvPr id="15" name="Textfeld 14">
            <a:extLst>
              <a:ext uri="{FF2B5EF4-FFF2-40B4-BE49-F238E27FC236}">
                <a16:creationId xmlns:a16="http://schemas.microsoft.com/office/drawing/2014/main" id="{07607303-C832-B0DD-EE66-C84014118A11}"/>
              </a:ext>
            </a:extLst>
          </p:cNvPr>
          <p:cNvSpPr txBox="1"/>
          <p:nvPr/>
        </p:nvSpPr>
        <p:spPr>
          <a:xfrm>
            <a:off x="1327961" y="1325915"/>
            <a:ext cx="531341" cy="677108"/>
          </a:xfrm>
          <a:prstGeom prst="rect">
            <a:avLst/>
          </a:prstGeom>
          <a:noFill/>
        </p:spPr>
        <p:txBody>
          <a:bodyPr wrap="square" lIns="0" tIns="0" rIns="0" bIns="0" rtlCol="0">
            <a:spAutoFit/>
          </a:bodyPr>
          <a:lstStyle/>
          <a:p>
            <a:pPr>
              <a:spcBef>
                <a:spcPts val="0"/>
              </a:spcBef>
            </a:pPr>
            <a:r>
              <a:rPr lang="de-DE" sz="4400" dirty="0">
                <a:solidFill>
                  <a:srgbClr val="7FA5BC"/>
                </a:solidFill>
                <a:latin typeface="Calibri" panose="020F0502020204030204" pitchFamily="34" charset="0"/>
                <a:cs typeface="Calibri" panose="020F0502020204030204" pitchFamily="34" charset="0"/>
              </a:rPr>
              <a:t>1</a:t>
            </a:r>
          </a:p>
        </p:txBody>
      </p:sp>
      <p:sp>
        <p:nvSpPr>
          <p:cNvPr id="16" name="Textfeld 15">
            <a:extLst>
              <a:ext uri="{FF2B5EF4-FFF2-40B4-BE49-F238E27FC236}">
                <a16:creationId xmlns:a16="http://schemas.microsoft.com/office/drawing/2014/main" id="{3CB9CBFC-BDE2-DD80-3DD0-FA3A75B81B8D}"/>
              </a:ext>
            </a:extLst>
          </p:cNvPr>
          <p:cNvSpPr txBox="1"/>
          <p:nvPr/>
        </p:nvSpPr>
        <p:spPr>
          <a:xfrm>
            <a:off x="1327960" y="2324650"/>
            <a:ext cx="531341" cy="677108"/>
          </a:xfrm>
          <a:prstGeom prst="rect">
            <a:avLst/>
          </a:prstGeom>
          <a:noFill/>
        </p:spPr>
        <p:txBody>
          <a:bodyPr wrap="square" lIns="0" tIns="0" rIns="0" bIns="0" rtlCol="0">
            <a:spAutoFit/>
          </a:bodyPr>
          <a:lstStyle/>
          <a:p>
            <a:pPr>
              <a:spcBef>
                <a:spcPts val="0"/>
              </a:spcBef>
            </a:pPr>
            <a:r>
              <a:rPr lang="de-DE" sz="4400" dirty="0">
                <a:solidFill>
                  <a:srgbClr val="7FA5BC"/>
                </a:solidFill>
                <a:latin typeface="Calibri" panose="020F0502020204030204" pitchFamily="34" charset="0"/>
                <a:cs typeface="Calibri" panose="020F0502020204030204" pitchFamily="34" charset="0"/>
              </a:rPr>
              <a:t>2</a:t>
            </a:r>
          </a:p>
        </p:txBody>
      </p:sp>
      <p:sp>
        <p:nvSpPr>
          <p:cNvPr id="17" name="Textfeld 16">
            <a:extLst>
              <a:ext uri="{FF2B5EF4-FFF2-40B4-BE49-F238E27FC236}">
                <a16:creationId xmlns:a16="http://schemas.microsoft.com/office/drawing/2014/main" id="{F7F7B87A-D8AE-7223-F493-A4781B49CF38}"/>
              </a:ext>
            </a:extLst>
          </p:cNvPr>
          <p:cNvSpPr txBox="1"/>
          <p:nvPr/>
        </p:nvSpPr>
        <p:spPr>
          <a:xfrm>
            <a:off x="1327959" y="3417885"/>
            <a:ext cx="531341" cy="677108"/>
          </a:xfrm>
          <a:prstGeom prst="rect">
            <a:avLst/>
          </a:prstGeom>
          <a:noFill/>
        </p:spPr>
        <p:txBody>
          <a:bodyPr wrap="square" lIns="0" tIns="0" rIns="0" bIns="0" rtlCol="0">
            <a:spAutoFit/>
          </a:bodyPr>
          <a:lstStyle/>
          <a:p>
            <a:pPr>
              <a:spcBef>
                <a:spcPts val="0"/>
              </a:spcBef>
            </a:pPr>
            <a:r>
              <a:rPr lang="de-DE" sz="4400" dirty="0">
                <a:solidFill>
                  <a:srgbClr val="7FA5BC"/>
                </a:solidFill>
                <a:latin typeface="Calibri" panose="020F0502020204030204" pitchFamily="34" charset="0"/>
                <a:cs typeface="Calibri" panose="020F0502020204030204" pitchFamily="34" charset="0"/>
              </a:rPr>
              <a:t>3</a:t>
            </a:r>
          </a:p>
        </p:txBody>
      </p:sp>
      <p:sp>
        <p:nvSpPr>
          <p:cNvPr id="18" name="Textfeld 17">
            <a:extLst>
              <a:ext uri="{FF2B5EF4-FFF2-40B4-BE49-F238E27FC236}">
                <a16:creationId xmlns:a16="http://schemas.microsoft.com/office/drawing/2014/main" id="{52B488C3-5101-620C-A17E-1492963AC5C0}"/>
              </a:ext>
            </a:extLst>
          </p:cNvPr>
          <p:cNvSpPr txBox="1"/>
          <p:nvPr/>
        </p:nvSpPr>
        <p:spPr>
          <a:xfrm>
            <a:off x="1327959" y="4621057"/>
            <a:ext cx="531341" cy="677108"/>
          </a:xfrm>
          <a:prstGeom prst="rect">
            <a:avLst/>
          </a:prstGeom>
          <a:noFill/>
        </p:spPr>
        <p:txBody>
          <a:bodyPr wrap="square" lIns="0" tIns="0" rIns="0" bIns="0" rtlCol="0">
            <a:spAutoFit/>
          </a:bodyPr>
          <a:lstStyle/>
          <a:p>
            <a:pPr>
              <a:spcBef>
                <a:spcPts val="0"/>
              </a:spcBef>
            </a:pPr>
            <a:r>
              <a:rPr lang="de-DE" sz="4400" dirty="0">
                <a:solidFill>
                  <a:srgbClr val="7FA5BC"/>
                </a:solidFill>
                <a:latin typeface="Calibri" panose="020F0502020204030204" pitchFamily="34" charset="0"/>
                <a:cs typeface="Calibri" panose="020F0502020204030204" pitchFamily="34" charset="0"/>
              </a:rPr>
              <a:t>4</a:t>
            </a:r>
          </a:p>
        </p:txBody>
      </p:sp>
    </p:spTree>
    <p:extLst>
      <p:ext uri="{BB962C8B-B14F-4D97-AF65-F5344CB8AC3E}">
        <p14:creationId xmlns:p14="http://schemas.microsoft.com/office/powerpoint/2010/main" val="87369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4" fill="hold" grpId="0" nodeType="afterEffect">
                                  <p:stCondLst>
                                    <p:cond delay="0"/>
                                  </p:stCondLst>
                                  <p:childTnLst>
                                    <p:set>
                                      <p:cBhvr>
                                        <p:cTn id="15" dur="1" fill="hold">
                                          <p:stCondLst>
                                            <p:cond delay="0"/>
                                          </p:stCondLst>
                                        </p:cTn>
                                        <p:tgtEl>
                                          <p:spTgt spid="16"/>
                                        </p:tgtEl>
                                        <p:attrNameLst>
                                          <p:attrName>style.visibility</p:attrName>
                                        </p:attrNameLst>
                                      </p:cBhvr>
                                      <p:to>
                                        <p:strVal val="visible"/>
                                      </p:to>
                                    </p:set>
                                    <p:anim calcmode="lin" valueType="num">
                                      <p:cBhvr additive="base">
                                        <p:cTn id="16" dur="1000" fill="hold"/>
                                        <p:tgtEl>
                                          <p:spTgt spid="16"/>
                                        </p:tgtEl>
                                        <p:attrNameLst>
                                          <p:attrName>ppt_x</p:attrName>
                                        </p:attrNameLst>
                                      </p:cBhvr>
                                      <p:tavLst>
                                        <p:tav tm="0">
                                          <p:val>
                                            <p:strVal val="#ppt_x"/>
                                          </p:val>
                                        </p:tav>
                                        <p:tav tm="100000">
                                          <p:val>
                                            <p:strVal val="#ppt_x"/>
                                          </p:val>
                                        </p:tav>
                                      </p:tavLst>
                                    </p:anim>
                                    <p:anim calcmode="lin" valueType="num">
                                      <p:cBhvr additive="base">
                                        <p:cTn id="17" dur="1000" fill="hold"/>
                                        <p:tgtEl>
                                          <p:spTgt spid="16"/>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1000" fill="hold"/>
                                        <p:tgtEl>
                                          <p:spTgt spid="8"/>
                                        </p:tgtEl>
                                        <p:attrNameLst>
                                          <p:attrName>ppt_x</p:attrName>
                                        </p:attrNameLst>
                                      </p:cBhvr>
                                      <p:tavLst>
                                        <p:tav tm="0">
                                          <p:val>
                                            <p:strVal val="#ppt_x"/>
                                          </p:val>
                                        </p:tav>
                                        <p:tav tm="100000">
                                          <p:val>
                                            <p:strVal val="#ppt_x"/>
                                          </p:val>
                                        </p:tav>
                                      </p:tavLst>
                                    </p:anim>
                                    <p:anim calcmode="lin" valueType="num">
                                      <p:cBhvr additive="base">
                                        <p:cTn id="22" dur="1000" fill="hold"/>
                                        <p:tgtEl>
                                          <p:spTgt spid="8"/>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10" fill="hold"/>
                                        <p:tgtEl>
                                          <p:spTgt spid="17"/>
                                        </p:tgtEl>
                                        <p:attrNameLst>
                                          <p:attrName>ppt_x</p:attrName>
                                        </p:attrNameLst>
                                      </p:cBhvr>
                                      <p:tavLst>
                                        <p:tav tm="0">
                                          <p:val>
                                            <p:strVal val="#ppt_x"/>
                                          </p:val>
                                        </p:tav>
                                        <p:tav tm="100000">
                                          <p:val>
                                            <p:strVal val="#ppt_x"/>
                                          </p:val>
                                        </p:tav>
                                      </p:tavLst>
                                    </p:anim>
                                    <p:anim calcmode="lin" valueType="num">
                                      <p:cBhvr additive="base">
                                        <p:cTn id="26" dur="10" fill="hold"/>
                                        <p:tgtEl>
                                          <p:spTgt spid="17"/>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2" presetClass="entr" presetSubtype="4" fill="hold" grpId="0" nodeType="after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1000" fill="hold"/>
                                        <p:tgtEl>
                                          <p:spTgt spid="14"/>
                                        </p:tgtEl>
                                        <p:attrNameLst>
                                          <p:attrName>ppt_x</p:attrName>
                                        </p:attrNameLst>
                                      </p:cBhvr>
                                      <p:tavLst>
                                        <p:tav tm="0">
                                          <p:val>
                                            <p:strVal val="#ppt_x"/>
                                          </p:val>
                                        </p:tav>
                                        <p:tav tm="100000">
                                          <p:val>
                                            <p:strVal val="#ppt_x"/>
                                          </p:val>
                                        </p:tav>
                                      </p:tavLst>
                                    </p:anim>
                                    <p:anim calcmode="lin" valueType="num">
                                      <p:cBhvr additive="base">
                                        <p:cTn id="31" dur="1000" fill="hold"/>
                                        <p:tgtEl>
                                          <p:spTgt spid="14"/>
                                        </p:tgtEl>
                                        <p:attrNameLst>
                                          <p:attrName>ppt_y</p:attrName>
                                        </p:attrNameLst>
                                      </p:cBhvr>
                                      <p:tavLst>
                                        <p:tav tm="0">
                                          <p:val>
                                            <p:strVal val="1+#ppt_h/2"/>
                                          </p:val>
                                        </p:tav>
                                        <p:tav tm="100000">
                                          <p:val>
                                            <p:strVal val="#ppt_y"/>
                                          </p:val>
                                        </p:tav>
                                      </p:tavLst>
                                    </p:anim>
                                  </p:childTnLst>
                                </p:cTn>
                              </p:par>
                            </p:childTnLst>
                          </p:cTn>
                        </p:par>
                        <p:par>
                          <p:cTn id="32" fill="hold">
                            <p:stCondLst>
                              <p:cond delay="3500"/>
                            </p:stCondLst>
                            <p:childTnLst>
                              <p:par>
                                <p:cTn id="33" presetID="2" presetClass="entr" presetSubtype="4"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1000" fill="hold"/>
                                        <p:tgtEl>
                                          <p:spTgt spid="18"/>
                                        </p:tgtEl>
                                        <p:attrNameLst>
                                          <p:attrName>ppt_x</p:attrName>
                                        </p:attrNameLst>
                                      </p:cBhvr>
                                      <p:tavLst>
                                        <p:tav tm="0">
                                          <p:val>
                                            <p:strVal val="#ppt_x"/>
                                          </p:val>
                                        </p:tav>
                                        <p:tav tm="100000">
                                          <p:val>
                                            <p:strVal val="#ppt_x"/>
                                          </p:val>
                                        </p:tav>
                                      </p:tavLst>
                                    </p:anim>
                                    <p:anim calcmode="lin" valueType="num">
                                      <p:cBhvr additive="base">
                                        <p:cTn id="36" dur="1000" fill="hold"/>
                                        <p:tgtEl>
                                          <p:spTgt spid="18"/>
                                        </p:tgtEl>
                                        <p:attrNameLst>
                                          <p:attrName>ppt_y</p:attrName>
                                        </p:attrNameLst>
                                      </p:cBhvr>
                                      <p:tavLst>
                                        <p:tav tm="0">
                                          <p:val>
                                            <p:strVal val="1+#ppt_h/2"/>
                                          </p:val>
                                        </p:tav>
                                        <p:tav tm="100000">
                                          <p:val>
                                            <p:strVal val="#ppt_y"/>
                                          </p:val>
                                        </p:tav>
                                      </p:tavLst>
                                    </p:anim>
                                  </p:childTnLst>
                                </p:cTn>
                              </p:par>
                            </p:childTnLst>
                          </p:cTn>
                        </p:par>
                        <p:par>
                          <p:cTn id="37" fill="hold">
                            <p:stCondLst>
                              <p:cond delay="4500"/>
                            </p:stCondLst>
                            <p:childTnLst>
                              <p:par>
                                <p:cTn id="38" presetID="2" presetClass="entr" presetSubtype="4" fill="hold" grpId="0" nodeType="afterEffect">
                                  <p:stCondLst>
                                    <p:cond delay="0"/>
                                  </p:stCondLst>
                                  <p:childTnLst>
                                    <p:set>
                                      <p:cBhvr>
                                        <p:cTn id="39" dur="1" fill="hold">
                                          <p:stCondLst>
                                            <p:cond delay="0"/>
                                          </p:stCondLst>
                                        </p:cTn>
                                        <p:tgtEl>
                                          <p:spTgt spid="13"/>
                                        </p:tgtEl>
                                        <p:attrNameLst>
                                          <p:attrName>style.visibility</p:attrName>
                                        </p:attrNameLst>
                                      </p:cBhvr>
                                      <p:to>
                                        <p:strVal val="visible"/>
                                      </p:to>
                                    </p:set>
                                    <p:anim calcmode="lin" valueType="num">
                                      <p:cBhvr additive="base">
                                        <p:cTn id="40" dur="1000" fill="hold"/>
                                        <p:tgtEl>
                                          <p:spTgt spid="13"/>
                                        </p:tgtEl>
                                        <p:attrNameLst>
                                          <p:attrName>ppt_x</p:attrName>
                                        </p:attrNameLst>
                                      </p:cBhvr>
                                      <p:tavLst>
                                        <p:tav tm="0">
                                          <p:val>
                                            <p:strVal val="#ppt_x"/>
                                          </p:val>
                                        </p:tav>
                                        <p:tav tm="100000">
                                          <p:val>
                                            <p:strVal val="#ppt_x"/>
                                          </p:val>
                                        </p:tav>
                                      </p:tavLst>
                                    </p:anim>
                                    <p:anim calcmode="lin" valueType="num">
                                      <p:cBhvr additive="base">
                                        <p:cTn id="41"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4"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 calcmode="lin" valueType="num">
                                      <p:cBhvr additive="base">
                                        <p:cTn id="46" dur="500" fill="hold"/>
                                        <p:tgtEl>
                                          <p:spTgt spid="31"/>
                                        </p:tgtEl>
                                        <p:attrNameLst>
                                          <p:attrName>ppt_x</p:attrName>
                                        </p:attrNameLst>
                                      </p:cBhvr>
                                      <p:tavLst>
                                        <p:tav tm="0">
                                          <p:val>
                                            <p:strVal val="#ppt_x"/>
                                          </p:val>
                                        </p:tav>
                                        <p:tav tm="100000">
                                          <p:val>
                                            <p:strVal val="#ppt_x"/>
                                          </p:val>
                                        </p:tav>
                                      </p:tavLst>
                                    </p:anim>
                                    <p:anim calcmode="lin" valueType="num">
                                      <p:cBhvr additive="base">
                                        <p:cTn id="47"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7" grpId="0"/>
      <p:bldP spid="8" grpId="0"/>
      <p:bldP spid="13" grpId="0"/>
      <p:bldP spid="14" grpId="0"/>
      <p:bldP spid="15" grpId="0"/>
      <p:bldP spid="16" grpId="0"/>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a:lnSpc>
                <a:spcPct val="120000"/>
              </a:lnSpc>
              <a:spcBef>
                <a:spcPts val="1000"/>
              </a:spcBef>
            </a:pPr>
            <a:r>
              <a:rPr lang="en-US" sz="3200" b="1" dirty="0" err="1">
                <a:solidFill>
                  <a:schemeClr val="tx1"/>
                </a:solidFill>
                <a:latin typeface="Calibri" panose="020F0502020204030204" pitchFamily="34" charset="0"/>
                <a:cs typeface="Calibri" panose="020F0502020204030204" pitchFamily="34" charset="0"/>
              </a:rPr>
              <a:t>Welche</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Sicherheitsmaßnahme</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ist</a:t>
            </a:r>
            <a:r>
              <a:rPr lang="en-US" sz="3200" b="1" dirty="0">
                <a:solidFill>
                  <a:schemeClr val="tx1"/>
                </a:solidFill>
                <a:latin typeface="Calibri" panose="020F0502020204030204" pitchFamily="34" charset="0"/>
                <a:cs typeface="Calibri" panose="020F0502020204030204" pitchFamily="34" charset="0"/>
              </a:rPr>
              <a:t> auf </a:t>
            </a:r>
            <a:r>
              <a:rPr lang="en-US" sz="3200" b="1" dirty="0" err="1">
                <a:solidFill>
                  <a:schemeClr val="tx1"/>
                </a:solidFill>
                <a:latin typeface="Calibri" panose="020F0502020204030204" pitchFamily="34" charset="0"/>
                <a:cs typeface="Calibri" panose="020F0502020204030204" pitchFamily="34" charset="0"/>
              </a:rPr>
              <a:t>jeder</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Treppe</a:t>
            </a:r>
            <a:r>
              <a:rPr lang="en-US" sz="3200" b="1" dirty="0">
                <a:solidFill>
                  <a:schemeClr val="tx1"/>
                </a:solidFill>
                <a:latin typeface="Calibri" panose="020F0502020204030204" pitchFamily="34" charset="0"/>
                <a:cs typeface="Calibri" panose="020F0502020204030204" pitchFamily="34" charset="0"/>
              </a:rPr>
              <a:t> </a:t>
            </a:r>
            <a:r>
              <a:rPr lang="en-US" sz="3200" b="1" dirty="0" err="1">
                <a:solidFill>
                  <a:schemeClr val="tx1"/>
                </a:solidFill>
                <a:latin typeface="Calibri" panose="020F0502020204030204" pitchFamily="34" charset="0"/>
                <a:cs typeface="Calibri" panose="020F0502020204030204" pitchFamily="34" charset="0"/>
              </a:rPr>
              <a:t>Pflicht</a:t>
            </a:r>
            <a:r>
              <a:rPr lang="en-US" sz="3200" b="1" dirty="0">
                <a:solidFill>
                  <a:schemeClr val="tx1"/>
                </a:solidFill>
                <a:latin typeface="Calibri" panose="020F0502020204030204" pitchFamily="34" charset="0"/>
                <a:cs typeface="Calibri" panose="020F0502020204030204" pitchFamily="34" charset="0"/>
              </a:rPr>
              <a:t>? </a:t>
            </a: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00668"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8</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600438"/>
          </a:xfrm>
          <a:prstGeom prst="rect">
            <a:avLst/>
          </a:prstGeom>
          <a:noFill/>
        </p:spPr>
        <p:txBody>
          <a:bodyPr wrap="square">
            <a:spAutoFit/>
          </a:bodyPr>
          <a:lstStyle/>
          <a:p>
            <a:pPr marL="457200" indent="-457200" algn="ctr">
              <a:buAutoNum type="alphaUcParenR"/>
            </a:pPr>
            <a:r>
              <a:rPr lang="de-DE" dirty="0"/>
              <a:t>Nur bei Treppen über einer bestimmten Steigung erforderlich</a:t>
            </a:r>
            <a:endParaRPr lang="de-DE" sz="2000" dirty="0">
              <a:solidFill>
                <a:srgbClr val="000000"/>
              </a:solidFill>
              <a:latin typeface="Calibri" panose="020F0502020204030204" pitchFamily="34" charset="0"/>
              <a:cs typeface="Calibri" panose="020F0502020204030204" pitchFamily="34" charset="0"/>
            </a:endParaRPr>
          </a:p>
          <a:p>
            <a:pPr algn="ctr"/>
            <a:br>
              <a:rPr lang="de-DE" sz="2000" dirty="0">
                <a:latin typeface="Calibri" panose="020F0502020204030204" pitchFamily="34" charset="0"/>
                <a:cs typeface="Calibri" panose="020F0502020204030204" pitchFamily="34" charset="0"/>
              </a:rPr>
            </a:br>
            <a:r>
              <a:rPr lang="de-DE" sz="2000" b="0" i="0" u="none" strike="noStrike" dirty="0">
                <a:solidFill>
                  <a:srgbClr val="000000"/>
                </a:solidFill>
                <a:effectLst/>
                <a:latin typeface="Calibri" panose="020F0502020204030204" pitchFamily="34" charset="0"/>
                <a:cs typeface="Calibri" panose="020F0502020204030204" pitchFamily="34" charset="0"/>
              </a:rPr>
              <a:t>B) </a:t>
            </a:r>
            <a:r>
              <a:rPr lang="de-DE" dirty="0"/>
              <a:t>Handlauf immer nutzen</a:t>
            </a:r>
            <a:endParaRPr lang="de-DE" sz="2000" dirty="0">
              <a:solidFill>
                <a:srgbClr val="000000"/>
              </a:solidFill>
              <a:latin typeface="Calibri" panose="020F0502020204030204" pitchFamily="34" charset="0"/>
            </a:endParaRPr>
          </a:p>
          <a:p>
            <a:pPr algn="ctr"/>
            <a:endParaRPr lang="de-DE" sz="2000" b="0" i="0" u="none" strike="noStrike" dirty="0">
              <a:solidFill>
                <a:srgbClr val="000000"/>
              </a:solidFill>
              <a:effectLst/>
              <a:latin typeface="Calibri" panose="020F0502020204030204" pitchFamily="34" charset="0"/>
              <a:cs typeface="Calibri" panose="020F0502020204030204" pitchFamily="34" charset="0"/>
            </a:endParaRPr>
          </a:p>
          <a:p>
            <a:pPr algn="ctr"/>
            <a:r>
              <a:rPr lang="de-DE" sz="2000" b="0" i="0" u="none" strike="noStrike" dirty="0">
                <a:solidFill>
                  <a:srgbClr val="000000"/>
                </a:solidFill>
                <a:effectLst/>
                <a:latin typeface="Calibri" panose="020F0502020204030204" pitchFamily="34" charset="0"/>
                <a:cs typeface="Calibri" panose="020F0502020204030204" pitchFamily="34" charset="0"/>
              </a:rPr>
              <a:t>C) </a:t>
            </a:r>
            <a:r>
              <a:rPr lang="de-DE" dirty="0"/>
              <a:t>Handlauf nur dann nötig, wenn man Lasten trägt</a:t>
            </a:r>
            <a:endParaRPr lang="de-DE" sz="2000" dirty="0">
              <a:latin typeface="Calibri" panose="020F0502020204030204" pitchFamily="34" charset="0"/>
            </a:endParaRPr>
          </a:p>
        </p:txBody>
      </p:sp>
    </p:spTree>
    <p:extLst>
      <p:ext uri="{BB962C8B-B14F-4D97-AF65-F5344CB8AC3E}">
        <p14:creationId xmlns:p14="http://schemas.microsoft.com/office/powerpoint/2010/main" val="3355579153"/>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1" nodeType="afterEffect">
                                  <p:stCondLst>
                                    <p:cond delay="500"/>
                                  </p:stCondLst>
                                  <p:iterate type="lt">
                                    <p:tmPct val="0"/>
                                  </p:iterate>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1000"/>
                            </p:stCondLst>
                            <p:childTnLst>
                              <p:par>
                                <p:cTn id="9" presetID="9" presetClass="entr" presetSubtype="0" fill="hold" grpId="1" nodeType="afterEffect">
                                  <p:stCondLst>
                                    <p:cond delay="500"/>
                                  </p:stCondLst>
                                  <p:iterate type="lt">
                                    <p:tmPct val="0"/>
                                  </p:iterate>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par>
                                <p:cTn id="12" presetID="9" presetClass="entr" presetSubtype="0" fill="hold" grpId="1" nodeType="withEffect">
                                  <p:stCondLst>
                                    <p:cond delay="500"/>
                                  </p:stCondLst>
                                  <p:iterate type="lt">
                                    <p:tmPct val="0"/>
                                  </p:iterate>
                                  <p:childTnLst>
                                    <p:set>
                                      <p:cBhvr>
                                        <p:cTn id="13" dur="1" fill="hold">
                                          <p:stCondLst>
                                            <p:cond delay="0"/>
                                          </p:stCondLst>
                                        </p:cTn>
                                        <p:tgtEl>
                                          <p:spTgt spid="31">
                                            <p:txEl>
                                              <p:pRg st="3" end="3"/>
                                            </p:txEl>
                                          </p:spTgt>
                                        </p:tgtEl>
                                        <p:attrNameLst>
                                          <p:attrName>style.visibility</p:attrName>
                                        </p:attrNameLst>
                                      </p:cBhvr>
                                      <p:to>
                                        <p:strVal val="visible"/>
                                      </p:to>
                                    </p:set>
                                    <p:animEffect transition="in" filter="dissolve">
                                      <p:cBhvr>
                                        <p:cTn id="14" dur="500"/>
                                        <p:tgtEl>
                                          <p:spTgt spid="31">
                                            <p:txEl>
                                              <p:pRg st="3" end="3"/>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5" presetClass="emph" presetSubtype="0" nodeType="clickEffect">
                                  <p:stCondLst>
                                    <p:cond delay="0"/>
                                  </p:stCondLst>
                                  <p:iterate type="lt">
                                    <p:tmAbs val="25"/>
                                  </p:iterate>
                                  <p:childTnLst>
                                    <p:set>
                                      <p:cBhvr override="childStyle">
                                        <p:cTn id="18" dur="indefinite"/>
                                        <p:tgtEl>
                                          <p:spTgt spid="31">
                                            <p:txEl>
                                              <p:pRg st="1" end="1"/>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1" uiExpand="1" build="allAtOnce"/>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09C8D186-C4A1-4624-81A8-99EBA9C897FD}"/>
              </a:ext>
            </a:extLst>
          </p:cNvPr>
          <p:cNvSpPr/>
          <p:nvPr/>
        </p:nvSpPr>
        <p:spPr>
          <a:xfrm>
            <a:off x="1389821" y="1341133"/>
            <a:ext cx="9412357" cy="1223216"/>
          </a:xfrm>
          <a:prstGeom prst="roundRect">
            <a:avLst>
              <a:gd name="adj" fmla="val 2027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0" bIns="0" rtlCol="0" anchor="ctr" anchorCtr="0"/>
          <a:lstStyle/>
          <a:p>
            <a:pPr algn="ctr" fontAlgn="base"/>
            <a:r>
              <a:rPr lang="de-DE" sz="3200" b="1" i="0" u="none" strike="noStrike" dirty="0">
                <a:solidFill>
                  <a:srgbClr val="000000"/>
                </a:solidFill>
                <a:effectLst/>
                <a:latin typeface="Calibri" panose="020F0502020204030204" pitchFamily="34" charset="0"/>
                <a:cs typeface="Calibri" panose="020F0502020204030204" pitchFamily="34" charset="0"/>
              </a:rPr>
              <a:t>Was erhöht das Risiko von Stürzen am meisten?  </a:t>
            </a:r>
          </a:p>
        </p:txBody>
      </p:sp>
      <p:pic>
        <p:nvPicPr>
          <p:cNvPr id="3" name="Grafik 2">
            <a:extLst>
              <a:ext uri="{FF2B5EF4-FFF2-40B4-BE49-F238E27FC236}">
                <a16:creationId xmlns:a16="http://schemas.microsoft.com/office/drawing/2014/main" id="{DEDF762F-557B-E6CC-AB62-211BBDA00F62}"/>
              </a:ext>
            </a:extLst>
          </p:cNvPr>
          <p:cNvPicPr>
            <a:picLocks noChangeAspect="1"/>
          </p:cNvPicPr>
          <p:nvPr/>
        </p:nvPicPr>
        <p:blipFill rotWithShape="1">
          <a:blip r:embed="rId3"/>
          <a:srcRect l="9767" t="41072" r="6866" b="12274"/>
          <a:stretch/>
        </p:blipFill>
        <p:spPr>
          <a:xfrm>
            <a:off x="156887" y="6374769"/>
            <a:ext cx="1515719" cy="422987"/>
          </a:xfrm>
          <a:prstGeom prst="rect">
            <a:avLst/>
          </a:prstGeom>
        </p:spPr>
      </p:pic>
      <p:sp>
        <p:nvSpPr>
          <p:cNvPr id="4" name="Title 1">
            <a:extLst>
              <a:ext uri="{FF2B5EF4-FFF2-40B4-BE49-F238E27FC236}">
                <a16:creationId xmlns:a16="http://schemas.microsoft.com/office/drawing/2014/main" id="{53A666E8-B40E-FE6B-15FF-0B9D4C7DBC93}"/>
              </a:ext>
            </a:extLst>
          </p:cNvPr>
          <p:cNvSpPr txBox="1">
            <a:spLocks/>
          </p:cNvSpPr>
          <p:nvPr/>
        </p:nvSpPr>
        <p:spPr>
          <a:xfrm>
            <a:off x="1048383" y="220835"/>
            <a:ext cx="8067584" cy="507702"/>
          </a:xfrm>
          <a:prstGeom prst="rect">
            <a:avLst/>
          </a:prstGeom>
        </p:spPr>
        <p:txBody>
          <a:bodyPr/>
          <a:lstStyle>
            <a:lvl1pPr algn="l" rtl="0" eaLnBrk="1" fontAlgn="base" hangingPunct="1">
              <a:lnSpc>
                <a:spcPts val="3199"/>
              </a:lnSpc>
              <a:spcBef>
                <a:spcPct val="0"/>
              </a:spcBef>
              <a:spcAft>
                <a:spcPct val="0"/>
              </a:spcAft>
              <a:defRPr sz="2667" b="1" baseline="0">
                <a:solidFill>
                  <a:schemeClr val="tx2"/>
                </a:solidFill>
                <a:latin typeface="Tahoma" panose="020B0604030504040204" pitchFamily="34" charset="0"/>
                <a:ea typeface="+mj-ea"/>
                <a:cs typeface="Tahoma" panose="020B0604030504040204" pitchFamily="34" charset="0"/>
              </a:defRPr>
            </a:lvl1pPr>
            <a:lvl2pPr algn="l" rtl="0" eaLnBrk="1" fontAlgn="base" hangingPunct="1">
              <a:lnSpc>
                <a:spcPts val="3732"/>
              </a:lnSpc>
              <a:spcBef>
                <a:spcPct val="0"/>
              </a:spcBef>
              <a:spcAft>
                <a:spcPct val="0"/>
              </a:spcAft>
              <a:defRPr sz="3467">
                <a:solidFill>
                  <a:schemeClr val="tx1"/>
                </a:solidFill>
                <a:latin typeface="Tahoma" charset="0"/>
              </a:defRPr>
            </a:lvl2pPr>
            <a:lvl3pPr algn="l" rtl="0" eaLnBrk="1" fontAlgn="base" hangingPunct="1">
              <a:lnSpc>
                <a:spcPts val="3732"/>
              </a:lnSpc>
              <a:spcBef>
                <a:spcPct val="0"/>
              </a:spcBef>
              <a:spcAft>
                <a:spcPct val="0"/>
              </a:spcAft>
              <a:defRPr sz="3467">
                <a:solidFill>
                  <a:schemeClr val="tx1"/>
                </a:solidFill>
                <a:latin typeface="Tahoma" charset="0"/>
              </a:defRPr>
            </a:lvl3pPr>
            <a:lvl4pPr algn="l" rtl="0" eaLnBrk="1" fontAlgn="base" hangingPunct="1">
              <a:lnSpc>
                <a:spcPts val="3732"/>
              </a:lnSpc>
              <a:spcBef>
                <a:spcPct val="0"/>
              </a:spcBef>
              <a:spcAft>
                <a:spcPct val="0"/>
              </a:spcAft>
              <a:defRPr sz="3467">
                <a:solidFill>
                  <a:schemeClr val="tx1"/>
                </a:solidFill>
                <a:latin typeface="Tahoma" charset="0"/>
              </a:defRPr>
            </a:lvl4pPr>
            <a:lvl5pPr algn="l" rtl="0" eaLnBrk="1" fontAlgn="base" hangingPunct="1">
              <a:lnSpc>
                <a:spcPts val="3732"/>
              </a:lnSpc>
              <a:spcBef>
                <a:spcPct val="0"/>
              </a:spcBef>
              <a:spcAft>
                <a:spcPct val="0"/>
              </a:spcAft>
              <a:defRPr sz="3467">
                <a:solidFill>
                  <a:schemeClr val="tx1"/>
                </a:solidFill>
                <a:latin typeface="Tahoma" charset="0"/>
              </a:defRPr>
            </a:lvl5pPr>
            <a:lvl6pPr marL="609454" algn="l" rtl="0" eaLnBrk="1" fontAlgn="base" hangingPunct="1">
              <a:lnSpc>
                <a:spcPts val="3732"/>
              </a:lnSpc>
              <a:spcBef>
                <a:spcPct val="0"/>
              </a:spcBef>
              <a:spcAft>
                <a:spcPct val="0"/>
              </a:spcAft>
              <a:defRPr sz="3467">
                <a:solidFill>
                  <a:schemeClr val="tx1"/>
                </a:solidFill>
                <a:latin typeface="Tahoma" charset="0"/>
              </a:defRPr>
            </a:lvl6pPr>
            <a:lvl7pPr marL="1218910" algn="l" rtl="0" eaLnBrk="1" fontAlgn="base" hangingPunct="1">
              <a:lnSpc>
                <a:spcPts val="3732"/>
              </a:lnSpc>
              <a:spcBef>
                <a:spcPct val="0"/>
              </a:spcBef>
              <a:spcAft>
                <a:spcPct val="0"/>
              </a:spcAft>
              <a:defRPr sz="3467">
                <a:solidFill>
                  <a:schemeClr val="tx1"/>
                </a:solidFill>
                <a:latin typeface="Tahoma" charset="0"/>
              </a:defRPr>
            </a:lvl7pPr>
            <a:lvl8pPr marL="1828362" algn="l" rtl="0" eaLnBrk="1" fontAlgn="base" hangingPunct="1">
              <a:lnSpc>
                <a:spcPts val="3732"/>
              </a:lnSpc>
              <a:spcBef>
                <a:spcPct val="0"/>
              </a:spcBef>
              <a:spcAft>
                <a:spcPct val="0"/>
              </a:spcAft>
              <a:defRPr sz="3467">
                <a:solidFill>
                  <a:schemeClr val="tx1"/>
                </a:solidFill>
                <a:latin typeface="Tahoma" charset="0"/>
              </a:defRPr>
            </a:lvl8pPr>
            <a:lvl9pPr marL="2437818" algn="l" rtl="0" eaLnBrk="1" fontAlgn="base" hangingPunct="1">
              <a:lnSpc>
                <a:spcPts val="3732"/>
              </a:lnSpc>
              <a:spcBef>
                <a:spcPct val="0"/>
              </a:spcBef>
              <a:spcAft>
                <a:spcPct val="0"/>
              </a:spcAft>
              <a:defRPr sz="3467">
                <a:solidFill>
                  <a:schemeClr val="tx1"/>
                </a:solidFill>
                <a:latin typeface="Tahoma" charset="0"/>
              </a:defRPr>
            </a:lvl9pPr>
          </a:lstStyle>
          <a:p>
            <a:r>
              <a:rPr lang="en-US" sz="4400" kern="0" dirty="0" err="1">
                <a:solidFill>
                  <a:srgbClr val="004D7A"/>
                </a:solidFill>
                <a:latin typeface="Calibri" panose="020F0502020204030204" pitchFamily="34" charset="0"/>
                <a:cs typeface="Calibri" panose="020F0502020204030204" pitchFamily="34" charset="0"/>
              </a:rPr>
              <a:t>Quizfragen</a:t>
            </a:r>
            <a:endParaRPr lang="en-GB" sz="4400" kern="0" dirty="0">
              <a:solidFill>
                <a:srgbClr val="004D7A"/>
              </a:solidFill>
              <a:latin typeface="Calibri" panose="020F0502020204030204" pitchFamily="34" charset="0"/>
              <a:cs typeface="Calibri" panose="020F0502020204030204" pitchFamily="34" charset="0"/>
            </a:endParaRPr>
          </a:p>
        </p:txBody>
      </p:sp>
      <p:sp>
        <p:nvSpPr>
          <p:cNvPr id="18" name="Rectangle 11">
            <a:extLst>
              <a:ext uri="{FF2B5EF4-FFF2-40B4-BE49-F238E27FC236}">
                <a16:creationId xmlns:a16="http://schemas.microsoft.com/office/drawing/2014/main" id="{436447FF-4176-919F-FF6A-083738BBFAB7}"/>
              </a:ext>
            </a:extLst>
          </p:cNvPr>
          <p:cNvSpPr/>
          <p:nvPr/>
        </p:nvSpPr>
        <p:spPr>
          <a:xfrm>
            <a:off x="11468100" y="0"/>
            <a:ext cx="723900" cy="723900"/>
          </a:xfrm>
          <a:prstGeom prst="rect">
            <a:avLst/>
          </a:prstGeom>
          <a:solidFill>
            <a:srgbClr val="004D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chemeClr val="tx1"/>
              </a:solidFill>
              <a:latin typeface="Calibri"/>
            </a:endParaRPr>
          </a:p>
        </p:txBody>
      </p:sp>
      <p:sp>
        <p:nvSpPr>
          <p:cNvPr id="29" name="TextBox 13">
            <a:extLst>
              <a:ext uri="{FF2B5EF4-FFF2-40B4-BE49-F238E27FC236}">
                <a16:creationId xmlns:a16="http://schemas.microsoft.com/office/drawing/2014/main" id="{E1033B5D-5055-30B7-70DB-A3EB2D3ACEE4}"/>
              </a:ext>
            </a:extLst>
          </p:cNvPr>
          <p:cNvSpPr txBox="1"/>
          <p:nvPr/>
        </p:nvSpPr>
        <p:spPr>
          <a:xfrm>
            <a:off x="11540424" y="418058"/>
            <a:ext cx="272510" cy="276999"/>
          </a:xfrm>
          <a:prstGeom prst="rect">
            <a:avLst/>
          </a:prstGeom>
          <a:noFill/>
        </p:spPr>
        <p:txBody>
          <a:bodyPr wrap="none" lIns="0" tIns="0" rIns="0" bIns="0" rtlCol="0">
            <a:spAutoFit/>
          </a:bodyPr>
          <a:lstStyle/>
          <a:p>
            <a:pPr defTabSz="914377">
              <a:defRPr/>
            </a:pPr>
            <a:r>
              <a:rPr lang="en-US" dirty="0">
                <a:solidFill>
                  <a:schemeClr val="bg1"/>
                </a:solidFill>
                <a:latin typeface="Avenir Heavy"/>
              </a:rPr>
              <a:t>09</a:t>
            </a:r>
          </a:p>
        </p:txBody>
      </p:sp>
      <p:sp>
        <p:nvSpPr>
          <p:cNvPr id="31" name="Textfeld 30">
            <a:extLst>
              <a:ext uri="{FF2B5EF4-FFF2-40B4-BE49-F238E27FC236}">
                <a16:creationId xmlns:a16="http://schemas.microsoft.com/office/drawing/2014/main" id="{3B9C0CCD-CE85-2BDD-B389-661F2BCB479C}"/>
              </a:ext>
            </a:extLst>
          </p:cNvPr>
          <p:cNvSpPr txBox="1"/>
          <p:nvPr/>
        </p:nvSpPr>
        <p:spPr>
          <a:xfrm>
            <a:off x="1389821" y="3176945"/>
            <a:ext cx="9412356" cy="1600438"/>
          </a:xfrm>
          <a:prstGeom prst="rect">
            <a:avLst/>
          </a:prstGeom>
          <a:noFill/>
        </p:spPr>
        <p:txBody>
          <a:bodyPr wrap="square">
            <a:spAutoFit/>
          </a:bodyPr>
          <a:lstStyle/>
          <a:p>
            <a:pPr marL="457200" indent="-457200" algn="ctr">
              <a:buAutoNum type="alphaUcParenR"/>
            </a:pPr>
            <a:r>
              <a:rPr lang="de-DE" dirty="0"/>
              <a:t>Unterschiedliche Stufenhöhen oder minimale Helligkeitsunterschiede</a:t>
            </a:r>
            <a:endParaRPr lang="de-DE" sz="2000" dirty="0">
              <a:solidFill>
                <a:srgbClr val="000000"/>
              </a:solidFill>
              <a:latin typeface="Calibri" panose="020F0502020204030204" pitchFamily="34" charset="0"/>
            </a:endParaRPr>
          </a:p>
          <a:p>
            <a:pPr algn="ctr"/>
            <a:br>
              <a:rPr lang="de-DE" sz="2000" dirty="0">
                <a:latin typeface="Calibri" panose="020F0502020204030204" pitchFamily="34" charset="0"/>
                <a:cs typeface="Calibri" panose="020F0502020204030204" pitchFamily="34" charset="0"/>
              </a:rPr>
            </a:br>
            <a:r>
              <a:rPr lang="de-DE" sz="2000" dirty="0">
                <a:solidFill>
                  <a:srgbClr val="000000"/>
                </a:solidFill>
                <a:latin typeface="Calibri" panose="020F0502020204030204" pitchFamily="34" charset="0"/>
                <a:cs typeface="Calibri" panose="020F0502020204030204" pitchFamily="34" charset="0"/>
              </a:rPr>
              <a:t>B) </a:t>
            </a:r>
            <a:r>
              <a:rPr lang="de-DE" dirty="0"/>
              <a:t>Sichtbare Dekoration oder kontrastreiche Muster auf Stufen</a:t>
            </a:r>
            <a:r>
              <a:rPr lang="de-DE" sz="2000" dirty="0">
                <a:solidFill>
                  <a:srgbClr val="000000"/>
                </a:solidFill>
                <a:latin typeface="Calibri" panose="020F0502020204030204" pitchFamily="34" charset="0"/>
              </a:rPr>
              <a:t> </a:t>
            </a:r>
          </a:p>
          <a:p>
            <a:pPr algn="ctr"/>
            <a:br>
              <a:rPr lang="de-DE" sz="2000" dirty="0">
                <a:latin typeface="Calibri" panose="020F0502020204030204" pitchFamily="34" charset="0"/>
                <a:cs typeface="Calibri" panose="020F0502020204030204" pitchFamily="34" charset="0"/>
              </a:rPr>
            </a:br>
            <a:r>
              <a:rPr lang="de-DE" sz="2000" dirty="0">
                <a:solidFill>
                  <a:srgbClr val="000000"/>
                </a:solidFill>
                <a:latin typeface="Calibri" panose="020F0502020204030204" pitchFamily="34" charset="0"/>
                <a:cs typeface="Calibri" panose="020F0502020204030204" pitchFamily="34" charset="0"/>
              </a:rPr>
              <a:t>C) </a:t>
            </a:r>
            <a:r>
              <a:rPr lang="de-DE" dirty="0"/>
              <a:t>Nasse oder verschmutzte Stufen</a:t>
            </a:r>
            <a:endParaRPr lang="de-DE"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31315357"/>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500"/>
                                  </p:stCondLst>
                                  <p:childTnLst>
                                    <p:set>
                                      <p:cBhvr>
                                        <p:cTn id="6" dur="1" fill="hold">
                                          <p:stCondLst>
                                            <p:cond delay="0"/>
                                          </p:stCondLst>
                                        </p:cTn>
                                        <p:tgtEl>
                                          <p:spTgt spid="31">
                                            <p:txEl>
                                              <p:pRg st="0" end="0"/>
                                            </p:txEl>
                                          </p:spTgt>
                                        </p:tgtEl>
                                        <p:attrNameLst>
                                          <p:attrName>style.visibility</p:attrName>
                                        </p:attrNameLst>
                                      </p:cBhvr>
                                      <p:to>
                                        <p:strVal val="visible"/>
                                      </p:to>
                                    </p:set>
                                    <p:animEffect transition="in" filter="dissolve">
                                      <p:cBhvr>
                                        <p:cTn id="7" dur="500"/>
                                        <p:tgtEl>
                                          <p:spTgt spid="31">
                                            <p:txEl>
                                              <p:pRg st="0" end="0"/>
                                            </p:txEl>
                                          </p:spTgt>
                                        </p:tgtEl>
                                      </p:cBhvr>
                                    </p:animEffect>
                                  </p:childTnLst>
                                </p:cTn>
                              </p:par>
                            </p:childTnLst>
                          </p:cTn>
                        </p:par>
                        <p:par>
                          <p:cTn id="8" fill="hold">
                            <p:stCondLst>
                              <p:cond delay="1000"/>
                            </p:stCondLst>
                            <p:childTnLst>
                              <p:par>
                                <p:cTn id="9" presetID="9" presetClass="entr" presetSubtype="0" fill="hold" grpId="0" nodeType="afterEffect">
                                  <p:stCondLst>
                                    <p:cond delay="500"/>
                                  </p:stCondLst>
                                  <p:childTnLst>
                                    <p:set>
                                      <p:cBhvr>
                                        <p:cTn id="10" dur="1" fill="hold">
                                          <p:stCondLst>
                                            <p:cond delay="0"/>
                                          </p:stCondLst>
                                        </p:cTn>
                                        <p:tgtEl>
                                          <p:spTgt spid="31">
                                            <p:txEl>
                                              <p:pRg st="1" end="1"/>
                                            </p:txEl>
                                          </p:spTgt>
                                        </p:tgtEl>
                                        <p:attrNameLst>
                                          <p:attrName>style.visibility</p:attrName>
                                        </p:attrNameLst>
                                      </p:cBhvr>
                                      <p:to>
                                        <p:strVal val="visible"/>
                                      </p:to>
                                    </p:set>
                                    <p:animEffect transition="in" filter="dissolve">
                                      <p:cBhvr>
                                        <p:cTn id="11" dur="500"/>
                                        <p:tgtEl>
                                          <p:spTgt spid="31">
                                            <p:txEl>
                                              <p:pRg st="1" end="1"/>
                                            </p:txEl>
                                          </p:spTgt>
                                        </p:tgtEl>
                                      </p:cBhvr>
                                    </p:animEffect>
                                  </p:childTnLst>
                                </p:cTn>
                              </p:par>
                            </p:childTnLst>
                          </p:cTn>
                        </p:par>
                        <p:par>
                          <p:cTn id="12" fill="hold">
                            <p:stCondLst>
                              <p:cond delay="2000"/>
                            </p:stCondLst>
                            <p:childTnLst>
                              <p:par>
                                <p:cTn id="13" presetID="9" presetClass="entr" presetSubtype="0" fill="hold" grpId="0" nodeType="afterEffect">
                                  <p:stCondLst>
                                    <p:cond delay="500"/>
                                  </p:stCondLst>
                                  <p:iterate type="lt">
                                    <p:tmPct val="0"/>
                                  </p:iterate>
                                  <p:childTnLst>
                                    <p:set>
                                      <p:cBhvr>
                                        <p:cTn id="14" dur="1" fill="hold">
                                          <p:stCondLst>
                                            <p:cond delay="0"/>
                                          </p:stCondLst>
                                        </p:cTn>
                                        <p:tgtEl>
                                          <p:spTgt spid="31">
                                            <p:txEl>
                                              <p:pRg st="2" end="2"/>
                                            </p:txEl>
                                          </p:spTgt>
                                        </p:tgtEl>
                                        <p:attrNameLst>
                                          <p:attrName>style.visibility</p:attrName>
                                        </p:attrNameLst>
                                      </p:cBhvr>
                                      <p:to>
                                        <p:strVal val="visible"/>
                                      </p:to>
                                    </p:set>
                                    <p:animEffect transition="in" filter="dissolve">
                                      <p:cBhvr>
                                        <p:cTn id="15" dur="500"/>
                                        <p:tgtEl>
                                          <p:spTgt spid="3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5" presetClass="emph" presetSubtype="0" nodeType="clickEffect">
                                  <p:stCondLst>
                                    <p:cond delay="0"/>
                                  </p:stCondLst>
                                  <p:iterate type="lt">
                                    <p:tmAbs val="25"/>
                                  </p:iterate>
                                  <p:childTnLst>
                                    <p:set>
                                      <p:cBhvr override="childStyle">
                                        <p:cTn id="19" dur="indefinite"/>
                                        <p:tgtEl>
                                          <p:spTgt spid="31">
                                            <p:txEl>
                                              <p:pRg st="2" end="2"/>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uiExpand="1" build="allAtOnce"/>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F AG">
  <a:themeElements>
    <a:clrScheme name="Benutzerdefiniert 3">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 ZF Friedrichshafen AG">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2700" cap="flat" cmpd="sng" algn="ctr">
          <a:noFill/>
          <a:prstDash val="solid"/>
        </a:ln>
        <a:effectLst/>
      </a:spPr>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defPPr algn="ctr">
          <a:spcBef>
            <a:spcPts val="0"/>
          </a:spcBef>
          <a:defRPr sz="1200" dirty="0" err="1" smtClean="0">
            <a:solidFill>
              <a:schemeClr val="tx1"/>
            </a:solidFill>
            <a:latin typeface="Tahoma" pitchFamily="34" charset="0"/>
            <a:cs typeface="Tahom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2"/>
          </a:solidFill>
          <a:prstDash val="sysDot"/>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0"/>
          </a:spcBef>
          <a:defRPr sz="1200" dirty="0" err="1" smtClean="0"/>
        </a:defPPr>
      </a:lstStyle>
    </a:txDef>
  </a:objectDefaults>
  <a:extraClrSchemeLst/>
  <a:custClrLst>
    <a:custClr name="ZF Cyan 100%">
      <a:srgbClr val="00ABE7"/>
    </a:custClr>
    <a:custClr name="ZF Cyan 50%">
      <a:srgbClr val="7FD5F3"/>
    </a:custClr>
    <a:custClr name="ZF Cyan 25%">
      <a:srgbClr val="BFEAF9"/>
    </a:custClr>
    <a:custClr>
      <a:srgbClr val="FFFFFF"/>
    </a:custClr>
    <a:custClr name="ZF Blue 100%">
      <a:srgbClr val="1179BF"/>
    </a:custClr>
    <a:custClr name="ZF Blue 50%">
      <a:srgbClr val="81BCDF"/>
    </a:custClr>
    <a:custClr>
      <a:srgbClr val="FFFFFF"/>
    </a:custClr>
    <a:custClr name="Middle Blue 100%">
      <a:srgbClr val="004D7A"/>
    </a:custClr>
    <a:custClr name="Middle Blue 50%">
      <a:srgbClr val="7FA5BC"/>
    </a:custClr>
    <a:custClr>
      <a:srgbClr val="FFFFFF"/>
    </a:custClr>
    <a:custClr name="Black 100%">
      <a:srgbClr val="000000"/>
    </a:custClr>
    <a:custClr name="Black 50%">
      <a:srgbClr val="7F7F7F"/>
    </a:custClr>
    <a:custClr name="Black 25%">
      <a:srgbClr val="BFBFBF"/>
    </a:custClr>
    <a:custClr>
      <a:srgbClr val="FFFFFF"/>
    </a:custClr>
    <a:custClr name="1. Step color gradient">
      <a:srgbClr val="1179BF"/>
    </a:custClr>
    <a:custClr name="2. Step color gradient">
      <a:srgbClr val="004D7A"/>
    </a:custClr>
    <a:custClr name="3. Step color gradient">
      <a:srgbClr val="001024"/>
    </a:custClr>
    <a:custClr>
      <a:srgbClr val="FFFFFF"/>
    </a:custClr>
    <a:custClr name="ZF Red - Only highlight color">
      <a:srgbClr val="DD0C29"/>
    </a:custClr>
  </a:custClr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9601223-ef2b-4738-86f7-ce812771ff12">
      <Terms xmlns="http://schemas.microsoft.com/office/infopath/2007/PartnerControls"/>
    </lcf76f155ced4ddcb4097134ff3c332f>
    <TaxCatchAll xmlns="565fe344-737e-4a51-ac9e-6dc1a52b3b33" xsi:nil="true"/>
    <Feedback xmlns="d9601223-ef2b-4738-86f7-ce812771ff12" xsi:nil="true"/>
    <SharedWithUsers xmlns="565fe344-737e-4a51-ac9e-6dc1a52b3b33">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45680F01DD153A42989E08F4FAB5EDB8" ma:contentTypeVersion="14" ma:contentTypeDescription="Ein neues Dokument erstellen." ma:contentTypeScope="" ma:versionID="7efec2e2da3288fe2f056e7133a57ca0">
  <xsd:schema xmlns:xsd="http://www.w3.org/2001/XMLSchema" xmlns:xs="http://www.w3.org/2001/XMLSchema" xmlns:p="http://schemas.microsoft.com/office/2006/metadata/properties" xmlns:ns2="d9601223-ef2b-4738-86f7-ce812771ff12" xmlns:ns3="565fe344-737e-4a51-ac9e-6dc1a52b3b33" targetNamespace="http://schemas.microsoft.com/office/2006/metadata/properties" ma:root="true" ma:fieldsID="ca7b5b3d6aeced6c29fd9be78925e3af" ns2:_="" ns3:_="">
    <xsd:import namespace="d9601223-ef2b-4738-86f7-ce812771ff12"/>
    <xsd:import namespace="565fe344-737e-4a51-ac9e-6dc1a52b3b3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Feedbac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601223-ef2b-4738-86f7-ce812771ff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b09ecd97-d0ea-4d4b-a905-1ef04c457cd5"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Feedback" ma:index="21" nillable="true" ma:displayName="Feedback" ma:description="Rückmeldung zum Newsletter" ma:format="RadioButtons" ma:internalName="Feedback">
      <xsd:simpleType>
        <xsd:union memberTypes="dms:Text">
          <xsd:simpleType>
            <xsd:restriction base="dms:Choice">
              <xsd:enumeration value="zu kontrollieren für LA"/>
              <xsd:enumeration value="Änderungen bitte umsetzen"/>
              <xsd:enumeration value="in Bearbeitung"/>
              <xsd:enumeration value="freigegeben von LA"/>
              <xsd:enumeration value="verschickt"/>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565fe344-737e-4a51-ac9e-6dc1a52b3b33"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d81b3ea1-3a9a-408b-9812-67d84a270da4}" ma:internalName="TaxCatchAll" ma:showField="CatchAllData" ma:web="565fe344-737e-4a51-ac9e-6dc1a52b3b3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AD433F-B3D5-468B-83B6-99179B239122}">
  <ds:schemaRefs>
    <ds:schemaRef ds:uri="http://schemas.microsoft.com/office/2006/metadata/properties"/>
    <ds:schemaRef ds:uri="http://schemas.microsoft.com/office/infopath/2007/PartnerControls"/>
    <ds:schemaRef ds:uri="d9601223-ef2b-4738-86f7-ce812771ff12"/>
    <ds:schemaRef ds:uri="565fe344-737e-4a51-ac9e-6dc1a52b3b33"/>
  </ds:schemaRefs>
</ds:datastoreItem>
</file>

<file path=customXml/itemProps2.xml><?xml version="1.0" encoding="utf-8"?>
<ds:datastoreItem xmlns:ds="http://schemas.openxmlformats.org/officeDocument/2006/customXml" ds:itemID="{89D6D00B-B913-4FDD-B7C9-D97DC2D8C488}">
  <ds:schemaRefs>
    <ds:schemaRef ds:uri="http://schemas.microsoft.com/sharepoint/v3/contenttype/forms"/>
  </ds:schemaRefs>
</ds:datastoreItem>
</file>

<file path=customXml/itemProps3.xml><?xml version="1.0" encoding="utf-8"?>
<ds:datastoreItem xmlns:ds="http://schemas.openxmlformats.org/officeDocument/2006/customXml" ds:itemID="{F95C94C9-A0CB-4361-8F6A-4DDDC44779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601223-ef2b-4738-86f7-ce812771ff12"/>
    <ds:schemaRef ds:uri="565fe344-737e-4a51-ac9e-6dc1a52b3b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552</Words>
  <Application>Microsoft Macintosh PowerPoint</Application>
  <PresentationFormat>Breitbild</PresentationFormat>
  <Paragraphs>120</Paragraphs>
  <Slides>13</Slides>
  <Notes>12</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8" baseType="lpstr">
      <vt:lpstr>-webkit-standard</vt:lpstr>
      <vt:lpstr>Arial</vt:lpstr>
      <vt:lpstr>Avenir Heavy</vt:lpstr>
      <vt:lpstr>Bebas Neue</vt:lpstr>
      <vt:lpstr>Calibri</vt:lpstr>
      <vt:lpstr>Calibri Light</vt:lpstr>
      <vt:lpstr>GeosansLight</vt:lpstr>
      <vt:lpstr>Helvetica Light</vt:lpstr>
      <vt:lpstr>Lato Light</vt:lpstr>
      <vt:lpstr>Lato Regular</vt:lpstr>
      <vt:lpstr>Montserrat Semi Bold</vt:lpstr>
      <vt:lpstr>Tahoma</vt:lpstr>
      <vt:lpstr>Wingdings</vt:lpstr>
      <vt:lpstr>ZF AG</vt:lpstr>
      <vt:lpstr>think-cell Slide</vt:lpstr>
      <vt:lpstr>PowerPoint-Präsentation</vt:lpstr>
      <vt:lpstr>PowerPoint-Präsentation</vt:lpstr>
      <vt:lpstr>PowerPoint-Präsentation</vt:lpstr>
      <vt:lpstr>Praxisbeispiel</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eilnehmerlis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MUSA GmbH - Loren Agular</dc:creator>
  <cp:lastModifiedBy>Loren Agular</cp:lastModifiedBy>
  <cp:revision>47</cp:revision>
  <cp:lastPrinted>2025-06-26T07:11:48Z</cp:lastPrinted>
  <dcterms:created xsi:type="dcterms:W3CDTF">2023-07-19T16:00:39Z</dcterms:created>
  <dcterms:modified xsi:type="dcterms:W3CDTF">2025-10-08T06:3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680F01DD153A42989E08F4FAB5EDB8</vt:lpwstr>
  </property>
  <property fmtid="{D5CDD505-2E9C-101B-9397-08002B2CF9AE}" pid="3" name="Order">
    <vt:lpwstr>942200.000000000</vt:lpwstr>
  </property>
  <property fmtid="{D5CDD505-2E9C-101B-9397-08002B2CF9AE}" pid="4" name="xd_ProgID">
    <vt:lpwstr/>
  </property>
  <property fmtid="{D5CDD505-2E9C-101B-9397-08002B2CF9AE}" pid="5" name="MediaServiceImageTags">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